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2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7" Type="http://schemas.microsoft.com/office/2020/02/relationships/classificationlabels" Target="docMetadata/LabelInfo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708" r:id="rId2"/>
    <p:sldMasterId id="2147483743" r:id="rId3"/>
  </p:sldMasterIdLst>
  <p:notesMasterIdLst>
    <p:notesMasterId r:id="rId16"/>
  </p:notesMasterIdLst>
  <p:sldIdLst>
    <p:sldId id="270" r:id="rId4"/>
    <p:sldId id="2147482696" r:id="rId5"/>
    <p:sldId id="2147482695" r:id="rId6"/>
    <p:sldId id="2147482692" r:id="rId7"/>
    <p:sldId id="2147482693" r:id="rId8"/>
    <p:sldId id="405" r:id="rId9"/>
    <p:sldId id="2147479851" r:id="rId10"/>
    <p:sldId id="2147479846" r:id="rId11"/>
    <p:sldId id="2147479856" r:id="rId12"/>
    <p:sldId id="2147479845" r:id="rId13"/>
    <p:sldId id="2147479848" r:id="rId14"/>
    <p:sldId id="2147479847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7E85085-CACB-DC43-A1E2-52CDDF53BFE2}">
          <p14:sldIdLst>
            <p14:sldId id="270"/>
            <p14:sldId id="2147482696"/>
            <p14:sldId id="2147482695"/>
            <p14:sldId id="2147482692"/>
            <p14:sldId id="2147482693"/>
            <p14:sldId id="405"/>
            <p14:sldId id="2147479851"/>
            <p14:sldId id="2147479846"/>
            <p14:sldId id="2147479856"/>
            <p14:sldId id="2147479845"/>
          </p14:sldIdLst>
        </p14:section>
        <p14:section name="End" id="{41429ADF-ADE0-764C-81D9-4545BCC89592}">
          <p14:sldIdLst>
            <p14:sldId id="2147479848"/>
            <p14:sldId id="2147479847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5909"/>
    <p:restoredTop sz="96302"/>
  </p:normalViewPr>
  <p:slideViewPr>
    <p:cSldViewPr snapToGrid="0">
      <p:cViewPr varScale="1">
        <p:scale>
          <a:sx n="163" d="100"/>
          <a:sy n="163" d="100"/>
        </p:scale>
        <p:origin x="512" y="1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56C761-27FB-8A41-8AB8-AB8FAD242B4D}" type="datetimeFigureOut">
              <a:rPr lang="en-US" smtClean="0"/>
              <a:t>7/6/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CDF523-039B-554A-8064-61E052D264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2175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These modern networking and security challenges aren’t independent—they are interconnected. Which is why we are uniting networking and security with tools to help them work better together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239796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latin typeface="Lato"/>
                <a:ea typeface="Lato"/>
                <a:cs typeface="Lato"/>
              </a:rPr>
              <a:t>Innovation, as well as major advances in DHCP and IPAM, has been the result of over 2 decades of investment in technology, business partnerships and exceptional leadershi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3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189444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2">
          <a:extLst>
            <a:ext uri="{FF2B5EF4-FFF2-40B4-BE49-F238E27FC236}">
              <a16:creationId xmlns:a16="http://schemas.microsoft.com/office/drawing/2014/main" id="{BCD2233C-4019-A89A-F91D-FE2E7266A5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3" name="Google Shape;943;p8:notes">
            <a:extLst>
              <a:ext uri="{FF2B5EF4-FFF2-40B4-BE49-F238E27FC236}">
                <a16:creationId xmlns:a16="http://schemas.microsoft.com/office/drawing/2014/main" id="{7B9563BF-17A8-6A66-D085-9D3B0312C67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indent="-171450"/>
            <a:r>
              <a:rPr lang="en-US"/>
              <a:t>Infoblox unites networking and security to deliver unmatched performance and protection. </a:t>
            </a:r>
          </a:p>
          <a:p>
            <a:pPr marL="171450" indent="-171450"/>
            <a:endParaRPr lang="en-US"/>
          </a:p>
          <a:p>
            <a:pPr marL="171450" indent="-171450"/>
            <a:r>
              <a:rPr lang="en-US"/>
              <a:t>Trusted by Fortune 100 companies and emerging innovators, we provide real-time visibility and control over who and what connects to your network, so your organization runs faster and stops threats earlier. </a:t>
            </a:r>
          </a:p>
          <a:p>
            <a:pPr marL="171450" indent="-171450"/>
            <a:endParaRPr lang="en-US"/>
          </a:p>
          <a:p>
            <a:pPr marL="171450" indent="-171450"/>
            <a:endParaRPr lang="en-US"/>
          </a:p>
          <a:p>
            <a:pPr marL="0" indent="0">
              <a:buNone/>
            </a:pPr>
            <a:endParaRPr lang="en-US"/>
          </a:p>
        </p:txBody>
      </p:sp>
      <p:sp>
        <p:nvSpPr>
          <p:cNvPr id="944" name="Google Shape;944;p8:notes">
            <a:extLst>
              <a:ext uri="{FF2B5EF4-FFF2-40B4-BE49-F238E27FC236}">
                <a16:creationId xmlns:a16="http://schemas.microsoft.com/office/drawing/2014/main" id="{4D302DB7-B60D-7740-A2C1-CA365A93770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7911469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0CDE84-E4E8-EF4A-1419-413A5779A0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35913EE-E959-C121-57DD-331F49AA72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3BCA2FD-C5C4-7B35-D8F1-F9FFC85FF24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latin typeface="Lato"/>
                <a:ea typeface="Lato"/>
                <a:cs typeface="Lato"/>
              </a:rPr>
              <a:t>We unite networking and security through a comprehensive set of solutions across the technology landscape in order to deliver visibility, control, automation and security across the enterprise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411666-4E6E-50BC-C7FC-C33C88F9B225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5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678521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9F1D53-CF29-D747-A1FF-C498015FF5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38891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nimation idea: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CDF523-039B-554A-8064-61E052D26475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12656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sv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.xml"/><Relationship Id="rId4" Type="http://schemas.openxmlformats.org/officeDocument/2006/relationships/image" Target="../media/image64.emf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sv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jpeg"/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svg"/><Relationship Id="rId2" Type="http://schemas.openxmlformats.org/officeDocument/2006/relationships/image" Target="../media/image67.jpe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emf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sv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0.sv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sv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0.sv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0.sv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0.sv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0.sv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0.sv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0.sv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20.sv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20.sv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sv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0.sv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sv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sv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sv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sv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10.sv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10.sv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8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10.sv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sv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sv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sv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sv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5.jpeg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62.jpe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BDD87B1-E131-8C28-2DD2-18DD8674B931}"/>
              </a:ext>
            </a:extLst>
          </p:cNvPr>
          <p:cNvSpPr/>
          <p:nvPr userDrawn="1"/>
        </p:nvSpPr>
        <p:spPr>
          <a:xfrm>
            <a:off x="-13077" y="-37244"/>
            <a:ext cx="12205077" cy="6895244"/>
          </a:xfrm>
          <a:prstGeom prst="rect">
            <a:avLst/>
          </a:prstGeom>
          <a:solidFill>
            <a:srgbClr val="D9E1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 err="1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C238E3A1-2DD0-1410-92C5-6B5516DF8F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774"/>
          <a:stretch/>
        </p:blipFill>
        <p:spPr>
          <a:xfrm>
            <a:off x="733434" y="-35400"/>
            <a:ext cx="11458566" cy="68934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58CD8E0-C4FA-BEDC-5938-36BDD273715D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3889" y="2281370"/>
            <a:ext cx="5305856" cy="1477907"/>
          </a:xfrm>
          <a:prstGeom prst="rect">
            <a:avLst/>
          </a:prstGeom>
        </p:spPr>
        <p:txBody>
          <a:bodyPr anchor="b" anchorCtr="0"/>
          <a:lstStyle>
            <a:lvl1pPr algn="l">
              <a:defRPr sz="3800" b="1" i="0" cap="all" baseline="0">
                <a:solidFill>
                  <a:schemeClr val="tx1"/>
                </a:solidFill>
                <a:latin typeface="Lato" panose="020F0502020204030203" pitchFamily="34" charset="77"/>
              </a:defRPr>
            </a:lvl1pPr>
          </a:lstStyle>
          <a:p>
            <a:r>
              <a:rPr lang="en-US" noProof="0" dirty="0"/>
              <a:t>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F514931-92B9-1384-0FE7-44734F85020E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3887" y="3845658"/>
            <a:ext cx="5305855" cy="1406620"/>
          </a:xfrm>
          <a:prstGeom prst="rect">
            <a:avLst/>
          </a:prstGeom>
        </p:spPr>
        <p:txBody>
          <a:bodyPr anchor="t" anchorCtr="0"/>
          <a:lstStyle>
            <a:lvl1pPr marL="0" indent="0" algn="l">
              <a:buNone/>
              <a:defRPr sz="2200" b="0" i="0" cap="all" baseline="0">
                <a:solidFill>
                  <a:schemeClr val="tx1"/>
                </a:solidFill>
                <a:latin typeface="Lato" panose="020F0502020204030203" pitchFamily="34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substy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ED28BA3-080F-6AE4-873D-20E8EF6757DA}"/>
              </a:ext>
            </a:extLst>
          </p:cNvPr>
          <p:cNvGrpSpPr/>
          <p:nvPr userDrawn="1"/>
        </p:nvGrpSpPr>
        <p:grpSpPr>
          <a:xfrm>
            <a:off x="733434" y="542252"/>
            <a:ext cx="2455606" cy="510077"/>
            <a:chOff x="733434" y="876300"/>
            <a:chExt cx="2455606" cy="510077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37D6362F-C0E0-5A0D-212E-789BFAD6A452}"/>
                </a:ext>
              </a:extLst>
            </p:cNvPr>
            <p:cNvSpPr/>
            <p:nvPr/>
          </p:nvSpPr>
          <p:spPr>
            <a:xfrm rot="18900000">
              <a:off x="770705" y="879406"/>
              <a:ext cx="107935" cy="107935"/>
            </a:xfrm>
            <a:custGeom>
              <a:avLst/>
              <a:gdLst>
                <a:gd name="connsiteX0" fmla="*/ 67007 w 73496"/>
                <a:gd name="connsiteY0" fmla="*/ 0 h 73496"/>
                <a:gd name="connsiteX1" fmla="*/ 73497 w 73496"/>
                <a:gd name="connsiteY1" fmla="*/ 6489 h 73496"/>
                <a:gd name="connsiteX2" fmla="*/ 73497 w 73496"/>
                <a:gd name="connsiteY2" fmla="*/ 67007 h 73496"/>
                <a:gd name="connsiteX3" fmla="*/ 67007 w 73496"/>
                <a:gd name="connsiteY3" fmla="*/ 73496 h 73496"/>
                <a:gd name="connsiteX4" fmla="*/ 6489 w 73496"/>
                <a:gd name="connsiteY4" fmla="*/ 73496 h 73496"/>
                <a:gd name="connsiteX5" fmla="*/ 0 w 73496"/>
                <a:gd name="connsiteY5" fmla="*/ 67007 h 73496"/>
                <a:gd name="connsiteX6" fmla="*/ 0 w 73496"/>
                <a:gd name="connsiteY6" fmla="*/ 6489 h 73496"/>
                <a:gd name="connsiteX7" fmla="*/ 6489 w 73496"/>
                <a:gd name="connsiteY7" fmla="*/ 0 h 73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496" h="73496">
                  <a:moveTo>
                    <a:pt x="67007" y="0"/>
                  </a:moveTo>
                  <a:cubicBezTo>
                    <a:pt x="70591" y="0"/>
                    <a:pt x="73497" y="2905"/>
                    <a:pt x="73497" y="6489"/>
                  </a:cubicBezTo>
                  <a:lnTo>
                    <a:pt x="73497" y="67007"/>
                  </a:lnTo>
                  <a:cubicBezTo>
                    <a:pt x="73497" y="70591"/>
                    <a:pt x="70591" y="73496"/>
                    <a:pt x="67007" y="73496"/>
                  </a:cubicBezTo>
                  <a:lnTo>
                    <a:pt x="6489" y="73496"/>
                  </a:lnTo>
                  <a:cubicBezTo>
                    <a:pt x="2905" y="73496"/>
                    <a:pt x="0" y="70591"/>
                    <a:pt x="0" y="67007"/>
                  </a:cubicBezTo>
                  <a:lnTo>
                    <a:pt x="0" y="6489"/>
                  </a:lnTo>
                  <a:cubicBezTo>
                    <a:pt x="0" y="2905"/>
                    <a:pt x="2905" y="0"/>
                    <a:pt x="6489" y="0"/>
                  </a:cubicBezTo>
                  <a:close/>
                </a:path>
              </a:pathLst>
            </a:custGeom>
            <a:solidFill>
              <a:srgbClr val="00BD4D"/>
            </a:solidFill>
            <a:ln w="284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="0" i="0" dirty="0">
                <a:latin typeface="Lato" panose="020F0502020204030203" pitchFamily="34" charset="77"/>
              </a:endParaRP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BD769220-B256-3808-A89B-3057F63A0870}"/>
                </a:ext>
              </a:extLst>
            </p:cNvPr>
            <p:cNvGrpSpPr/>
            <p:nvPr/>
          </p:nvGrpSpPr>
          <p:grpSpPr>
            <a:xfrm>
              <a:off x="733434" y="876300"/>
              <a:ext cx="2455606" cy="510077"/>
              <a:chOff x="9242171" y="3011696"/>
              <a:chExt cx="1672097" cy="347327"/>
            </a:xfrm>
            <a:solidFill>
              <a:schemeClr val="tx1"/>
            </a:solidFill>
          </p:grpSpPr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5E42B49B-9A4D-9851-9C82-4ABDA31CB79B}"/>
                  </a:ext>
                </a:extLst>
              </p:cNvPr>
              <p:cNvSpPr/>
              <p:nvPr/>
            </p:nvSpPr>
            <p:spPr>
              <a:xfrm>
                <a:off x="10604432" y="3110234"/>
                <a:ext cx="249644" cy="243844"/>
              </a:xfrm>
              <a:custGeom>
                <a:avLst/>
                <a:gdLst>
                  <a:gd name="connsiteX0" fmla="*/ 172562 w 249644"/>
                  <a:gd name="connsiteY0" fmla="*/ 121922 h 243844"/>
                  <a:gd name="connsiteX1" fmla="*/ 248603 w 249644"/>
                  <a:gd name="connsiteY1" fmla="*/ 234754 h 243844"/>
                  <a:gd name="connsiteX2" fmla="*/ 243372 w 249644"/>
                  <a:gd name="connsiteY2" fmla="*/ 243845 h 243844"/>
                  <a:gd name="connsiteX3" fmla="*/ 179480 w 249644"/>
                  <a:gd name="connsiteY3" fmla="*/ 243845 h 243844"/>
                  <a:gd name="connsiteX4" fmla="*/ 168789 w 249644"/>
                  <a:gd name="connsiteY4" fmla="*/ 238213 h 243844"/>
                  <a:gd name="connsiteX5" fmla="*/ 124822 w 249644"/>
                  <a:gd name="connsiteY5" fmla="*/ 170949 h 243844"/>
                  <a:gd name="connsiteX6" fmla="*/ 80856 w 249644"/>
                  <a:gd name="connsiteY6" fmla="*/ 238213 h 243844"/>
                  <a:gd name="connsiteX7" fmla="*/ 70164 w 249644"/>
                  <a:gd name="connsiteY7" fmla="*/ 243845 h 243844"/>
                  <a:gd name="connsiteX8" fmla="*/ 6273 w 249644"/>
                  <a:gd name="connsiteY8" fmla="*/ 243845 h 243844"/>
                  <a:gd name="connsiteX9" fmla="*/ 1042 w 249644"/>
                  <a:gd name="connsiteY9" fmla="*/ 234754 h 243844"/>
                  <a:gd name="connsiteX10" fmla="*/ 76854 w 249644"/>
                  <a:gd name="connsiteY10" fmla="*/ 121922 h 243844"/>
                  <a:gd name="connsiteX11" fmla="*/ 1042 w 249644"/>
                  <a:gd name="connsiteY11" fmla="*/ 9091 h 243844"/>
                  <a:gd name="connsiteX12" fmla="*/ 6273 w 249644"/>
                  <a:gd name="connsiteY12" fmla="*/ 0 h 243844"/>
                  <a:gd name="connsiteX13" fmla="*/ 72880 w 249644"/>
                  <a:gd name="connsiteY13" fmla="*/ 0 h 243844"/>
                  <a:gd name="connsiteX14" fmla="*/ 78998 w 249644"/>
                  <a:gd name="connsiteY14" fmla="*/ 3030 h 243844"/>
                  <a:gd name="connsiteX15" fmla="*/ 124794 w 249644"/>
                  <a:gd name="connsiteY15" fmla="*/ 72782 h 243844"/>
                  <a:gd name="connsiteX16" fmla="*/ 167788 w 249644"/>
                  <a:gd name="connsiteY16" fmla="*/ 3059 h 243844"/>
                  <a:gd name="connsiteX17" fmla="*/ 173906 w 249644"/>
                  <a:gd name="connsiteY17" fmla="*/ 0 h 243844"/>
                  <a:gd name="connsiteX18" fmla="*/ 241171 w 249644"/>
                  <a:gd name="connsiteY18" fmla="*/ 0 h 243844"/>
                  <a:gd name="connsiteX19" fmla="*/ 246402 w 249644"/>
                  <a:gd name="connsiteY19" fmla="*/ 9062 h 243844"/>
                  <a:gd name="connsiteX20" fmla="*/ 172505 w 249644"/>
                  <a:gd name="connsiteY20" fmla="*/ 121922 h 243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49644" h="243844">
                    <a:moveTo>
                      <a:pt x="172562" y="121922"/>
                    </a:moveTo>
                    <a:lnTo>
                      <a:pt x="248603" y="234754"/>
                    </a:lnTo>
                    <a:cubicBezTo>
                      <a:pt x="251347" y="238642"/>
                      <a:pt x="248346" y="243845"/>
                      <a:pt x="243372" y="243845"/>
                    </a:cubicBezTo>
                    <a:lnTo>
                      <a:pt x="179480" y="243845"/>
                    </a:lnTo>
                    <a:cubicBezTo>
                      <a:pt x="175221" y="243845"/>
                      <a:pt x="171219" y="241729"/>
                      <a:pt x="168789" y="238213"/>
                    </a:cubicBezTo>
                    <a:lnTo>
                      <a:pt x="124822" y="170949"/>
                    </a:lnTo>
                    <a:lnTo>
                      <a:pt x="80856" y="238213"/>
                    </a:lnTo>
                    <a:cubicBezTo>
                      <a:pt x="78426" y="241729"/>
                      <a:pt x="74452" y="243845"/>
                      <a:pt x="70164" y="243845"/>
                    </a:cubicBezTo>
                    <a:lnTo>
                      <a:pt x="6273" y="243845"/>
                    </a:lnTo>
                    <a:cubicBezTo>
                      <a:pt x="1299" y="243845"/>
                      <a:pt x="-1703" y="238671"/>
                      <a:pt x="1042" y="234754"/>
                    </a:cubicBezTo>
                    <a:lnTo>
                      <a:pt x="76854" y="121922"/>
                    </a:lnTo>
                    <a:lnTo>
                      <a:pt x="1042" y="9091"/>
                    </a:lnTo>
                    <a:cubicBezTo>
                      <a:pt x="-1703" y="5203"/>
                      <a:pt x="1299" y="0"/>
                      <a:pt x="6273" y="0"/>
                    </a:cubicBezTo>
                    <a:lnTo>
                      <a:pt x="72880" y="0"/>
                    </a:lnTo>
                    <a:cubicBezTo>
                      <a:pt x="75367" y="0"/>
                      <a:pt x="77683" y="1143"/>
                      <a:pt x="78998" y="3030"/>
                    </a:cubicBezTo>
                    <a:lnTo>
                      <a:pt x="124794" y="72782"/>
                    </a:lnTo>
                    <a:lnTo>
                      <a:pt x="167788" y="3059"/>
                    </a:lnTo>
                    <a:cubicBezTo>
                      <a:pt x="169075" y="1172"/>
                      <a:pt x="171419" y="0"/>
                      <a:pt x="173906" y="0"/>
                    </a:cubicBezTo>
                    <a:lnTo>
                      <a:pt x="241171" y="0"/>
                    </a:lnTo>
                    <a:cubicBezTo>
                      <a:pt x="246145" y="0"/>
                      <a:pt x="249118" y="5174"/>
                      <a:pt x="246402" y="9062"/>
                    </a:cubicBezTo>
                    <a:lnTo>
                      <a:pt x="172505" y="121922"/>
                    </a:ln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BCB8EDF2-FC0E-8B6D-51E8-FFE28D4ACF5C}"/>
                  </a:ext>
                </a:extLst>
              </p:cNvPr>
              <p:cNvSpPr/>
              <p:nvPr/>
            </p:nvSpPr>
            <p:spPr>
              <a:xfrm>
                <a:off x="9581152" y="3011696"/>
                <a:ext cx="164831" cy="342440"/>
              </a:xfrm>
              <a:custGeom>
                <a:avLst/>
                <a:gdLst>
                  <a:gd name="connsiteX0" fmla="*/ 158342 w 164831"/>
                  <a:gd name="connsiteY0" fmla="*/ 29 h 342440"/>
                  <a:gd name="connsiteX1" fmla="*/ 105342 w 164831"/>
                  <a:gd name="connsiteY1" fmla="*/ 29 h 342440"/>
                  <a:gd name="connsiteX2" fmla="*/ 91592 w 164831"/>
                  <a:gd name="connsiteY2" fmla="*/ 5717 h 342440"/>
                  <a:gd name="connsiteX3" fmla="*/ 41794 w 164831"/>
                  <a:gd name="connsiteY3" fmla="*/ 55515 h 342440"/>
                  <a:gd name="connsiteX4" fmla="*/ 36105 w 164831"/>
                  <a:gd name="connsiteY4" fmla="*/ 69266 h 342440"/>
                  <a:gd name="connsiteX5" fmla="*/ 36105 w 164831"/>
                  <a:gd name="connsiteY5" fmla="*/ 108458 h 342440"/>
                  <a:gd name="connsiteX6" fmla="*/ 6375 w 164831"/>
                  <a:gd name="connsiteY6" fmla="*/ 108458 h 342440"/>
                  <a:gd name="connsiteX7" fmla="*/ 0 w 164831"/>
                  <a:gd name="connsiteY7" fmla="*/ 114833 h 342440"/>
                  <a:gd name="connsiteX8" fmla="*/ 0 w 164831"/>
                  <a:gd name="connsiteY8" fmla="*/ 158828 h 342440"/>
                  <a:gd name="connsiteX9" fmla="*/ 6375 w 164831"/>
                  <a:gd name="connsiteY9" fmla="*/ 165203 h 342440"/>
                  <a:gd name="connsiteX10" fmla="*/ 36105 w 164831"/>
                  <a:gd name="connsiteY10" fmla="*/ 165203 h 342440"/>
                  <a:gd name="connsiteX11" fmla="*/ 36105 w 164831"/>
                  <a:gd name="connsiteY11" fmla="*/ 335951 h 342440"/>
                  <a:gd name="connsiteX12" fmla="*/ 42594 w 164831"/>
                  <a:gd name="connsiteY12" fmla="*/ 342440 h 342440"/>
                  <a:gd name="connsiteX13" fmla="*/ 98510 w 164831"/>
                  <a:gd name="connsiteY13" fmla="*/ 342440 h 342440"/>
                  <a:gd name="connsiteX14" fmla="*/ 104999 w 164831"/>
                  <a:gd name="connsiteY14" fmla="*/ 335951 h 342440"/>
                  <a:gd name="connsiteX15" fmla="*/ 104999 w 164831"/>
                  <a:gd name="connsiteY15" fmla="*/ 165174 h 342440"/>
                  <a:gd name="connsiteX16" fmla="*/ 149394 w 164831"/>
                  <a:gd name="connsiteY16" fmla="*/ 165174 h 342440"/>
                  <a:gd name="connsiteX17" fmla="*/ 155769 w 164831"/>
                  <a:gd name="connsiteY17" fmla="*/ 158799 h 342440"/>
                  <a:gd name="connsiteX18" fmla="*/ 155769 w 164831"/>
                  <a:gd name="connsiteY18" fmla="*/ 114804 h 342440"/>
                  <a:gd name="connsiteX19" fmla="*/ 149394 w 164831"/>
                  <a:gd name="connsiteY19" fmla="*/ 108429 h 342440"/>
                  <a:gd name="connsiteX20" fmla="*/ 104999 w 164831"/>
                  <a:gd name="connsiteY20" fmla="*/ 108429 h 342440"/>
                  <a:gd name="connsiteX21" fmla="*/ 104999 w 164831"/>
                  <a:gd name="connsiteY21" fmla="*/ 80643 h 342440"/>
                  <a:gd name="connsiteX22" fmla="*/ 124438 w 164831"/>
                  <a:gd name="connsiteY22" fmla="*/ 61204 h 342440"/>
                  <a:gd name="connsiteX23" fmla="*/ 158342 w 164831"/>
                  <a:gd name="connsiteY23" fmla="*/ 61204 h 342440"/>
                  <a:gd name="connsiteX24" fmla="*/ 164831 w 164831"/>
                  <a:gd name="connsiteY24" fmla="*/ 54715 h 342440"/>
                  <a:gd name="connsiteX25" fmla="*/ 164831 w 164831"/>
                  <a:gd name="connsiteY25" fmla="*/ 6489 h 342440"/>
                  <a:gd name="connsiteX26" fmla="*/ 158342 w 164831"/>
                  <a:gd name="connsiteY26" fmla="*/ 0 h 342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64831" h="342440">
                    <a:moveTo>
                      <a:pt x="158342" y="29"/>
                    </a:moveTo>
                    <a:lnTo>
                      <a:pt x="105342" y="29"/>
                    </a:lnTo>
                    <a:cubicBezTo>
                      <a:pt x="100197" y="29"/>
                      <a:pt x="95251" y="2087"/>
                      <a:pt x="91592" y="5717"/>
                    </a:cubicBezTo>
                    <a:lnTo>
                      <a:pt x="41794" y="55515"/>
                    </a:lnTo>
                    <a:cubicBezTo>
                      <a:pt x="38135" y="59175"/>
                      <a:pt x="36105" y="64120"/>
                      <a:pt x="36105" y="69266"/>
                    </a:cubicBezTo>
                    <a:lnTo>
                      <a:pt x="36105" y="108458"/>
                    </a:lnTo>
                    <a:lnTo>
                      <a:pt x="6375" y="108458"/>
                    </a:lnTo>
                    <a:cubicBezTo>
                      <a:pt x="2859" y="108458"/>
                      <a:pt x="0" y="111317"/>
                      <a:pt x="0" y="114833"/>
                    </a:cubicBezTo>
                    <a:lnTo>
                      <a:pt x="0" y="158828"/>
                    </a:lnTo>
                    <a:cubicBezTo>
                      <a:pt x="0" y="162344"/>
                      <a:pt x="2859" y="165203"/>
                      <a:pt x="6375" y="165203"/>
                    </a:cubicBezTo>
                    <a:lnTo>
                      <a:pt x="36105" y="165203"/>
                    </a:lnTo>
                    <a:lnTo>
                      <a:pt x="36105" y="335951"/>
                    </a:lnTo>
                    <a:cubicBezTo>
                      <a:pt x="36105" y="339524"/>
                      <a:pt x="39021" y="342440"/>
                      <a:pt x="42594" y="342440"/>
                    </a:cubicBezTo>
                    <a:lnTo>
                      <a:pt x="98510" y="342440"/>
                    </a:lnTo>
                    <a:cubicBezTo>
                      <a:pt x="102083" y="342440"/>
                      <a:pt x="104999" y="339524"/>
                      <a:pt x="104999" y="335951"/>
                    </a:cubicBezTo>
                    <a:lnTo>
                      <a:pt x="104999" y="165174"/>
                    </a:lnTo>
                    <a:lnTo>
                      <a:pt x="149394" y="165174"/>
                    </a:lnTo>
                    <a:cubicBezTo>
                      <a:pt x="152911" y="165174"/>
                      <a:pt x="155769" y="162315"/>
                      <a:pt x="155769" y="158799"/>
                    </a:cubicBezTo>
                    <a:lnTo>
                      <a:pt x="155769" y="114804"/>
                    </a:lnTo>
                    <a:cubicBezTo>
                      <a:pt x="155769" y="111288"/>
                      <a:pt x="152911" y="108429"/>
                      <a:pt x="149394" y="108429"/>
                    </a:cubicBezTo>
                    <a:lnTo>
                      <a:pt x="104999" y="108429"/>
                    </a:lnTo>
                    <a:lnTo>
                      <a:pt x="104999" y="80643"/>
                    </a:lnTo>
                    <a:cubicBezTo>
                      <a:pt x="104999" y="69895"/>
                      <a:pt x="113718" y="61204"/>
                      <a:pt x="124438" y="61204"/>
                    </a:cubicBezTo>
                    <a:lnTo>
                      <a:pt x="158342" y="61204"/>
                    </a:lnTo>
                    <a:cubicBezTo>
                      <a:pt x="161915" y="61204"/>
                      <a:pt x="164831" y="58288"/>
                      <a:pt x="164831" y="54715"/>
                    </a:cubicBezTo>
                    <a:lnTo>
                      <a:pt x="164831" y="6489"/>
                    </a:lnTo>
                    <a:cubicBezTo>
                      <a:pt x="164831" y="2916"/>
                      <a:pt x="161915" y="0"/>
                      <a:pt x="158342" y="0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4ECF721C-8695-AAFF-F3BA-0A4139353E11}"/>
                  </a:ext>
                </a:extLst>
              </p:cNvPr>
              <p:cNvSpPr/>
              <p:nvPr/>
            </p:nvSpPr>
            <p:spPr>
              <a:xfrm>
                <a:off x="10860611" y="3304224"/>
                <a:ext cx="53657" cy="53657"/>
              </a:xfrm>
              <a:custGeom>
                <a:avLst/>
                <a:gdLst>
                  <a:gd name="connsiteX0" fmla="*/ 53657 w 53657"/>
                  <a:gd name="connsiteY0" fmla="*/ 26786 h 53657"/>
                  <a:gd name="connsiteX1" fmla="*/ 26729 w 53657"/>
                  <a:gd name="connsiteY1" fmla="*/ 53657 h 53657"/>
                  <a:gd name="connsiteX2" fmla="*/ 0 w 53657"/>
                  <a:gd name="connsiteY2" fmla="*/ 26786 h 53657"/>
                  <a:gd name="connsiteX3" fmla="*/ 26814 w 53657"/>
                  <a:gd name="connsiteY3" fmla="*/ 0 h 53657"/>
                  <a:gd name="connsiteX4" fmla="*/ 53629 w 53657"/>
                  <a:gd name="connsiteY4" fmla="*/ 26786 h 53657"/>
                  <a:gd name="connsiteX5" fmla="*/ 49541 w 53657"/>
                  <a:gd name="connsiteY5" fmla="*/ 26900 h 53657"/>
                  <a:gd name="connsiteX6" fmla="*/ 26843 w 53657"/>
                  <a:gd name="connsiteY6" fmla="*/ 3831 h 53657"/>
                  <a:gd name="connsiteX7" fmla="*/ 4145 w 53657"/>
                  <a:gd name="connsiteY7" fmla="*/ 26872 h 53657"/>
                  <a:gd name="connsiteX8" fmla="*/ 26729 w 53657"/>
                  <a:gd name="connsiteY8" fmla="*/ 49884 h 53657"/>
                  <a:gd name="connsiteX9" fmla="*/ 49541 w 53657"/>
                  <a:gd name="connsiteY9" fmla="*/ 26900 h 53657"/>
                  <a:gd name="connsiteX10" fmla="*/ 32589 w 53657"/>
                  <a:gd name="connsiteY10" fmla="*/ 31131 h 53657"/>
                  <a:gd name="connsiteX11" fmla="*/ 39335 w 53657"/>
                  <a:gd name="connsiteY11" fmla="*/ 41622 h 53657"/>
                  <a:gd name="connsiteX12" fmla="*/ 34876 w 53657"/>
                  <a:gd name="connsiteY12" fmla="*/ 41622 h 53657"/>
                  <a:gd name="connsiteX13" fmla="*/ 27386 w 53657"/>
                  <a:gd name="connsiteY13" fmla="*/ 29730 h 53657"/>
                  <a:gd name="connsiteX14" fmla="*/ 20554 w 53657"/>
                  <a:gd name="connsiteY14" fmla="*/ 29730 h 53657"/>
                  <a:gd name="connsiteX15" fmla="*/ 20554 w 53657"/>
                  <a:gd name="connsiteY15" fmla="*/ 41622 h 53657"/>
                  <a:gd name="connsiteX16" fmla="*/ 16809 w 53657"/>
                  <a:gd name="connsiteY16" fmla="*/ 41622 h 53657"/>
                  <a:gd name="connsiteX17" fmla="*/ 16809 w 53657"/>
                  <a:gd name="connsiteY17" fmla="*/ 11549 h 53657"/>
                  <a:gd name="connsiteX18" fmla="*/ 28472 w 53657"/>
                  <a:gd name="connsiteY18" fmla="*/ 11549 h 53657"/>
                  <a:gd name="connsiteX19" fmla="*/ 37963 w 53657"/>
                  <a:gd name="connsiteY19" fmla="*/ 20411 h 53657"/>
                  <a:gd name="connsiteX20" fmla="*/ 31131 w 53657"/>
                  <a:gd name="connsiteY20" fmla="*/ 29101 h 53657"/>
                  <a:gd name="connsiteX21" fmla="*/ 32589 w 53657"/>
                  <a:gd name="connsiteY21" fmla="*/ 31160 h 53657"/>
                  <a:gd name="connsiteX22" fmla="*/ 27214 w 53657"/>
                  <a:gd name="connsiteY22" fmla="*/ 26185 h 53657"/>
                  <a:gd name="connsiteX23" fmla="*/ 34047 w 53657"/>
                  <a:gd name="connsiteY23" fmla="*/ 20640 h 53657"/>
                  <a:gd name="connsiteX24" fmla="*/ 28558 w 53657"/>
                  <a:gd name="connsiteY24" fmla="*/ 15037 h 53657"/>
                  <a:gd name="connsiteX25" fmla="*/ 20525 w 53657"/>
                  <a:gd name="connsiteY25" fmla="*/ 15037 h 53657"/>
                  <a:gd name="connsiteX26" fmla="*/ 20525 w 53657"/>
                  <a:gd name="connsiteY26" fmla="*/ 26157 h 53657"/>
                  <a:gd name="connsiteX27" fmla="*/ 27214 w 53657"/>
                  <a:gd name="connsiteY27" fmla="*/ 26157 h 53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53657" h="53657">
                    <a:moveTo>
                      <a:pt x="53657" y="26786"/>
                    </a:moveTo>
                    <a:cubicBezTo>
                      <a:pt x="53657" y="41708"/>
                      <a:pt x="41708" y="53657"/>
                      <a:pt x="26729" y="53657"/>
                    </a:cubicBezTo>
                    <a:cubicBezTo>
                      <a:pt x="11749" y="53657"/>
                      <a:pt x="0" y="41594"/>
                      <a:pt x="0" y="26786"/>
                    </a:cubicBezTo>
                    <a:cubicBezTo>
                      <a:pt x="0" y="11978"/>
                      <a:pt x="11949" y="0"/>
                      <a:pt x="26814" y="0"/>
                    </a:cubicBezTo>
                    <a:cubicBezTo>
                      <a:pt x="41679" y="0"/>
                      <a:pt x="53629" y="11892"/>
                      <a:pt x="53629" y="26786"/>
                    </a:cubicBezTo>
                    <a:close/>
                    <a:moveTo>
                      <a:pt x="49541" y="26900"/>
                    </a:moveTo>
                    <a:cubicBezTo>
                      <a:pt x="49541" y="14036"/>
                      <a:pt x="39392" y="3831"/>
                      <a:pt x="26843" y="3831"/>
                    </a:cubicBezTo>
                    <a:cubicBezTo>
                      <a:pt x="14293" y="3831"/>
                      <a:pt x="4145" y="13922"/>
                      <a:pt x="4145" y="26872"/>
                    </a:cubicBezTo>
                    <a:cubicBezTo>
                      <a:pt x="4145" y="39821"/>
                      <a:pt x="14408" y="49884"/>
                      <a:pt x="26729" y="49884"/>
                    </a:cubicBezTo>
                    <a:cubicBezTo>
                      <a:pt x="39049" y="49884"/>
                      <a:pt x="49541" y="39736"/>
                      <a:pt x="49541" y="26900"/>
                    </a:cubicBezTo>
                    <a:close/>
                    <a:moveTo>
                      <a:pt x="32589" y="31131"/>
                    </a:moveTo>
                    <a:lnTo>
                      <a:pt x="39335" y="41622"/>
                    </a:lnTo>
                    <a:lnTo>
                      <a:pt x="34876" y="41622"/>
                    </a:lnTo>
                    <a:lnTo>
                      <a:pt x="27386" y="29730"/>
                    </a:lnTo>
                    <a:lnTo>
                      <a:pt x="20554" y="29730"/>
                    </a:lnTo>
                    <a:lnTo>
                      <a:pt x="20554" y="41622"/>
                    </a:lnTo>
                    <a:lnTo>
                      <a:pt x="16809" y="41622"/>
                    </a:lnTo>
                    <a:lnTo>
                      <a:pt x="16809" y="11549"/>
                    </a:lnTo>
                    <a:lnTo>
                      <a:pt x="28472" y="11549"/>
                    </a:lnTo>
                    <a:cubicBezTo>
                      <a:pt x="34218" y="11549"/>
                      <a:pt x="37963" y="14636"/>
                      <a:pt x="37963" y="20411"/>
                    </a:cubicBezTo>
                    <a:cubicBezTo>
                      <a:pt x="37963" y="25071"/>
                      <a:pt x="35133" y="27958"/>
                      <a:pt x="31131" y="29101"/>
                    </a:cubicBezTo>
                    <a:cubicBezTo>
                      <a:pt x="31674" y="29702"/>
                      <a:pt x="32217" y="30445"/>
                      <a:pt x="32589" y="31160"/>
                    </a:cubicBezTo>
                    <a:close/>
                    <a:moveTo>
                      <a:pt x="27214" y="26185"/>
                    </a:moveTo>
                    <a:cubicBezTo>
                      <a:pt x="31445" y="26185"/>
                      <a:pt x="34047" y="24184"/>
                      <a:pt x="34047" y="20640"/>
                    </a:cubicBezTo>
                    <a:cubicBezTo>
                      <a:pt x="34047" y="17095"/>
                      <a:pt x="32246" y="15037"/>
                      <a:pt x="28558" y="15037"/>
                    </a:cubicBezTo>
                    <a:lnTo>
                      <a:pt x="20525" y="15037"/>
                    </a:lnTo>
                    <a:lnTo>
                      <a:pt x="20525" y="26157"/>
                    </a:lnTo>
                    <a:lnTo>
                      <a:pt x="27214" y="26157"/>
                    </a:ln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3E660A99-F0B2-5007-98C9-3F482CE6C959}"/>
                  </a:ext>
                </a:extLst>
              </p:cNvPr>
              <p:cNvSpPr/>
              <p:nvPr/>
            </p:nvSpPr>
            <p:spPr>
              <a:xfrm>
                <a:off x="10283815" y="3011724"/>
                <a:ext cx="68865" cy="342354"/>
              </a:xfrm>
              <a:custGeom>
                <a:avLst/>
                <a:gdLst>
                  <a:gd name="connsiteX0" fmla="*/ 62376 w 68865"/>
                  <a:gd name="connsiteY0" fmla="*/ 0 h 342354"/>
                  <a:gd name="connsiteX1" fmla="*/ 68866 w 68865"/>
                  <a:gd name="connsiteY1" fmla="*/ 6489 h 342354"/>
                  <a:gd name="connsiteX2" fmla="*/ 68866 w 68865"/>
                  <a:gd name="connsiteY2" fmla="*/ 335865 h 342354"/>
                  <a:gd name="connsiteX3" fmla="*/ 62376 w 68865"/>
                  <a:gd name="connsiteY3" fmla="*/ 342355 h 342354"/>
                  <a:gd name="connsiteX4" fmla="*/ 6489 w 68865"/>
                  <a:gd name="connsiteY4" fmla="*/ 342355 h 342354"/>
                  <a:gd name="connsiteX5" fmla="*/ 0 w 68865"/>
                  <a:gd name="connsiteY5" fmla="*/ 335865 h 342354"/>
                  <a:gd name="connsiteX6" fmla="*/ 0 w 68865"/>
                  <a:gd name="connsiteY6" fmla="*/ 6489 h 342354"/>
                  <a:gd name="connsiteX7" fmla="*/ 6489 w 68865"/>
                  <a:gd name="connsiteY7" fmla="*/ 0 h 3423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8865" h="342354">
                    <a:moveTo>
                      <a:pt x="62376" y="0"/>
                    </a:moveTo>
                    <a:cubicBezTo>
                      <a:pt x="65960" y="0"/>
                      <a:pt x="68866" y="2905"/>
                      <a:pt x="68866" y="6489"/>
                    </a:cubicBezTo>
                    <a:lnTo>
                      <a:pt x="68866" y="335865"/>
                    </a:lnTo>
                    <a:cubicBezTo>
                      <a:pt x="68866" y="339449"/>
                      <a:pt x="65960" y="342355"/>
                      <a:pt x="62376" y="342355"/>
                    </a:cubicBezTo>
                    <a:lnTo>
                      <a:pt x="6489" y="342355"/>
                    </a:lnTo>
                    <a:cubicBezTo>
                      <a:pt x="2905" y="342355"/>
                      <a:pt x="0" y="339449"/>
                      <a:pt x="0" y="335865"/>
                    </a:cubicBezTo>
                    <a:lnTo>
                      <a:pt x="0" y="6489"/>
                    </a:lnTo>
                    <a:cubicBezTo>
                      <a:pt x="0" y="2905"/>
                      <a:pt x="2905" y="0"/>
                      <a:pt x="6489" y="0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B8FB2F8B-6AB9-4450-DD6B-1D67DAC47C0C}"/>
                  </a:ext>
                </a:extLst>
              </p:cNvPr>
              <p:cNvSpPr/>
              <p:nvPr/>
            </p:nvSpPr>
            <p:spPr>
              <a:xfrm>
                <a:off x="10006809" y="3011696"/>
                <a:ext cx="258538" cy="347300"/>
              </a:xfrm>
              <a:custGeom>
                <a:avLst/>
                <a:gdLst>
                  <a:gd name="connsiteX0" fmla="*/ 143734 w 258538"/>
                  <a:gd name="connsiteY0" fmla="*/ 93393 h 347300"/>
                  <a:gd name="connsiteX1" fmla="*/ 68894 w 258538"/>
                  <a:gd name="connsiteY1" fmla="*/ 129755 h 347300"/>
                  <a:gd name="connsiteX2" fmla="*/ 68894 w 258538"/>
                  <a:gd name="connsiteY2" fmla="*/ 6489 h 347300"/>
                  <a:gd name="connsiteX3" fmla="*/ 62405 w 258538"/>
                  <a:gd name="connsiteY3" fmla="*/ 0 h 347300"/>
                  <a:gd name="connsiteX4" fmla="*/ 6489 w 258538"/>
                  <a:gd name="connsiteY4" fmla="*/ 0 h 347300"/>
                  <a:gd name="connsiteX5" fmla="*/ 0 w 258538"/>
                  <a:gd name="connsiteY5" fmla="*/ 6489 h 347300"/>
                  <a:gd name="connsiteX6" fmla="*/ 0 w 258538"/>
                  <a:gd name="connsiteY6" fmla="*/ 335894 h 347300"/>
                  <a:gd name="connsiteX7" fmla="*/ 6489 w 258538"/>
                  <a:gd name="connsiteY7" fmla="*/ 342383 h 347300"/>
                  <a:gd name="connsiteX8" fmla="*/ 62405 w 258538"/>
                  <a:gd name="connsiteY8" fmla="*/ 342383 h 347300"/>
                  <a:gd name="connsiteX9" fmla="*/ 68894 w 258538"/>
                  <a:gd name="connsiteY9" fmla="*/ 335894 h 347300"/>
                  <a:gd name="connsiteX10" fmla="*/ 68894 w 258538"/>
                  <a:gd name="connsiteY10" fmla="*/ 311624 h 347300"/>
                  <a:gd name="connsiteX11" fmla="*/ 144249 w 258538"/>
                  <a:gd name="connsiteY11" fmla="*/ 347300 h 347300"/>
                  <a:gd name="connsiteX12" fmla="*/ 258539 w 258538"/>
                  <a:gd name="connsiteY12" fmla="*/ 220689 h 347300"/>
                  <a:gd name="connsiteX13" fmla="*/ 143763 w 258538"/>
                  <a:gd name="connsiteY13" fmla="*/ 93393 h 347300"/>
                  <a:gd name="connsiteX14" fmla="*/ 130041 w 258538"/>
                  <a:gd name="connsiteY14" fmla="*/ 282637 h 347300"/>
                  <a:gd name="connsiteX15" fmla="*/ 68894 w 258538"/>
                  <a:gd name="connsiteY15" fmla="*/ 220718 h 347300"/>
                  <a:gd name="connsiteX16" fmla="*/ 130041 w 258538"/>
                  <a:gd name="connsiteY16" fmla="*/ 159285 h 347300"/>
                  <a:gd name="connsiteX17" fmla="*/ 190216 w 258538"/>
                  <a:gd name="connsiteY17" fmla="*/ 220718 h 347300"/>
                  <a:gd name="connsiteX18" fmla="*/ 130041 w 258538"/>
                  <a:gd name="connsiteY18" fmla="*/ 282637 h 347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8538" h="347300">
                    <a:moveTo>
                      <a:pt x="143734" y="93393"/>
                    </a:moveTo>
                    <a:cubicBezTo>
                      <a:pt x="111946" y="93393"/>
                      <a:pt x="85503" y="107172"/>
                      <a:pt x="68894" y="129755"/>
                    </a:cubicBezTo>
                    <a:lnTo>
                      <a:pt x="68894" y="6489"/>
                    </a:lnTo>
                    <a:cubicBezTo>
                      <a:pt x="68894" y="2916"/>
                      <a:pt x="65978" y="0"/>
                      <a:pt x="62405" y="0"/>
                    </a:cubicBezTo>
                    <a:lnTo>
                      <a:pt x="6489" y="0"/>
                    </a:lnTo>
                    <a:cubicBezTo>
                      <a:pt x="2916" y="0"/>
                      <a:pt x="0" y="2916"/>
                      <a:pt x="0" y="6489"/>
                    </a:cubicBezTo>
                    <a:lnTo>
                      <a:pt x="0" y="335894"/>
                    </a:lnTo>
                    <a:cubicBezTo>
                      <a:pt x="0" y="339467"/>
                      <a:pt x="2916" y="342383"/>
                      <a:pt x="6489" y="342383"/>
                    </a:cubicBezTo>
                    <a:lnTo>
                      <a:pt x="62405" y="342383"/>
                    </a:lnTo>
                    <a:cubicBezTo>
                      <a:pt x="65978" y="342383"/>
                      <a:pt x="68894" y="339467"/>
                      <a:pt x="68894" y="335894"/>
                    </a:cubicBezTo>
                    <a:lnTo>
                      <a:pt x="68894" y="311624"/>
                    </a:lnTo>
                    <a:cubicBezTo>
                      <a:pt x="85532" y="334236"/>
                      <a:pt x="111946" y="347300"/>
                      <a:pt x="144249" y="347300"/>
                    </a:cubicBezTo>
                    <a:cubicBezTo>
                      <a:pt x="212257" y="347300"/>
                      <a:pt x="258539" y="292442"/>
                      <a:pt x="258539" y="220689"/>
                    </a:cubicBezTo>
                    <a:cubicBezTo>
                      <a:pt x="258539" y="148937"/>
                      <a:pt x="212257" y="93393"/>
                      <a:pt x="143763" y="93393"/>
                    </a:cubicBezTo>
                    <a:close/>
                    <a:moveTo>
                      <a:pt x="130041" y="282637"/>
                    </a:moveTo>
                    <a:cubicBezTo>
                      <a:pt x="94822" y="282637"/>
                      <a:pt x="68894" y="254136"/>
                      <a:pt x="68894" y="220718"/>
                    </a:cubicBezTo>
                    <a:cubicBezTo>
                      <a:pt x="68894" y="187300"/>
                      <a:pt x="94822" y="159285"/>
                      <a:pt x="130041" y="159285"/>
                    </a:cubicBezTo>
                    <a:cubicBezTo>
                      <a:pt x="165260" y="159285"/>
                      <a:pt x="190216" y="187300"/>
                      <a:pt x="190216" y="220718"/>
                    </a:cubicBezTo>
                    <a:cubicBezTo>
                      <a:pt x="190216" y="254136"/>
                      <a:pt x="164774" y="282637"/>
                      <a:pt x="130041" y="282637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07BE9964-9487-28F0-45B5-BFF7EDFEAB72}"/>
                  </a:ext>
                </a:extLst>
              </p:cNvPr>
              <p:cNvSpPr/>
              <p:nvPr/>
            </p:nvSpPr>
            <p:spPr>
              <a:xfrm>
                <a:off x="9736922" y="3105088"/>
                <a:ext cx="251792" cy="253935"/>
              </a:xfrm>
              <a:custGeom>
                <a:avLst/>
                <a:gdLst>
                  <a:gd name="connsiteX0" fmla="*/ 125896 w 251792"/>
                  <a:gd name="connsiteY0" fmla="*/ 0 h 253935"/>
                  <a:gd name="connsiteX1" fmla="*/ 0 w 251792"/>
                  <a:gd name="connsiteY1" fmla="*/ 126725 h 253935"/>
                  <a:gd name="connsiteX2" fmla="*/ 125896 w 251792"/>
                  <a:gd name="connsiteY2" fmla="*/ 253936 h 253935"/>
                  <a:gd name="connsiteX3" fmla="*/ 251792 w 251792"/>
                  <a:gd name="connsiteY3" fmla="*/ 126725 h 253935"/>
                  <a:gd name="connsiteX4" fmla="*/ 125896 w 251792"/>
                  <a:gd name="connsiteY4" fmla="*/ 0 h 253935"/>
                  <a:gd name="connsiteX5" fmla="*/ 126153 w 251792"/>
                  <a:gd name="connsiteY5" fmla="*/ 188558 h 253935"/>
                  <a:gd name="connsiteX6" fmla="*/ 65378 w 251792"/>
                  <a:gd name="connsiteY6" fmla="*/ 126725 h 253935"/>
                  <a:gd name="connsiteX7" fmla="*/ 126153 w 251792"/>
                  <a:gd name="connsiteY7" fmla="*/ 65378 h 253935"/>
                  <a:gd name="connsiteX8" fmla="*/ 186443 w 251792"/>
                  <a:gd name="connsiteY8" fmla="*/ 126725 h 253935"/>
                  <a:gd name="connsiteX9" fmla="*/ 126153 w 251792"/>
                  <a:gd name="connsiteY9" fmla="*/ 188558 h 253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1792" h="253935">
                    <a:moveTo>
                      <a:pt x="125896" y="0"/>
                    </a:moveTo>
                    <a:cubicBezTo>
                      <a:pt x="54944" y="0"/>
                      <a:pt x="0" y="55287"/>
                      <a:pt x="0" y="126725"/>
                    </a:cubicBezTo>
                    <a:cubicBezTo>
                      <a:pt x="0" y="198163"/>
                      <a:pt x="54915" y="253936"/>
                      <a:pt x="125896" y="253936"/>
                    </a:cubicBezTo>
                    <a:cubicBezTo>
                      <a:pt x="196877" y="253936"/>
                      <a:pt x="251792" y="198163"/>
                      <a:pt x="251792" y="126725"/>
                    </a:cubicBezTo>
                    <a:cubicBezTo>
                      <a:pt x="251792" y="55287"/>
                      <a:pt x="196877" y="0"/>
                      <a:pt x="125896" y="0"/>
                    </a:cubicBezTo>
                    <a:close/>
                    <a:moveTo>
                      <a:pt x="126153" y="188558"/>
                    </a:moveTo>
                    <a:cubicBezTo>
                      <a:pt x="91506" y="188558"/>
                      <a:pt x="65378" y="160314"/>
                      <a:pt x="65378" y="126725"/>
                    </a:cubicBezTo>
                    <a:cubicBezTo>
                      <a:pt x="65378" y="93136"/>
                      <a:pt x="91506" y="65378"/>
                      <a:pt x="126153" y="65378"/>
                    </a:cubicBezTo>
                    <a:cubicBezTo>
                      <a:pt x="160801" y="65378"/>
                      <a:pt x="186443" y="93136"/>
                      <a:pt x="186443" y="126725"/>
                    </a:cubicBezTo>
                    <a:cubicBezTo>
                      <a:pt x="186443" y="160314"/>
                      <a:pt x="161315" y="188558"/>
                      <a:pt x="126153" y="188558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C7D30DCD-1485-7F9E-EBAC-645359438BF7}"/>
                  </a:ext>
                </a:extLst>
              </p:cNvPr>
              <p:cNvSpPr/>
              <p:nvPr/>
            </p:nvSpPr>
            <p:spPr>
              <a:xfrm>
                <a:off x="10370776" y="3105088"/>
                <a:ext cx="251792" cy="253935"/>
              </a:xfrm>
              <a:custGeom>
                <a:avLst/>
                <a:gdLst>
                  <a:gd name="connsiteX0" fmla="*/ 125896 w 251792"/>
                  <a:gd name="connsiteY0" fmla="*/ 0 h 253935"/>
                  <a:gd name="connsiteX1" fmla="*/ 0 w 251792"/>
                  <a:gd name="connsiteY1" fmla="*/ 126725 h 253935"/>
                  <a:gd name="connsiteX2" fmla="*/ 125896 w 251792"/>
                  <a:gd name="connsiteY2" fmla="*/ 253936 h 253935"/>
                  <a:gd name="connsiteX3" fmla="*/ 251792 w 251792"/>
                  <a:gd name="connsiteY3" fmla="*/ 126725 h 253935"/>
                  <a:gd name="connsiteX4" fmla="*/ 125896 w 251792"/>
                  <a:gd name="connsiteY4" fmla="*/ 0 h 253935"/>
                  <a:gd name="connsiteX5" fmla="*/ 126153 w 251792"/>
                  <a:gd name="connsiteY5" fmla="*/ 188558 h 253935"/>
                  <a:gd name="connsiteX6" fmla="*/ 65378 w 251792"/>
                  <a:gd name="connsiteY6" fmla="*/ 126725 h 253935"/>
                  <a:gd name="connsiteX7" fmla="*/ 126153 w 251792"/>
                  <a:gd name="connsiteY7" fmla="*/ 65378 h 253935"/>
                  <a:gd name="connsiteX8" fmla="*/ 186443 w 251792"/>
                  <a:gd name="connsiteY8" fmla="*/ 126725 h 253935"/>
                  <a:gd name="connsiteX9" fmla="*/ 126153 w 251792"/>
                  <a:gd name="connsiteY9" fmla="*/ 188558 h 253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1792" h="253935">
                    <a:moveTo>
                      <a:pt x="125896" y="0"/>
                    </a:moveTo>
                    <a:cubicBezTo>
                      <a:pt x="54944" y="0"/>
                      <a:pt x="0" y="55287"/>
                      <a:pt x="0" y="126725"/>
                    </a:cubicBezTo>
                    <a:cubicBezTo>
                      <a:pt x="0" y="198163"/>
                      <a:pt x="54915" y="253936"/>
                      <a:pt x="125896" y="253936"/>
                    </a:cubicBezTo>
                    <a:cubicBezTo>
                      <a:pt x="196877" y="253936"/>
                      <a:pt x="251792" y="198163"/>
                      <a:pt x="251792" y="126725"/>
                    </a:cubicBezTo>
                    <a:cubicBezTo>
                      <a:pt x="251792" y="55287"/>
                      <a:pt x="196877" y="0"/>
                      <a:pt x="125896" y="0"/>
                    </a:cubicBezTo>
                    <a:close/>
                    <a:moveTo>
                      <a:pt x="126153" y="188558"/>
                    </a:moveTo>
                    <a:cubicBezTo>
                      <a:pt x="91506" y="188558"/>
                      <a:pt x="65378" y="160314"/>
                      <a:pt x="65378" y="126725"/>
                    </a:cubicBezTo>
                    <a:cubicBezTo>
                      <a:pt x="65378" y="93136"/>
                      <a:pt x="91506" y="65378"/>
                      <a:pt x="126153" y="65378"/>
                    </a:cubicBezTo>
                    <a:cubicBezTo>
                      <a:pt x="160801" y="65378"/>
                      <a:pt x="186443" y="93136"/>
                      <a:pt x="186443" y="126725"/>
                    </a:cubicBezTo>
                    <a:cubicBezTo>
                      <a:pt x="186443" y="160314"/>
                      <a:pt x="161315" y="188558"/>
                      <a:pt x="126153" y="188558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1E30582E-26B3-57E3-D7EF-6CEE8FFA2368}"/>
                  </a:ext>
                </a:extLst>
              </p:cNvPr>
              <p:cNvSpPr/>
              <p:nvPr/>
            </p:nvSpPr>
            <p:spPr>
              <a:xfrm>
                <a:off x="9242171" y="3110092"/>
                <a:ext cx="68865" cy="243987"/>
              </a:xfrm>
              <a:custGeom>
                <a:avLst/>
                <a:gdLst>
                  <a:gd name="connsiteX0" fmla="*/ 62405 w 68865"/>
                  <a:gd name="connsiteY0" fmla="*/ 243987 h 243987"/>
                  <a:gd name="connsiteX1" fmla="*/ 6489 w 68865"/>
                  <a:gd name="connsiteY1" fmla="*/ 243987 h 243987"/>
                  <a:gd name="connsiteX2" fmla="*/ 0 w 68865"/>
                  <a:gd name="connsiteY2" fmla="*/ 237498 h 243987"/>
                  <a:gd name="connsiteX3" fmla="*/ 0 w 68865"/>
                  <a:gd name="connsiteY3" fmla="*/ 63891 h 243987"/>
                  <a:gd name="connsiteX4" fmla="*/ 3888 w 68865"/>
                  <a:gd name="connsiteY4" fmla="*/ 54629 h 243987"/>
                  <a:gd name="connsiteX5" fmla="*/ 57860 w 68865"/>
                  <a:gd name="connsiteY5" fmla="*/ 1858 h 243987"/>
                  <a:gd name="connsiteX6" fmla="*/ 68866 w 68865"/>
                  <a:gd name="connsiteY6" fmla="*/ 6489 h 243987"/>
                  <a:gd name="connsiteX7" fmla="*/ 68866 w 68865"/>
                  <a:gd name="connsiteY7" fmla="*/ 237498 h 243987"/>
                  <a:gd name="connsiteX8" fmla="*/ 62376 w 68865"/>
                  <a:gd name="connsiteY8" fmla="*/ 243987 h 243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8865" h="243987">
                    <a:moveTo>
                      <a:pt x="62405" y="243987"/>
                    </a:moveTo>
                    <a:lnTo>
                      <a:pt x="6489" y="243987"/>
                    </a:lnTo>
                    <a:cubicBezTo>
                      <a:pt x="2916" y="243987"/>
                      <a:pt x="0" y="241071"/>
                      <a:pt x="0" y="237498"/>
                    </a:cubicBezTo>
                    <a:lnTo>
                      <a:pt x="0" y="63891"/>
                    </a:lnTo>
                    <a:cubicBezTo>
                      <a:pt x="0" y="60403"/>
                      <a:pt x="1401" y="57059"/>
                      <a:pt x="3888" y="54629"/>
                    </a:cubicBezTo>
                    <a:lnTo>
                      <a:pt x="57860" y="1858"/>
                    </a:lnTo>
                    <a:cubicBezTo>
                      <a:pt x="61976" y="-2144"/>
                      <a:pt x="68866" y="743"/>
                      <a:pt x="68866" y="6489"/>
                    </a:cubicBezTo>
                    <a:lnTo>
                      <a:pt x="68866" y="237498"/>
                    </a:lnTo>
                    <a:cubicBezTo>
                      <a:pt x="68866" y="241071"/>
                      <a:pt x="65950" y="243987"/>
                      <a:pt x="62376" y="243987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751BBF1F-6731-030C-5CCE-910478D3A3A1}"/>
                  </a:ext>
                </a:extLst>
              </p:cNvPr>
              <p:cNvSpPr/>
              <p:nvPr/>
            </p:nvSpPr>
            <p:spPr>
              <a:xfrm>
                <a:off x="9347255" y="3105025"/>
                <a:ext cx="224777" cy="249082"/>
              </a:xfrm>
              <a:custGeom>
                <a:avLst/>
                <a:gdLst>
                  <a:gd name="connsiteX0" fmla="*/ 224749 w 224777"/>
                  <a:gd name="connsiteY0" fmla="*/ 87568 h 249082"/>
                  <a:gd name="connsiteX1" fmla="*/ 136416 w 224777"/>
                  <a:gd name="connsiteY1" fmla="*/ 6 h 249082"/>
                  <a:gd name="connsiteX2" fmla="*/ 68894 w 224777"/>
                  <a:gd name="connsiteY2" fmla="*/ 36540 h 249082"/>
                  <a:gd name="connsiteX3" fmla="*/ 68894 w 224777"/>
                  <a:gd name="connsiteY3" fmla="*/ 11670 h 249082"/>
                  <a:gd name="connsiteX4" fmla="*/ 62405 w 224777"/>
                  <a:gd name="connsiteY4" fmla="*/ 5181 h 249082"/>
                  <a:gd name="connsiteX5" fmla="*/ 6489 w 224777"/>
                  <a:gd name="connsiteY5" fmla="*/ 5181 h 249082"/>
                  <a:gd name="connsiteX6" fmla="*/ 0 w 224777"/>
                  <a:gd name="connsiteY6" fmla="*/ 11670 h 249082"/>
                  <a:gd name="connsiteX7" fmla="*/ 0 w 224777"/>
                  <a:gd name="connsiteY7" fmla="*/ 242565 h 249082"/>
                  <a:gd name="connsiteX8" fmla="*/ 6489 w 224777"/>
                  <a:gd name="connsiteY8" fmla="*/ 249054 h 249082"/>
                  <a:gd name="connsiteX9" fmla="*/ 62405 w 224777"/>
                  <a:gd name="connsiteY9" fmla="*/ 249054 h 249082"/>
                  <a:gd name="connsiteX10" fmla="*/ 68894 w 224777"/>
                  <a:gd name="connsiteY10" fmla="*/ 242565 h 249082"/>
                  <a:gd name="connsiteX11" fmla="*/ 68894 w 224777"/>
                  <a:gd name="connsiteY11" fmla="*/ 108293 h 249082"/>
                  <a:gd name="connsiteX12" fmla="*/ 112375 w 224777"/>
                  <a:gd name="connsiteY12" fmla="*/ 66385 h 249082"/>
                  <a:gd name="connsiteX13" fmla="*/ 155884 w 224777"/>
                  <a:gd name="connsiteY13" fmla="*/ 111266 h 249082"/>
                  <a:gd name="connsiteX14" fmla="*/ 155884 w 224777"/>
                  <a:gd name="connsiteY14" fmla="*/ 242593 h 249082"/>
                  <a:gd name="connsiteX15" fmla="*/ 162373 w 224777"/>
                  <a:gd name="connsiteY15" fmla="*/ 249083 h 249082"/>
                  <a:gd name="connsiteX16" fmla="*/ 218289 w 224777"/>
                  <a:gd name="connsiteY16" fmla="*/ 249083 h 249082"/>
                  <a:gd name="connsiteX17" fmla="*/ 224778 w 224777"/>
                  <a:gd name="connsiteY17" fmla="*/ 242593 h 249082"/>
                  <a:gd name="connsiteX18" fmla="*/ 224778 w 224777"/>
                  <a:gd name="connsiteY18" fmla="*/ 87596 h 249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4777" h="249082">
                    <a:moveTo>
                      <a:pt x="224749" y="87568"/>
                    </a:moveTo>
                    <a:cubicBezTo>
                      <a:pt x="224749" y="40257"/>
                      <a:pt x="185671" y="578"/>
                      <a:pt x="136416" y="6"/>
                    </a:cubicBezTo>
                    <a:cubicBezTo>
                      <a:pt x="104370" y="-365"/>
                      <a:pt x="82730" y="15329"/>
                      <a:pt x="68894" y="36540"/>
                    </a:cubicBezTo>
                    <a:lnTo>
                      <a:pt x="68894" y="11670"/>
                    </a:lnTo>
                    <a:cubicBezTo>
                      <a:pt x="68894" y="8097"/>
                      <a:pt x="65978" y="5181"/>
                      <a:pt x="62405" y="5181"/>
                    </a:cubicBezTo>
                    <a:lnTo>
                      <a:pt x="6489" y="5181"/>
                    </a:lnTo>
                    <a:cubicBezTo>
                      <a:pt x="2916" y="5181"/>
                      <a:pt x="0" y="8097"/>
                      <a:pt x="0" y="11670"/>
                    </a:cubicBezTo>
                    <a:lnTo>
                      <a:pt x="0" y="242565"/>
                    </a:lnTo>
                    <a:cubicBezTo>
                      <a:pt x="0" y="246138"/>
                      <a:pt x="2916" y="249054"/>
                      <a:pt x="6489" y="249054"/>
                    </a:cubicBezTo>
                    <a:lnTo>
                      <a:pt x="62405" y="249054"/>
                    </a:lnTo>
                    <a:cubicBezTo>
                      <a:pt x="65978" y="249054"/>
                      <a:pt x="68894" y="246138"/>
                      <a:pt x="68894" y="242565"/>
                    </a:cubicBezTo>
                    <a:lnTo>
                      <a:pt x="68894" y="108293"/>
                    </a:lnTo>
                    <a:cubicBezTo>
                      <a:pt x="70438" y="82451"/>
                      <a:pt x="86818" y="66385"/>
                      <a:pt x="112375" y="66385"/>
                    </a:cubicBezTo>
                    <a:cubicBezTo>
                      <a:pt x="137931" y="66385"/>
                      <a:pt x="155884" y="84423"/>
                      <a:pt x="155884" y="111266"/>
                    </a:cubicBezTo>
                    <a:lnTo>
                      <a:pt x="155884" y="242593"/>
                    </a:lnTo>
                    <a:cubicBezTo>
                      <a:pt x="155884" y="246167"/>
                      <a:pt x="158800" y="249083"/>
                      <a:pt x="162373" y="249083"/>
                    </a:cubicBezTo>
                    <a:lnTo>
                      <a:pt x="218289" y="249083"/>
                    </a:lnTo>
                    <a:cubicBezTo>
                      <a:pt x="221862" y="249083"/>
                      <a:pt x="224778" y="246167"/>
                      <a:pt x="224778" y="242593"/>
                    </a:cubicBezTo>
                    <a:lnTo>
                      <a:pt x="224778" y="87596"/>
                    </a:ln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74435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">
    <p:bg>
      <p:bgPr>
        <a:solidFill>
          <a:srgbClr val="00BD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0275E058-A733-FB07-D5E6-500E1BEC32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5978" y="2876982"/>
            <a:ext cx="10269145" cy="816709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3800" b="1" i="0" cap="all" baseline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r>
              <a:rPr lang="en-US" dirty="0"/>
              <a:t>Section header styl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0FFE8881-3421-BE08-714B-D7CF2D0AFBD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52123" y="4040784"/>
            <a:ext cx="10269145" cy="5834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200" b="0" i="0" cap="all" baseline="0">
                <a:solidFill>
                  <a:schemeClr val="bg1"/>
                </a:solidFill>
                <a:latin typeface="Lato" panose="020F0502020204030203" pitchFamily="34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B7B0210-2856-B83D-0ED8-2FCCD1545C25}"/>
              </a:ext>
            </a:extLst>
          </p:cNvPr>
          <p:cNvCxnSpPr>
            <a:cxnSpLocks/>
          </p:cNvCxnSpPr>
          <p:nvPr userDrawn="1"/>
        </p:nvCxnSpPr>
        <p:spPr>
          <a:xfrm>
            <a:off x="736290" y="3839435"/>
            <a:ext cx="1022854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6ED2466E-684E-7806-88D5-1E13A8E12C25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794240" y="518032"/>
            <a:ext cx="1513013" cy="323294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F1BB6DF2-2BBE-5D11-F6F0-BB72ADADDDAA}"/>
              </a:ext>
            </a:extLst>
          </p:cNvPr>
          <p:cNvSpPr/>
          <p:nvPr userDrawn="1"/>
        </p:nvSpPr>
        <p:spPr>
          <a:xfrm>
            <a:off x="116081" y="6291072"/>
            <a:ext cx="493776" cy="49377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rgbClr val="10182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9176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c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oogle Shape;987;g22cb0be31a4_6_52">
            <a:extLst>
              <a:ext uri="{FF2B5EF4-FFF2-40B4-BE49-F238E27FC236}">
                <a16:creationId xmlns:a16="http://schemas.microsoft.com/office/drawing/2014/main" id="{4DE2FA32-4BDF-907B-19AD-7217FA4CE420}"/>
              </a:ext>
            </a:extLst>
          </p:cNvPr>
          <p:cNvGrpSpPr/>
          <p:nvPr userDrawn="1"/>
        </p:nvGrpSpPr>
        <p:grpSpPr>
          <a:xfrm>
            <a:off x="11122821" y="6466206"/>
            <a:ext cx="799629" cy="172367"/>
            <a:chOff x="11122821" y="6466206"/>
            <a:chExt cx="799629" cy="172367"/>
          </a:xfrm>
        </p:grpSpPr>
        <p:sp>
          <p:nvSpPr>
            <p:cNvPr id="5" name="Google Shape;988;g22cb0be31a4_6_52">
              <a:extLst>
                <a:ext uri="{FF2B5EF4-FFF2-40B4-BE49-F238E27FC236}">
                  <a16:creationId xmlns:a16="http://schemas.microsoft.com/office/drawing/2014/main" id="{B2CA3A27-3EF5-9B90-B4F4-41C44D6569FF}"/>
                </a:ext>
              </a:extLst>
            </p:cNvPr>
            <p:cNvSpPr/>
            <p:nvPr/>
          </p:nvSpPr>
          <p:spPr>
            <a:xfrm rot="-2700000">
              <a:off x="11134957" y="6473485"/>
              <a:ext cx="35147" cy="35147"/>
            </a:xfrm>
            <a:custGeom>
              <a:avLst/>
              <a:gdLst/>
              <a:ahLst/>
              <a:cxnLst/>
              <a:rect l="l" t="t" r="r" b="b"/>
              <a:pathLst>
                <a:path w="35147" h="35147" extrusionOk="0">
                  <a:moveTo>
                    <a:pt x="32044" y="0"/>
                  </a:moveTo>
                  <a:cubicBezTo>
                    <a:pt x="33758" y="0"/>
                    <a:pt x="35148" y="1389"/>
                    <a:pt x="35148" y="3103"/>
                  </a:cubicBezTo>
                  <a:lnTo>
                    <a:pt x="35148" y="32044"/>
                  </a:lnTo>
                  <a:cubicBezTo>
                    <a:pt x="35148" y="33758"/>
                    <a:pt x="33758" y="35148"/>
                    <a:pt x="32044" y="35148"/>
                  </a:cubicBezTo>
                  <a:lnTo>
                    <a:pt x="3103" y="35148"/>
                  </a:lnTo>
                  <a:cubicBezTo>
                    <a:pt x="1389" y="35148"/>
                    <a:pt x="0" y="33758"/>
                    <a:pt x="0" y="32044"/>
                  </a:cubicBezTo>
                  <a:lnTo>
                    <a:pt x="0" y="3103"/>
                  </a:lnTo>
                  <a:cubicBezTo>
                    <a:pt x="0" y="1389"/>
                    <a:pt x="1389" y="0"/>
                    <a:pt x="3103" y="0"/>
                  </a:cubicBezTo>
                  <a:close/>
                </a:path>
              </a:pathLst>
            </a:custGeom>
            <a:solidFill>
              <a:srgbClr val="00B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Lato Light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Calibri"/>
              </a:endParaRPr>
            </a:p>
          </p:txBody>
        </p:sp>
        <p:grpSp>
          <p:nvGrpSpPr>
            <p:cNvPr id="6" name="Google Shape;989;g22cb0be31a4_6_52">
              <a:extLst>
                <a:ext uri="{FF2B5EF4-FFF2-40B4-BE49-F238E27FC236}">
                  <a16:creationId xmlns:a16="http://schemas.microsoft.com/office/drawing/2014/main" id="{8DAC5303-7ED7-33A6-0CD6-254E7A6A7961}"/>
                </a:ext>
              </a:extLst>
            </p:cNvPr>
            <p:cNvGrpSpPr/>
            <p:nvPr/>
          </p:nvGrpSpPr>
          <p:grpSpPr>
            <a:xfrm>
              <a:off x="11122821" y="6472473"/>
              <a:ext cx="799629" cy="166100"/>
              <a:chOff x="11122821" y="6472473"/>
              <a:chExt cx="799629" cy="166100"/>
            </a:xfrm>
          </p:grpSpPr>
          <p:sp>
            <p:nvSpPr>
              <p:cNvPr id="7" name="Google Shape;990;g22cb0be31a4_6_52">
                <a:extLst>
                  <a:ext uri="{FF2B5EF4-FFF2-40B4-BE49-F238E27FC236}">
                    <a16:creationId xmlns:a16="http://schemas.microsoft.com/office/drawing/2014/main" id="{16B50947-AA17-A454-AF26-87CBF998C35A}"/>
                  </a:ext>
                </a:extLst>
              </p:cNvPr>
              <p:cNvSpPr/>
              <p:nvPr/>
            </p:nvSpPr>
            <p:spPr>
              <a:xfrm>
                <a:off x="11774281" y="6519597"/>
                <a:ext cx="119385" cy="116611"/>
              </a:xfrm>
              <a:custGeom>
                <a:avLst/>
                <a:gdLst/>
                <a:ahLst/>
                <a:cxnLst/>
                <a:rect l="l" t="t" r="r" b="b"/>
                <a:pathLst>
                  <a:path w="119385" h="116611" extrusionOk="0">
                    <a:moveTo>
                      <a:pt x="82523" y="58306"/>
                    </a:moveTo>
                    <a:lnTo>
                      <a:pt x="118887" y="112265"/>
                    </a:lnTo>
                    <a:cubicBezTo>
                      <a:pt x="120199" y="114124"/>
                      <a:pt x="118764" y="116612"/>
                      <a:pt x="116385" y="116612"/>
                    </a:cubicBezTo>
                    <a:lnTo>
                      <a:pt x="85831" y="116612"/>
                    </a:lnTo>
                    <a:cubicBezTo>
                      <a:pt x="83794" y="116612"/>
                      <a:pt x="81880" y="115600"/>
                      <a:pt x="80718" y="113919"/>
                    </a:cubicBezTo>
                    <a:lnTo>
                      <a:pt x="59693" y="81751"/>
                    </a:lnTo>
                    <a:lnTo>
                      <a:pt x="38667" y="113919"/>
                    </a:lnTo>
                    <a:cubicBezTo>
                      <a:pt x="37505" y="115600"/>
                      <a:pt x="35605" y="116612"/>
                      <a:pt x="33554" y="116612"/>
                    </a:cubicBezTo>
                    <a:lnTo>
                      <a:pt x="3000" y="116612"/>
                    </a:lnTo>
                    <a:cubicBezTo>
                      <a:pt x="621" y="116612"/>
                      <a:pt x="-814" y="114138"/>
                      <a:pt x="498" y="112265"/>
                    </a:cubicBezTo>
                    <a:lnTo>
                      <a:pt x="36753" y="58306"/>
                    </a:lnTo>
                    <a:lnTo>
                      <a:pt x="498" y="4347"/>
                    </a:lnTo>
                    <a:cubicBezTo>
                      <a:pt x="-814" y="2488"/>
                      <a:pt x="621" y="0"/>
                      <a:pt x="3000" y="0"/>
                    </a:cubicBezTo>
                    <a:lnTo>
                      <a:pt x="34853" y="0"/>
                    </a:lnTo>
                    <a:cubicBezTo>
                      <a:pt x="36042" y="0"/>
                      <a:pt x="37149" y="547"/>
                      <a:pt x="37778" y="1449"/>
                    </a:cubicBezTo>
                    <a:lnTo>
                      <a:pt x="59679" y="34806"/>
                    </a:lnTo>
                    <a:lnTo>
                      <a:pt x="80240" y="1463"/>
                    </a:lnTo>
                    <a:cubicBezTo>
                      <a:pt x="80855" y="561"/>
                      <a:pt x="81976" y="0"/>
                      <a:pt x="83165" y="0"/>
                    </a:cubicBezTo>
                    <a:lnTo>
                      <a:pt x="115333" y="0"/>
                    </a:lnTo>
                    <a:cubicBezTo>
                      <a:pt x="117711" y="0"/>
                      <a:pt x="119133" y="2474"/>
                      <a:pt x="117834" y="4334"/>
                    </a:cubicBezTo>
                    <a:lnTo>
                      <a:pt x="82495" y="5830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8" name="Google Shape;991;g22cb0be31a4_6_52">
                <a:extLst>
                  <a:ext uri="{FF2B5EF4-FFF2-40B4-BE49-F238E27FC236}">
                    <a16:creationId xmlns:a16="http://schemas.microsoft.com/office/drawing/2014/main" id="{C16BBA94-DC9E-7F21-1A44-2C9FB85B8EA7}"/>
                  </a:ext>
                </a:extLst>
              </p:cNvPr>
              <p:cNvSpPr/>
              <p:nvPr/>
            </p:nvSpPr>
            <p:spPr>
              <a:xfrm>
                <a:off x="11284928" y="6472473"/>
                <a:ext cx="78825" cy="163762"/>
              </a:xfrm>
              <a:custGeom>
                <a:avLst/>
                <a:gdLst/>
                <a:ahLst/>
                <a:cxnLst/>
                <a:rect l="l" t="t" r="r" b="b"/>
                <a:pathLst>
                  <a:path w="78825" h="163762" extrusionOk="0">
                    <a:moveTo>
                      <a:pt x="75722" y="14"/>
                    </a:moveTo>
                    <a:lnTo>
                      <a:pt x="50377" y="14"/>
                    </a:lnTo>
                    <a:cubicBezTo>
                      <a:pt x="47916" y="14"/>
                      <a:pt x="45551" y="998"/>
                      <a:pt x="43801" y="2734"/>
                    </a:cubicBezTo>
                    <a:lnTo>
                      <a:pt x="19987" y="26549"/>
                    </a:lnTo>
                    <a:cubicBezTo>
                      <a:pt x="18237" y="28299"/>
                      <a:pt x="17266" y="30664"/>
                      <a:pt x="17266" y="33124"/>
                    </a:cubicBezTo>
                    <a:lnTo>
                      <a:pt x="17266" y="51867"/>
                    </a:lnTo>
                    <a:lnTo>
                      <a:pt x="3049" y="51867"/>
                    </a:lnTo>
                    <a:cubicBezTo>
                      <a:pt x="1367" y="51867"/>
                      <a:pt x="0" y="53234"/>
                      <a:pt x="0" y="54916"/>
                    </a:cubicBezTo>
                    <a:lnTo>
                      <a:pt x="0" y="75955"/>
                    </a:lnTo>
                    <a:cubicBezTo>
                      <a:pt x="0" y="77636"/>
                      <a:pt x="1367" y="79004"/>
                      <a:pt x="3049" y="79004"/>
                    </a:cubicBezTo>
                    <a:lnTo>
                      <a:pt x="17266" y="79004"/>
                    </a:lnTo>
                    <a:lnTo>
                      <a:pt x="17266" y="160659"/>
                    </a:lnTo>
                    <a:cubicBezTo>
                      <a:pt x="17266" y="162368"/>
                      <a:pt x="18661" y="163763"/>
                      <a:pt x="20369" y="163763"/>
                    </a:cubicBezTo>
                    <a:lnTo>
                      <a:pt x="47109" y="163763"/>
                    </a:lnTo>
                    <a:cubicBezTo>
                      <a:pt x="48818" y="163763"/>
                      <a:pt x="50213" y="162368"/>
                      <a:pt x="50213" y="160659"/>
                    </a:cubicBezTo>
                    <a:lnTo>
                      <a:pt x="50213" y="78990"/>
                    </a:lnTo>
                    <a:lnTo>
                      <a:pt x="71443" y="78990"/>
                    </a:lnTo>
                    <a:cubicBezTo>
                      <a:pt x="73125" y="78990"/>
                      <a:pt x="74492" y="77623"/>
                      <a:pt x="74492" y="75941"/>
                    </a:cubicBezTo>
                    <a:lnTo>
                      <a:pt x="74492" y="54902"/>
                    </a:lnTo>
                    <a:cubicBezTo>
                      <a:pt x="74492" y="53220"/>
                      <a:pt x="73125" y="51853"/>
                      <a:pt x="71443" y="51853"/>
                    </a:cubicBezTo>
                    <a:lnTo>
                      <a:pt x="50213" y="51853"/>
                    </a:lnTo>
                    <a:lnTo>
                      <a:pt x="50213" y="38565"/>
                    </a:lnTo>
                    <a:cubicBezTo>
                      <a:pt x="50213" y="33425"/>
                      <a:pt x="54382" y="29269"/>
                      <a:pt x="59509" y="29269"/>
                    </a:cubicBezTo>
                    <a:lnTo>
                      <a:pt x="75722" y="29269"/>
                    </a:lnTo>
                    <a:cubicBezTo>
                      <a:pt x="77431" y="29269"/>
                      <a:pt x="78826" y="27875"/>
                      <a:pt x="78826" y="26166"/>
                    </a:cubicBezTo>
                    <a:lnTo>
                      <a:pt x="78826" y="3103"/>
                    </a:lnTo>
                    <a:cubicBezTo>
                      <a:pt x="78826" y="1394"/>
                      <a:pt x="77431" y="0"/>
                      <a:pt x="75722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9" name="Google Shape;992;g22cb0be31a4_6_52">
                <a:extLst>
                  <a:ext uri="{FF2B5EF4-FFF2-40B4-BE49-F238E27FC236}">
                    <a16:creationId xmlns:a16="http://schemas.microsoft.com/office/drawing/2014/main" id="{8941B8E6-F38C-9DC2-10D2-C236132A20A3}"/>
                  </a:ext>
                </a:extLst>
              </p:cNvPr>
              <p:cNvSpPr/>
              <p:nvPr/>
            </p:nvSpPr>
            <p:spPr>
              <a:xfrm>
                <a:off x="11896791" y="6612367"/>
                <a:ext cx="25659" cy="25660"/>
              </a:xfrm>
              <a:custGeom>
                <a:avLst/>
                <a:gdLst/>
                <a:ahLst/>
                <a:cxnLst/>
                <a:rect l="l" t="t" r="r" b="b"/>
                <a:pathLst>
                  <a:path w="25659" h="25660" extrusionOk="0">
                    <a:moveTo>
                      <a:pt x="25660" y="12810"/>
                    </a:moveTo>
                    <a:cubicBezTo>
                      <a:pt x="25660" y="19946"/>
                      <a:pt x="19946" y="25660"/>
                      <a:pt x="12782" y="25660"/>
                    </a:cubicBezTo>
                    <a:cubicBezTo>
                      <a:pt x="5619" y="25660"/>
                      <a:pt x="0" y="19891"/>
                      <a:pt x="0" y="12810"/>
                    </a:cubicBezTo>
                    <a:cubicBezTo>
                      <a:pt x="0" y="5728"/>
                      <a:pt x="5714" y="0"/>
                      <a:pt x="12823" y="0"/>
                    </a:cubicBezTo>
                    <a:cubicBezTo>
                      <a:pt x="19932" y="0"/>
                      <a:pt x="25646" y="5687"/>
                      <a:pt x="25646" y="12810"/>
                    </a:cubicBezTo>
                    <a:close/>
                    <a:moveTo>
                      <a:pt x="23691" y="12864"/>
                    </a:moveTo>
                    <a:cubicBezTo>
                      <a:pt x="23691" y="6712"/>
                      <a:pt x="18838" y="1832"/>
                      <a:pt x="12837" y="1832"/>
                    </a:cubicBezTo>
                    <a:cubicBezTo>
                      <a:pt x="6835" y="1832"/>
                      <a:pt x="1982" y="6658"/>
                      <a:pt x="1982" y="12851"/>
                    </a:cubicBezTo>
                    <a:cubicBezTo>
                      <a:pt x="1982" y="19043"/>
                      <a:pt x="6890" y="23856"/>
                      <a:pt x="12782" y="23856"/>
                    </a:cubicBezTo>
                    <a:cubicBezTo>
                      <a:pt x="18674" y="23856"/>
                      <a:pt x="23691" y="19002"/>
                      <a:pt x="23691" y="12864"/>
                    </a:cubicBezTo>
                    <a:close/>
                    <a:moveTo>
                      <a:pt x="15585" y="14888"/>
                    </a:moveTo>
                    <a:lnTo>
                      <a:pt x="18811" y="19905"/>
                    </a:lnTo>
                    <a:lnTo>
                      <a:pt x="16678" y="19905"/>
                    </a:lnTo>
                    <a:lnTo>
                      <a:pt x="13097" y="14218"/>
                    </a:lnTo>
                    <a:lnTo>
                      <a:pt x="9829" y="14218"/>
                    </a:lnTo>
                    <a:lnTo>
                      <a:pt x="9829" y="19905"/>
                    </a:lnTo>
                    <a:lnTo>
                      <a:pt x="8038" y="19905"/>
                    </a:lnTo>
                    <a:lnTo>
                      <a:pt x="8038" y="5523"/>
                    </a:lnTo>
                    <a:lnTo>
                      <a:pt x="13616" y="5523"/>
                    </a:lnTo>
                    <a:cubicBezTo>
                      <a:pt x="16364" y="5523"/>
                      <a:pt x="18155" y="6999"/>
                      <a:pt x="18155" y="9761"/>
                    </a:cubicBezTo>
                    <a:cubicBezTo>
                      <a:pt x="18155" y="11989"/>
                      <a:pt x="16801" y="13370"/>
                      <a:pt x="14887" y="13917"/>
                    </a:cubicBezTo>
                    <a:cubicBezTo>
                      <a:pt x="15147" y="14204"/>
                      <a:pt x="15407" y="14559"/>
                      <a:pt x="15585" y="14901"/>
                    </a:cubicBezTo>
                    <a:close/>
                    <a:moveTo>
                      <a:pt x="13015" y="12522"/>
                    </a:moveTo>
                    <a:cubicBezTo>
                      <a:pt x="15038" y="12522"/>
                      <a:pt x="16282" y="11565"/>
                      <a:pt x="16282" y="9870"/>
                    </a:cubicBezTo>
                    <a:cubicBezTo>
                      <a:pt x="16282" y="8175"/>
                      <a:pt x="15421" y="7191"/>
                      <a:pt x="13657" y="7191"/>
                    </a:cubicBezTo>
                    <a:lnTo>
                      <a:pt x="9816" y="7191"/>
                    </a:lnTo>
                    <a:lnTo>
                      <a:pt x="9816" y="12509"/>
                    </a:lnTo>
                    <a:lnTo>
                      <a:pt x="13015" y="12509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0" name="Google Shape;993;g22cb0be31a4_6_52">
                <a:extLst>
                  <a:ext uri="{FF2B5EF4-FFF2-40B4-BE49-F238E27FC236}">
                    <a16:creationId xmlns:a16="http://schemas.microsoft.com/office/drawing/2014/main" id="{83307B8F-5A19-3191-B974-315600FC968D}"/>
                  </a:ext>
                </a:extLst>
              </p:cNvPr>
              <p:cNvSpPr/>
              <p:nvPr/>
            </p:nvSpPr>
            <p:spPr>
              <a:xfrm>
                <a:off x="11620956" y="6472487"/>
                <a:ext cx="32932" cy="163721"/>
              </a:xfrm>
              <a:custGeom>
                <a:avLst/>
                <a:gdLst/>
                <a:ahLst/>
                <a:cxnLst/>
                <a:rect l="l" t="t" r="r" b="b"/>
                <a:pathLst>
                  <a:path w="32932" h="163721" extrusionOk="0">
                    <a:moveTo>
                      <a:pt x="29830" y="0"/>
                    </a:moveTo>
                    <a:cubicBezTo>
                      <a:pt x="31544" y="0"/>
                      <a:pt x="32933" y="1389"/>
                      <a:pt x="32933" y="3103"/>
                    </a:cubicBezTo>
                    <a:lnTo>
                      <a:pt x="32933" y="160618"/>
                    </a:lnTo>
                    <a:cubicBezTo>
                      <a:pt x="32933" y="162332"/>
                      <a:pt x="31543" y="163722"/>
                      <a:pt x="29830" y="163722"/>
                    </a:cubicBezTo>
                    <a:lnTo>
                      <a:pt x="3103" y="163722"/>
                    </a:lnTo>
                    <a:cubicBezTo>
                      <a:pt x="1389" y="163722"/>
                      <a:pt x="0" y="162332"/>
                      <a:pt x="0" y="160618"/>
                    </a:cubicBezTo>
                    <a:lnTo>
                      <a:pt x="0" y="3103"/>
                    </a:lnTo>
                    <a:cubicBezTo>
                      <a:pt x="0" y="1389"/>
                      <a:pt x="1389" y="0"/>
                      <a:pt x="3103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1" name="Google Shape;994;g22cb0be31a4_6_52">
                <a:extLst>
                  <a:ext uri="{FF2B5EF4-FFF2-40B4-BE49-F238E27FC236}">
                    <a16:creationId xmlns:a16="http://schemas.microsoft.com/office/drawing/2014/main" id="{130569FA-5D7A-F95B-F65D-704E55D748A0}"/>
                  </a:ext>
                </a:extLst>
              </p:cNvPr>
              <p:cNvSpPr/>
              <p:nvPr/>
            </p:nvSpPr>
            <p:spPr>
              <a:xfrm>
                <a:off x="11488486" y="6472473"/>
                <a:ext cx="123638" cy="166086"/>
              </a:xfrm>
              <a:custGeom>
                <a:avLst/>
                <a:gdLst/>
                <a:ahLst/>
                <a:cxnLst/>
                <a:rect l="l" t="t" r="r" b="b"/>
                <a:pathLst>
                  <a:path w="123638" h="166086" extrusionOk="0">
                    <a:moveTo>
                      <a:pt x="68737" y="44663"/>
                    </a:moveTo>
                    <a:cubicBezTo>
                      <a:pt x="53535" y="44663"/>
                      <a:pt x="40889" y="51252"/>
                      <a:pt x="32947" y="62052"/>
                    </a:cubicBezTo>
                    <a:lnTo>
                      <a:pt x="32947" y="3103"/>
                    </a:lnTo>
                    <a:cubicBezTo>
                      <a:pt x="32947" y="1394"/>
                      <a:pt x="31552" y="0"/>
                      <a:pt x="29843" y="0"/>
                    </a:cubicBezTo>
                    <a:lnTo>
                      <a:pt x="3103" y="0"/>
                    </a:lnTo>
                    <a:cubicBezTo>
                      <a:pt x="1394" y="0"/>
                      <a:pt x="0" y="1394"/>
                      <a:pt x="0" y="3103"/>
                    </a:cubicBezTo>
                    <a:lnTo>
                      <a:pt x="0" y="160632"/>
                    </a:lnTo>
                    <a:cubicBezTo>
                      <a:pt x="0" y="162341"/>
                      <a:pt x="1394" y="163735"/>
                      <a:pt x="3103" y="163735"/>
                    </a:cubicBezTo>
                    <a:lnTo>
                      <a:pt x="29843" y="163735"/>
                    </a:lnTo>
                    <a:cubicBezTo>
                      <a:pt x="31552" y="163735"/>
                      <a:pt x="32947" y="162341"/>
                      <a:pt x="32947" y="160632"/>
                    </a:cubicBezTo>
                    <a:lnTo>
                      <a:pt x="32947" y="149025"/>
                    </a:lnTo>
                    <a:cubicBezTo>
                      <a:pt x="40903" y="159839"/>
                      <a:pt x="53535" y="166087"/>
                      <a:pt x="68983" y="166087"/>
                    </a:cubicBezTo>
                    <a:cubicBezTo>
                      <a:pt x="101505" y="166087"/>
                      <a:pt x="123638" y="139852"/>
                      <a:pt x="123638" y="105539"/>
                    </a:cubicBezTo>
                    <a:cubicBezTo>
                      <a:pt x="123638" y="71225"/>
                      <a:pt x="101505" y="44663"/>
                      <a:pt x="68750" y="44663"/>
                    </a:cubicBezTo>
                    <a:close/>
                    <a:moveTo>
                      <a:pt x="62188" y="135163"/>
                    </a:moveTo>
                    <a:cubicBezTo>
                      <a:pt x="45346" y="135163"/>
                      <a:pt x="32947" y="121533"/>
                      <a:pt x="32947" y="105552"/>
                    </a:cubicBezTo>
                    <a:cubicBezTo>
                      <a:pt x="32947" y="89571"/>
                      <a:pt x="45346" y="76174"/>
                      <a:pt x="62188" y="76174"/>
                    </a:cubicBezTo>
                    <a:cubicBezTo>
                      <a:pt x="79031" y="76174"/>
                      <a:pt x="90965" y="89571"/>
                      <a:pt x="90965" y="105552"/>
                    </a:cubicBezTo>
                    <a:cubicBezTo>
                      <a:pt x="90965" y="121533"/>
                      <a:pt x="78798" y="135163"/>
                      <a:pt x="62188" y="13516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2" name="Google Shape;995;g22cb0be31a4_6_52">
                <a:extLst>
                  <a:ext uri="{FF2B5EF4-FFF2-40B4-BE49-F238E27FC236}">
                    <a16:creationId xmlns:a16="http://schemas.microsoft.com/office/drawing/2014/main" id="{6D393623-2CB7-C55C-8D1B-FC6314835DAC}"/>
                  </a:ext>
                </a:extLst>
              </p:cNvPr>
              <p:cNvSpPr/>
              <p:nvPr/>
            </p:nvSpPr>
            <p:spPr>
              <a:xfrm>
                <a:off x="11359421" y="6517136"/>
                <a:ext cx="120412" cy="121437"/>
              </a:xfrm>
              <a:custGeom>
                <a:avLst/>
                <a:gdLst/>
                <a:ahLst/>
                <a:cxnLst/>
                <a:rect l="l" t="t" r="r" b="b"/>
                <a:pathLst>
                  <a:path w="120412" h="121437" extrusionOk="0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3" name="Google Shape;996;g22cb0be31a4_6_52">
                <a:extLst>
                  <a:ext uri="{FF2B5EF4-FFF2-40B4-BE49-F238E27FC236}">
                    <a16:creationId xmlns:a16="http://schemas.microsoft.com/office/drawing/2014/main" id="{094FDF1B-5EB4-048A-72BC-5AD461F6007A}"/>
                  </a:ext>
                </a:extLst>
              </p:cNvPr>
              <p:cNvSpPr/>
              <p:nvPr/>
            </p:nvSpPr>
            <p:spPr>
              <a:xfrm>
                <a:off x="11662542" y="6517136"/>
                <a:ext cx="120412" cy="121437"/>
              </a:xfrm>
              <a:custGeom>
                <a:avLst/>
                <a:gdLst/>
                <a:ahLst/>
                <a:cxnLst/>
                <a:rect l="l" t="t" r="r" b="b"/>
                <a:pathLst>
                  <a:path w="120412" h="121437" extrusionOk="0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4" name="Google Shape;997;g22cb0be31a4_6_52">
                <a:extLst>
                  <a:ext uri="{FF2B5EF4-FFF2-40B4-BE49-F238E27FC236}">
                    <a16:creationId xmlns:a16="http://schemas.microsoft.com/office/drawing/2014/main" id="{C63C090B-3E6D-854E-8428-1FF6A03DBA1B}"/>
                  </a:ext>
                </a:extLst>
              </p:cNvPr>
              <p:cNvSpPr/>
              <p:nvPr/>
            </p:nvSpPr>
            <p:spPr>
              <a:xfrm>
                <a:off x="11122821" y="6519528"/>
                <a:ext cx="32932" cy="116680"/>
              </a:xfrm>
              <a:custGeom>
                <a:avLst/>
                <a:gdLst/>
                <a:ahLst/>
                <a:cxnLst/>
                <a:rect l="l" t="t" r="r" b="b"/>
                <a:pathLst>
                  <a:path w="32932" h="116680" extrusionOk="0">
                    <a:moveTo>
                      <a:pt x="29843" y="116680"/>
                    </a:moveTo>
                    <a:lnTo>
                      <a:pt x="3103" y="116680"/>
                    </a:lnTo>
                    <a:cubicBezTo>
                      <a:pt x="1394" y="116680"/>
                      <a:pt x="0" y="115286"/>
                      <a:pt x="0" y="113577"/>
                    </a:cubicBezTo>
                    <a:lnTo>
                      <a:pt x="0" y="30554"/>
                    </a:lnTo>
                    <a:cubicBezTo>
                      <a:pt x="0" y="28886"/>
                      <a:pt x="670" y="27287"/>
                      <a:pt x="1859" y="26125"/>
                    </a:cubicBezTo>
                    <a:lnTo>
                      <a:pt x="27670" y="888"/>
                    </a:lnTo>
                    <a:cubicBezTo>
                      <a:pt x="29638" y="-1026"/>
                      <a:pt x="32933" y="355"/>
                      <a:pt x="32933" y="3103"/>
                    </a:cubicBezTo>
                    <a:lnTo>
                      <a:pt x="32933" y="113577"/>
                    </a:lnTo>
                    <a:cubicBezTo>
                      <a:pt x="32933" y="115286"/>
                      <a:pt x="31538" y="116680"/>
                      <a:pt x="29830" y="11668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5" name="Google Shape;998;g22cb0be31a4_6_52">
                <a:extLst>
                  <a:ext uri="{FF2B5EF4-FFF2-40B4-BE49-F238E27FC236}">
                    <a16:creationId xmlns:a16="http://schemas.microsoft.com/office/drawing/2014/main" id="{FE6CF04B-B9BD-557A-4F3B-96E527E19D9A}"/>
                  </a:ext>
                </a:extLst>
              </p:cNvPr>
              <p:cNvSpPr/>
              <p:nvPr/>
            </p:nvSpPr>
            <p:spPr>
              <a:xfrm>
                <a:off x="11173074" y="6517105"/>
                <a:ext cx="107493" cy="119116"/>
              </a:xfrm>
              <a:custGeom>
                <a:avLst/>
                <a:gdLst/>
                <a:ahLst/>
                <a:cxnLst/>
                <a:rect l="l" t="t" r="r" b="b"/>
                <a:pathLst>
                  <a:path w="107493" h="119116" extrusionOk="0">
                    <a:moveTo>
                      <a:pt x="107480" y="41877"/>
                    </a:moveTo>
                    <a:cubicBezTo>
                      <a:pt x="107480" y="19252"/>
                      <a:pt x="88792" y="277"/>
                      <a:pt x="65237" y="3"/>
                    </a:cubicBezTo>
                    <a:cubicBezTo>
                      <a:pt x="49912" y="-175"/>
                      <a:pt x="39563" y="7331"/>
                      <a:pt x="32947" y="17474"/>
                    </a:cubicBezTo>
                    <a:lnTo>
                      <a:pt x="32947" y="5581"/>
                    </a:lnTo>
                    <a:cubicBezTo>
                      <a:pt x="32947" y="3872"/>
                      <a:pt x="31552" y="2478"/>
                      <a:pt x="29843" y="2478"/>
                    </a:cubicBezTo>
                    <a:lnTo>
                      <a:pt x="3103" y="2478"/>
                    </a:lnTo>
                    <a:cubicBezTo>
                      <a:pt x="1394" y="2478"/>
                      <a:pt x="0" y="3872"/>
                      <a:pt x="0" y="5581"/>
                    </a:cubicBezTo>
                    <a:lnTo>
                      <a:pt x="0" y="116000"/>
                    </a:lnTo>
                    <a:cubicBezTo>
                      <a:pt x="0" y="117709"/>
                      <a:pt x="1394" y="119103"/>
                      <a:pt x="3103" y="119103"/>
                    </a:cubicBezTo>
                    <a:lnTo>
                      <a:pt x="29843" y="119103"/>
                    </a:lnTo>
                    <a:cubicBezTo>
                      <a:pt x="31552" y="119103"/>
                      <a:pt x="32947" y="117709"/>
                      <a:pt x="32947" y="116000"/>
                    </a:cubicBezTo>
                    <a:lnTo>
                      <a:pt x="32947" y="51788"/>
                    </a:lnTo>
                    <a:cubicBezTo>
                      <a:pt x="33685" y="39430"/>
                      <a:pt x="41518" y="31747"/>
                      <a:pt x="53740" y="31747"/>
                    </a:cubicBezTo>
                    <a:cubicBezTo>
                      <a:pt x="65961" y="31747"/>
                      <a:pt x="74547" y="40373"/>
                      <a:pt x="74547" y="53210"/>
                    </a:cubicBezTo>
                    <a:lnTo>
                      <a:pt x="74547" y="116014"/>
                    </a:lnTo>
                    <a:cubicBezTo>
                      <a:pt x="74547" y="117722"/>
                      <a:pt x="75941" y="119117"/>
                      <a:pt x="77650" y="119117"/>
                    </a:cubicBezTo>
                    <a:lnTo>
                      <a:pt x="104390" y="119117"/>
                    </a:lnTo>
                    <a:cubicBezTo>
                      <a:pt x="106099" y="119117"/>
                      <a:pt x="107493" y="117722"/>
                      <a:pt x="107493" y="116014"/>
                    </a:cubicBezTo>
                    <a:lnTo>
                      <a:pt x="107493" y="4189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24556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ocation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E49E9275-3876-5AF0-F0E3-B1A4C96E4A3F}"/>
              </a:ext>
            </a:extLst>
          </p:cNvPr>
          <p:cNvGrpSpPr/>
          <p:nvPr userDrawn="1"/>
        </p:nvGrpSpPr>
        <p:grpSpPr>
          <a:xfrm>
            <a:off x="11122821" y="6472473"/>
            <a:ext cx="799629" cy="166100"/>
            <a:chOff x="11122821" y="6472473"/>
            <a:chExt cx="799629" cy="166100"/>
          </a:xfrm>
        </p:grpSpPr>
        <p:sp>
          <p:nvSpPr>
            <p:cNvPr id="4" name="Google Shape;988;g22cb0be31a4_6_52">
              <a:extLst>
                <a:ext uri="{FF2B5EF4-FFF2-40B4-BE49-F238E27FC236}">
                  <a16:creationId xmlns:a16="http://schemas.microsoft.com/office/drawing/2014/main" id="{FF743E8D-3F77-F5FF-7136-A272B353A9F9}"/>
                </a:ext>
              </a:extLst>
            </p:cNvPr>
            <p:cNvSpPr/>
            <p:nvPr/>
          </p:nvSpPr>
          <p:spPr>
            <a:xfrm rot="18900000">
              <a:off x="11134957" y="6473485"/>
              <a:ext cx="35147" cy="35147"/>
            </a:xfrm>
            <a:custGeom>
              <a:avLst/>
              <a:gdLst/>
              <a:ahLst/>
              <a:cxnLst/>
              <a:rect l="l" t="t" r="r" b="b"/>
              <a:pathLst>
                <a:path w="35147" h="35147" extrusionOk="0">
                  <a:moveTo>
                    <a:pt x="32044" y="0"/>
                  </a:moveTo>
                  <a:cubicBezTo>
                    <a:pt x="33758" y="0"/>
                    <a:pt x="35148" y="1389"/>
                    <a:pt x="35148" y="3103"/>
                  </a:cubicBezTo>
                  <a:lnTo>
                    <a:pt x="35148" y="32044"/>
                  </a:lnTo>
                  <a:cubicBezTo>
                    <a:pt x="35148" y="33758"/>
                    <a:pt x="33758" y="35148"/>
                    <a:pt x="32044" y="35148"/>
                  </a:cubicBezTo>
                  <a:lnTo>
                    <a:pt x="3103" y="35148"/>
                  </a:lnTo>
                  <a:cubicBezTo>
                    <a:pt x="1389" y="35148"/>
                    <a:pt x="0" y="33758"/>
                    <a:pt x="0" y="32044"/>
                  </a:cubicBezTo>
                  <a:lnTo>
                    <a:pt x="0" y="3103"/>
                  </a:lnTo>
                  <a:cubicBezTo>
                    <a:pt x="0" y="1389"/>
                    <a:pt x="1389" y="0"/>
                    <a:pt x="3103" y="0"/>
                  </a:cubicBezTo>
                  <a:close/>
                </a:path>
              </a:pathLst>
            </a:custGeom>
            <a:solidFill>
              <a:srgbClr val="00B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Lato Light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Calibri"/>
              </a:endParaRPr>
            </a:p>
          </p:txBody>
        </p:sp>
        <p:grpSp>
          <p:nvGrpSpPr>
            <p:cNvPr id="5" name="Google Shape;989;g22cb0be31a4_6_52">
              <a:extLst>
                <a:ext uri="{FF2B5EF4-FFF2-40B4-BE49-F238E27FC236}">
                  <a16:creationId xmlns:a16="http://schemas.microsoft.com/office/drawing/2014/main" id="{EB7A8E9E-4430-09ED-8C08-B96351E5F6A9}"/>
                </a:ext>
              </a:extLst>
            </p:cNvPr>
            <p:cNvGrpSpPr/>
            <p:nvPr/>
          </p:nvGrpSpPr>
          <p:grpSpPr>
            <a:xfrm>
              <a:off x="11122821" y="6472473"/>
              <a:ext cx="799629" cy="166100"/>
              <a:chOff x="11122821" y="6472473"/>
              <a:chExt cx="799629" cy="166100"/>
            </a:xfrm>
          </p:grpSpPr>
          <p:sp>
            <p:nvSpPr>
              <p:cNvPr id="6" name="Google Shape;990;g22cb0be31a4_6_52">
                <a:extLst>
                  <a:ext uri="{FF2B5EF4-FFF2-40B4-BE49-F238E27FC236}">
                    <a16:creationId xmlns:a16="http://schemas.microsoft.com/office/drawing/2014/main" id="{D5A6FFAD-6A53-DC71-2BB1-2470203D6B98}"/>
                  </a:ext>
                </a:extLst>
              </p:cNvPr>
              <p:cNvSpPr/>
              <p:nvPr/>
            </p:nvSpPr>
            <p:spPr>
              <a:xfrm>
                <a:off x="11774281" y="6519597"/>
                <a:ext cx="119385" cy="116611"/>
              </a:xfrm>
              <a:custGeom>
                <a:avLst/>
                <a:gdLst/>
                <a:ahLst/>
                <a:cxnLst/>
                <a:rect l="l" t="t" r="r" b="b"/>
                <a:pathLst>
                  <a:path w="119385" h="116611" extrusionOk="0">
                    <a:moveTo>
                      <a:pt x="82523" y="58306"/>
                    </a:moveTo>
                    <a:lnTo>
                      <a:pt x="118887" y="112265"/>
                    </a:lnTo>
                    <a:cubicBezTo>
                      <a:pt x="120199" y="114124"/>
                      <a:pt x="118764" y="116612"/>
                      <a:pt x="116385" y="116612"/>
                    </a:cubicBezTo>
                    <a:lnTo>
                      <a:pt x="85831" y="116612"/>
                    </a:lnTo>
                    <a:cubicBezTo>
                      <a:pt x="83794" y="116612"/>
                      <a:pt x="81880" y="115600"/>
                      <a:pt x="80718" y="113919"/>
                    </a:cubicBezTo>
                    <a:lnTo>
                      <a:pt x="59693" y="81751"/>
                    </a:lnTo>
                    <a:lnTo>
                      <a:pt x="38667" y="113919"/>
                    </a:lnTo>
                    <a:cubicBezTo>
                      <a:pt x="37505" y="115600"/>
                      <a:pt x="35605" y="116612"/>
                      <a:pt x="33554" y="116612"/>
                    </a:cubicBezTo>
                    <a:lnTo>
                      <a:pt x="3000" y="116612"/>
                    </a:lnTo>
                    <a:cubicBezTo>
                      <a:pt x="621" y="116612"/>
                      <a:pt x="-814" y="114138"/>
                      <a:pt x="498" y="112265"/>
                    </a:cubicBezTo>
                    <a:lnTo>
                      <a:pt x="36753" y="58306"/>
                    </a:lnTo>
                    <a:lnTo>
                      <a:pt x="498" y="4347"/>
                    </a:lnTo>
                    <a:cubicBezTo>
                      <a:pt x="-814" y="2488"/>
                      <a:pt x="621" y="0"/>
                      <a:pt x="3000" y="0"/>
                    </a:cubicBezTo>
                    <a:lnTo>
                      <a:pt x="34853" y="0"/>
                    </a:lnTo>
                    <a:cubicBezTo>
                      <a:pt x="36042" y="0"/>
                      <a:pt x="37149" y="547"/>
                      <a:pt x="37778" y="1449"/>
                    </a:cubicBezTo>
                    <a:lnTo>
                      <a:pt x="59679" y="34806"/>
                    </a:lnTo>
                    <a:lnTo>
                      <a:pt x="80240" y="1463"/>
                    </a:lnTo>
                    <a:cubicBezTo>
                      <a:pt x="80855" y="561"/>
                      <a:pt x="81976" y="0"/>
                      <a:pt x="83165" y="0"/>
                    </a:cubicBezTo>
                    <a:lnTo>
                      <a:pt x="115333" y="0"/>
                    </a:lnTo>
                    <a:cubicBezTo>
                      <a:pt x="117711" y="0"/>
                      <a:pt x="119133" y="2474"/>
                      <a:pt x="117834" y="4334"/>
                    </a:cubicBezTo>
                    <a:lnTo>
                      <a:pt x="82495" y="58306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7" name="Google Shape;991;g22cb0be31a4_6_52">
                <a:extLst>
                  <a:ext uri="{FF2B5EF4-FFF2-40B4-BE49-F238E27FC236}">
                    <a16:creationId xmlns:a16="http://schemas.microsoft.com/office/drawing/2014/main" id="{8F3D4229-F579-5EFF-7218-3D7063A51566}"/>
                  </a:ext>
                </a:extLst>
              </p:cNvPr>
              <p:cNvSpPr/>
              <p:nvPr/>
            </p:nvSpPr>
            <p:spPr>
              <a:xfrm>
                <a:off x="11284928" y="6472473"/>
                <a:ext cx="78825" cy="163762"/>
              </a:xfrm>
              <a:custGeom>
                <a:avLst/>
                <a:gdLst/>
                <a:ahLst/>
                <a:cxnLst/>
                <a:rect l="l" t="t" r="r" b="b"/>
                <a:pathLst>
                  <a:path w="78825" h="163762" extrusionOk="0">
                    <a:moveTo>
                      <a:pt x="75722" y="14"/>
                    </a:moveTo>
                    <a:lnTo>
                      <a:pt x="50377" y="14"/>
                    </a:lnTo>
                    <a:cubicBezTo>
                      <a:pt x="47916" y="14"/>
                      <a:pt x="45551" y="998"/>
                      <a:pt x="43801" y="2734"/>
                    </a:cubicBezTo>
                    <a:lnTo>
                      <a:pt x="19987" y="26549"/>
                    </a:lnTo>
                    <a:cubicBezTo>
                      <a:pt x="18237" y="28299"/>
                      <a:pt x="17266" y="30664"/>
                      <a:pt x="17266" y="33124"/>
                    </a:cubicBezTo>
                    <a:lnTo>
                      <a:pt x="17266" y="51867"/>
                    </a:lnTo>
                    <a:lnTo>
                      <a:pt x="3049" y="51867"/>
                    </a:lnTo>
                    <a:cubicBezTo>
                      <a:pt x="1367" y="51867"/>
                      <a:pt x="0" y="53234"/>
                      <a:pt x="0" y="54916"/>
                    </a:cubicBezTo>
                    <a:lnTo>
                      <a:pt x="0" y="75955"/>
                    </a:lnTo>
                    <a:cubicBezTo>
                      <a:pt x="0" y="77636"/>
                      <a:pt x="1367" y="79004"/>
                      <a:pt x="3049" y="79004"/>
                    </a:cubicBezTo>
                    <a:lnTo>
                      <a:pt x="17266" y="79004"/>
                    </a:lnTo>
                    <a:lnTo>
                      <a:pt x="17266" y="160659"/>
                    </a:lnTo>
                    <a:cubicBezTo>
                      <a:pt x="17266" y="162368"/>
                      <a:pt x="18661" y="163763"/>
                      <a:pt x="20369" y="163763"/>
                    </a:cubicBezTo>
                    <a:lnTo>
                      <a:pt x="47109" y="163763"/>
                    </a:lnTo>
                    <a:cubicBezTo>
                      <a:pt x="48818" y="163763"/>
                      <a:pt x="50213" y="162368"/>
                      <a:pt x="50213" y="160659"/>
                    </a:cubicBezTo>
                    <a:lnTo>
                      <a:pt x="50213" y="78990"/>
                    </a:lnTo>
                    <a:lnTo>
                      <a:pt x="71443" y="78990"/>
                    </a:lnTo>
                    <a:cubicBezTo>
                      <a:pt x="73125" y="78990"/>
                      <a:pt x="74492" y="77623"/>
                      <a:pt x="74492" y="75941"/>
                    </a:cubicBezTo>
                    <a:lnTo>
                      <a:pt x="74492" y="54902"/>
                    </a:lnTo>
                    <a:cubicBezTo>
                      <a:pt x="74492" y="53220"/>
                      <a:pt x="73125" y="51853"/>
                      <a:pt x="71443" y="51853"/>
                    </a:cubicBezTo>
                    <a:lnTo>
                      <a:pt x="50213" y="51853"/>
                    </a:lnTo>
                    <a:lnTo>
                      <a:pt x="50213" y="38565"/>
                    </a:lnTo>
                    <a:cubicBezTo>
                      <a:pt x="50213" y="33425"/>
                      <a:pt x="54382" y="29269"/>
                      <a:pt x="59509" y="29269"/>
                    </a:cubicBezTo>
                    <a:lnTo>
                      <a:pt x="75722" y="29269"/>
                    </a:lnTo>
                    <a:cubicBezTo>
                      <a:pt x="77431" y="29269"/>
                      <a:pt x="78826" y="27875"/>
                      <a:pt x="78826" y="26166"/>
                    </a:cubicBezTo>
                    <a:lnTo>
                      <a:pt x="78826" y="3103"/>
                    </a:lnTo>
                    <a:cubicBezTo>
                      <a:pt x="78826" y="1394"/>
                      <a:pt x="77431" y="0"/>
                      <a:pt x="75722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8" name="Google Shape;992;g22cb0be31a4_6_52">
                <a:extLst>
                  <a:ext uri="{FF2B5EF4-FFF2-40B4-BE49-F238E27FC236}">
                    <a16:creationId xmlns:a16="http://schemas.microsoft.com/office/drawing/2014/main" id="{69FCC6C4-8B72-13D0-7777-F722CCB936E7}"/>
                  </a:ext>
                </a:extLst>
              </p:cNvPr>
              <p:cNvSpPr/>
              <p:nvPr/>
            </p:nvSpPr>
            <p:spPr>
              <a:xfrm>
                <a:off x="11896791" y="6612367"/>
                <a:ext cx="25659" cy="25660"/>
              </a:xfrm>
              <a:custGeom>
                <a:avLst/>
                <a:gdLst/>
                <a:ahLst/>
                <a:cxnLst/>
                <a:rect l="l" t="t" r="r" b="b"/>
                <a:pathLst>
                  <a:path w="25659" h="25660" extrusionOk="0">
                    <a:moveTo>
                      <a:pt x="25660" y="12810"/>
                    </a:moveTo>
                    <a:cubicBezTo>
                      <a:pt x="25660" y="19946"/>
                      <a:pt x="19946" y="25660"/>
                      <a:pt x="12782" y="25660"/>
                    </a:cubicBezTo>
                    <a:cubicBezTo>
                      <a:pt x="5619" y="25660"/>
                      <a:pt x="0" y="19891"/>
                      <a:pt x="0" y="12810"/>
                    </a:cubicBezTo>
                    <a:cubicBezTo>
                      <a:pt x="0" y="5728"/>
                      <a:pt x="5714" y="0"/>
                      <a:pt x="12823" y="0"/>
                    </a:cubicBezTo>
                    <a:cubicBezTo>
                      <a:pt x="19932" y="0"/>
                      <a:pt x="25646" y="5687"/>
                      <a:pt x="25646" y="12810"/>
                    </a:cubicBezTo>
                    <a:close/>
                    <a:moveTo>
                      <a:pt x="23691" y="12864"/>
                    </a:moveTo>
                    <a:cubicBezTo>
                      <a:pt x="23691" y="6712"/>
                      <a:pt x="18838" y="1832"/>
                      <a:pt x="12837" y="1832"/>
                    </a:cubicBezTo>
                    <a:cubicBezTo>
                      <a:pt x="6835" y="1832"/>
                      <a:pt x="1982" y="6658"/>
                      <a:pt x="1982" y="12851"/>
                    </a:cubicBezTo>
                    <a:cubicBezTo>
                      <a:pt x="1982" y="19043"/>
                      <a:pt x="6890" y="23856"/>
                      <a:pt x="12782" y="23856"/>
                    </a:cubicBezTo>
                    <a:cubicBezTo>
                      <a:pt x="18674" y="23856"/>
                      <a:pt x="23691" y="19002"/>
                      <a:pt x="23691" y="12864"/>
                    </a:cubicBezTo>
                    <a:close/>
                    <a:moveTo>
                      <a:pt x="15585" y="14888"/>
                    </a:moveTo>
                    <a:lnTo>
                      <a:pt x="18811" y="19905"/>
                    </a:lnTo>
                    <a:lnTo>
                      <a:pt x="16678" y="19905"/>
                    </a:lnTo>
                    <a:lnTo>
                      <a:pt x="13097" y="14218"/>
                    </a:lnTo>
                    <a:lnTo>
                      <a:pt x="9829" y="14218"/>
                    </a:lnTo>
                    <a:lnTo>
                      <a:pt x="9829" y="19905"/>
                    </a:lnTo>
                    <a:lnTo>
                      <a:pt x="8038" y="19905"/>
                    </a:lnTo>
                    <a:lnTo>
                      <a:pt x="8038" y="5523"/>
                    </a:lnTo>
                    <a:lnTo>
                      <a:pt x="13616" y="5523"/>
                    </a:lnTo>
                    <a:cubicBezTo>
                      <a:pt x="16364" y="5523"/>
                      <a:pt x="18155" y="6999"/>
                      <a:pt x="18155" y="9761"/>
                    </a:cubicBezTo>
                    <a:cubicBezTo>
                      <a:pt x="18155" y="11989"/>
                      <a:pt x="16801" y="13370"/>
                      <a:pt x="14887" y="13917"/>
                    </a:cubicBezTo>
                    <a:cubicBezTo>
                      <a:pt x="15147" y="14204"/>
                      <a:pt x="15407" y="14559"/>
                      <a:pt x="15585" y="14901"/>
                    </a:cubicBezTo>
                    <a:close/>
                    <a:moveTo>
                      <a:pt x="13015" y="12522"/>
                    </a:moveTo>
                    <a:cubicBezTo>
                      <a:pt x="15038" y="12522"/>
                      <a:pt x="16282" y="11565"/>
                      <a:pt x="16282" y="9870"/>
                    </a:cubicBezTo>
                    <a:cubicBezTo>
                      <a:pt x="16282" y="8175"/>
                      <a:pt x="15421" y="7191"/>
                      <a:pt x="13657" y="7191"/>
                    </a:cubicBezTo>
                    <a:lnTo>
                      <a:pt x="9816" y="7191"/>
                    </a:lnTo>
                    <a:lnTo>
                      <a:pt x="9816" y="12509"/>
                    </a:lnTo>
                    <a:lnTo>
                      <a:pt x="13015" y="12509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9" name="Google Shape;993;g22cb0be31a4_6_52">
                <a:extLst>
                  <a:ext uri="{FF2B5EF4-FFF2-40B4-BE49-F238E27FC236}">
                    <a16:creationId xmlns:a16="http://schemas.microsoft.com/office/drawing/2014/main" id="{951F289E-7F3B-DA71-C2F2-5FBCAA842B72}"/>
                  </a:ext>
                </a:extLst>
              </p:cNvPr>
              <p:cNvSpPr/>
              <p:nvPr/>
            </p:nvSpPr>
            <p:spPr>
              <a:xfrm>
                <a:off x="11620956" y="6472487"/>
                <a:ext cx="32932" cy="163721"/>
              </a:xfrm>
              <a:custGeom>
                <a:avLst/>
                <a:gdLst/>
                <a:ahLst/>
                <a:cxnLst/>
                <a:rect l="l" t="t" r="r" b="b"/>
                <a:pathLst>
                  <a:path w="32932" h="163721" extrusionOk="0">
                    <a:moveTo>
                      <a:pt x="29830" y="0"/>
                    </a:moveTo>
                    <a:cubicBezTo>
                      <a:pt x="31544" y="0"/>
                      <a:pt x="32933" y="1389"/>
                      <a:pt x="32933" y="3103"/>
                    </a:cubicBezTo>
                    <a:lnTo>
                      <a:pt x="32933" y="160618"/>
                    </a:lnTo>
                    <a:cubicBezTo>
                      <a:pt x="32933" y="162332"/>
                      <a:pt x="31543" y="163722"/>
                      <a:pt x="29830" y="163722"/>
                    </a:cubicBezTo>
                    <a:lnTo>
                      <a:pt x="3103" y="163722"/>
                    </a:lnTo>
                    <a:cubicBezTo>
                      <a:pt x="1389" y="163722"/>
                      <a:pt x="0" y="162332"/>
                      <a:pt x="0" y="160618"/>
                    </a:cubicBezTo>
                    <a:lnTo>
                      <a:pt x="0" y="3103"/>
                    </a:lnTo>
                    <a:cubicBezTo>
                      <a:pt x="0" y="1389"/>
                      <a:pt x="1389" y="0"/>
                      <a:pt x="3103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0" name="Google Shape;994;g22cb0be31a4_6_52">
                <a:extLst>
                  <a:ext uri="{FF2B5EF4-FFF2-40B4-BE49-F238E27FC236}">
                    <a16:creationId xmlns:a16="http://schemas.microsoft.com/office/drawing/2014/main" id="{9523977A-8C95-D6ED-A770-29C66C71784C}"/>
                  </a:ext>
                </a:extLst>
              </p:cNvPr>
              <p:cNvSpPr/>
              <p:nvPr/>
            </p:nvSpPr>
            <p:spPr>
              <a:xfrm>
                <a:off x="11488486" y="6472473"/>
                <a:ext cx="123638" cy="166086"/>
              </a:xfrm>
              <a:custGeom>
                <a:avLst/>
                <a:gdLst/>
                <a:ahLst/>
                <a:cxnLst/>
                <a:rect l="l" t="t" r="r" b="b"/>
                <a:pathLst>
                  <a:path w="123638" h="166086" extrusionOk="0">
                    <a:moveTo>
                      <a:pt x="68737" y="44663"/>
                    </a:moveTo>
                    <a:cubicBezTo>
                      <a:pt x="53535" y="44663"/>
                      <a:pt x="40889" y="51252"/>
                      <a:pt x="32947" y="62052"/>
                    </a:cubicBezTo>
                    <a:lnTo>
                      <a:pt x="32947" y="3103"/>
                    </a:lnTo>
                    <a:cubicBezTo>
                      <a:pt x="32947" y="1394"/>
                      <a:pt x="31552" y="0"/>
                      <a:pt x="29843" y="0"/>
                    </a:cubicBezTo>
                    <a:lnTo>
                      <a:pt x="3103" y="0"/>
                    </a:lnTo>
                    <a:cubicBezTo>
                      <a:pt x="1394" y="0"/>
                      <a:pt x="0" y="1394"/>
                      <a:pt x="0" y="3103"/>
                    </a:cubicBezTo>
                    <a:lnTo>
                      <a:pt x="0" y="160632"/>
                    </a:lnTo>
                    <a:cubicBezTo>
                      <a:pt x="0" y="162341"/>
                      <a:pt x="1394" y="163735"/>
                      <a:pt x="3103" y="163735"/>
                    </a:cubicBezTo>
                    <a:lnTo>
                      <a:pt x="29843" y="163735"/>
                    </a:lnTo>
                    <a:cubicBezTo>
                      <a:pt x="31552" y="163735"/>
                      <a:pt x="32947" y="162341"/>
                      <a:pt x="32947" y="160632"/>
                    </a:cubicBezTo>
                    <a:lnTo>
                      <a:pt x="32947" y="149025"/>
                    </a:lnTo>
                    <a:cubicBezTo>
                      <a:pt x="40903" y="159839"/>
                      <a:pt x="53535" y="166087"/>
                      <a:pt x="68983" y="166087"/>
                    </a:cubicBezTo>
                    <a:cubicBezTo>
                      <a:pt x="101505" y="166087"/>
                      <a:pt x="123638" y="139852"/>
                      <a:pt x="123638" y="105539"/>
                    </a:cubicBezTo>
                    <a:cubicBezTo>
                      <a:pt x="123638" y="71225"/>
                      <a:pt x="101505" y="44663"/>
                      <a:pt x="68750" y="44663"/>
                    </a:cubicBezTo>
                    <a:close/>
                    <a:moveTo>
                      <a:pt x="62188" y="135163"/>
                    </a:moveTo>
                    <a:cubicBezTo>
                      <a:pt x="45346" y="135163"/>
                      <a:pt x="32947" y="121533"/>
                      <a:pt x="32947" y="105552"/>
                    </a:cubicBezTo>
                    <a:cubicBezTo>
                      <a:pt x="32947" y="89571"/>
                      <a:pt x="45346" y="76174"/>
                      <a:pt x="62188" y="76174"/>
                    </a:cubicBezTo>
                    <a:cubicBezTo>
                      <a:pt x="79031" y="76174"/>
                      <a:pt x="90965" y="89571"/>
                      <a:pt x="90965" y="105552"/>
                    </a:cubicBezTo>
                    <a:cubicBezTo>
                      <a:pt x="90965" y="121533"/>
                      <a:pt x="78798" y="135163"/>
                      <a:pt x="62188" y="135163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1" name="Google Shape;995;g22cb0be31a4_6_52">
                <a:extLst>
                  <a:ext uri="{FF2B5EF4-FFF2-40B4-BE49-F238E27FC236}">
                    <a16:creationId xmlns:a16="http://schemas.microsoft.com/office/drawing/2014/main" id="{E5394D26-975E-ECCD-088D-567DFA1BF954}"/>
                  </a:ext>
                </a:extLst>
              </p:cNvPr>
              <p:cNvSpPr/>
              <p:nvPr/>
            </p:nvSpPr>
            <p:spPr>
              <a:xfrm>
                <a:off x="11359421" y="6517136"/>
                <a:ext cx="120412" cy="121437"/>
              </a:xfrm>
              <a:custGeom>
                <a:avLst/>
                <a:gdLst/>
                <a:ahLst/>
                <a:cxnLst/>
                <a:rect l="l" t="t" r="r" b="b"/>
                <a:pathLst>
                  <a:path w="120412" h="121437" extrusionOk="0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2" name="Google Shape;996;g22cb0be31a4_6_52">
                <a:extLst>
                  <a:ext uri="{FF2B5EF4-FFF2-40B4-BE49-F238E27FC236}">
                    <a16:creationId xmlns:a16="http://schemas.microsoft.com/office/drawing/2014/main" id="{7E15358F-7B15-AC50-FA4F-76A94283986A}"/>
                  </a:ext>
                </a:extLst>
              </p:cNvPr>
              <p:cNvSpPr/>
              <p:nvPr/>
            </p:nvSpPr>
            <p:spPr>
              <a:xfrm>
                <a:off x="11662542" y="6517136"/>
                <a:ext cx="120412" cy="121437"/>
              </a:xfrm>
              <a:custGeom>
                <a:avLst/>
                <a:gdLst/>
                <a:ahLst/>
                <a:cxnLst/>
                <a:rect l="l" t="t" r="r" b="b"/>
                <a:pathLst>
                  <a:path w="120412" h="121437" extrusionOk="0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3" name="Google Shape;997;g22cb0be31a4_6_52">
                <a:extLst>
                  <a:ext uri="{FF2B5EF4-FFF2-40B4-BE49-F238E27FC236}">
                    <a16:creationId xmlns:a16="http://schemas.microsoft.com/office/drawing/2014/main" id="{675E5FFB-96F7-974D-1746-61EAFA1FC38B}"/>
                  </a:ext>
                </a:extLst>
              </p:cNvPr>
              <p:cNvSpPr/>
              <p:nvPr/>
            </p:nvSpPr>
            <p:spPr>
              <a:xfrm>
                <a:off x="11122821" y="6519528"/>
                <a:ext cx="32932" cy="116680"/>
              </a:xfrm>
              <a:custGeom>
                <a:avLst/>
                <a:gdLst/>
                <a:ahLst/>
                <a:cxnLst/>
                <a:rect l="l" t="t" r="r" b="b"/>
                <a:pathLst>
                  <a:path w="32932" h="116680" extrusionOk="0">
                    <a:moveTo>
                      <a:pt x="29843" y="116680"/>
                    </a:moveTo>
                    <a:lnTo>
                      <a:pt x="3103" y="116680"/>
                    </a:lnTo>
                    <a:cubicBezTo>
                      <a:pt x="1394" y="116680"/>
                      <a:pt x="0" y="115286"/>
                      <a:pt x="0" y="113577"/>
                    </a:cubicBezTo>
                    <a:lnTo>
                      <a:pt x="0" y="30554"/>
                    </a:lnTo>
                    <a:cubicBezTo>
                      <a:pt x="0" y="28886"/>
                      <a:pt x="670" y="27287"/>
                      <a:pt x="1859" y="26125"/>
                    </a:cubicBezTo>
                    <a:lnTo>
                      <a:pt x="27670" y="888"/>
                    </a:lnTo>
                    <a:cubicBezTo>
                      <a:pt x="29638" y="-1026"/>
                      <a:pt x="32933" y="355"/>
                      <a:pt x="32933" y="3103"/>
                    </a:cubicBezTo>
                    <a:lnTo>
                      <a:pt x="32933" y="113577"/>
                    </a:lnTo>
                    <a:cubicBezTo>
                      <a:pt x="32933" y="115286"/>
                      <a:pt x="31538" y="116680"/>
                      <a:pt x="29830" y="11668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4" name="Google Shape;998;g22cb0be31a4_6_52">
                <a:extLst>
                  <a:ext uri="{FF2B5EF4-FFF2-40B4-BE49-F238E27FC236}">
                    <a16:creationId xmlns:a16="http://schemas.microsoft.com/office/drawing/2014/main" id="{B349C4B3-4F9D-1A46-B43A-650BF6213F6F}"/>
                  </a:ext>
                </a:extLst>
              </p:cNvPr>
              <p:cNvSpPr/>
              <p:nvPr/>
            </p:nvSpPr>
            <p:spPr>
              <a:xfrm>
                <a:off x="11173074" y="6517105"/>
                <a:ext cx="107493" cy="119116"/>
              </a:xfrm>
              <a:custGeom>
                <a:avLst/>
                <a:gdLst/>
                <a:ahLst/>
                <a:cxnLst/>
                <a:rect l="l" t="t" r="r" b="b"/>
                <a:pathLst>
                  <a:path w="107493" h="119116" extrusionOk="0">
                    <a:moveTo>
                      <a:pt x="107480" y="41877"/>
                    </a:moveTo>
                    <a:cubicBezTo>
                      <a:pt x="107480" y="19252"/>
                      <a:pt x="88792" y="277"/>
                      <a:pt x="65237" y="3"/>
                    </a:cubicBezTo>
                    <a:cubicBezTo>
                      <a:pt x="49912" y="-175"/>
                      <a:pt x="39563" y="7331"/>
                      <a:pt x="32947" y="17474"/>
                    </a:cubicBezTo>
                    <a:lnTo>
                      <a:pt x="32947" y="5581"/>
                    </a:lnTo>
                    <a:cubicBezTo>
                      <a:pt x="32947" y="3872"/>
                      <a:pt x="31552" y="2478"/>
                      <a:pt x="29843" y="2478"/>
                    </a:cubicBezTo>
                    <a:lnTo>
                      <a:pt x="3103" y="2478"/>
                    </a:lnTo>
                    <a:cubicBezTo>
                      <a:pt x="1394" y="2478"/>
                      <a:pt x="0" y="3872"/>
                      <a:pt x="0" y="5581"/>
                    </a:cubicBezTo>
                    <a:lnTo>
                      <a:pt x="0" y="116000"/>
                    </a:lnTo>
                    <a:cubicBezTo>
                      <a:pt x="0" y="117709"/>
                      <a:pt x="1394" y="119103"/>
                      <a:pt x="3103" y="119103"/>
                    </a:cubicBezTo>
                    <a:lnTo>
                      <a:pt x="29843" y="119103"/>
                    </a:lnTo>
                    <a:cubicBezTo>
                      <a:pt x="31552" y="119103"/>
                      <a:pt x="32947" y="117709"/>
                      <a:pt x="32947" y="116000"/>
                    </a:cubicBezTo>
                    <a:lnTo>
                      <a:pt x="32947" y="51788"/>
                    </a:lnTo>
                    <a:cubicBezTo>
                      <a:pt x="33685" y="39430"/>
                      <a:pt x="41518" y="31747"/>
                      <a:pt x="53740" y="31747"/>
                    </a:cubicBezTo>
                    <a:cubicBezTo>
                      <a:pt x="65961" y="31747"/>
                      <a:pt x="74547" y="40373"/>
                      <a:pt x="74547" y="53210"/>
                    </a:cubicBezTo>
                    <a:lnTo>
                      <a:pt x="74547" y="116014"/>
                    </a:lnTo>
                    <a:cubicBezTo>
                      <a:pt x="74547" y="117722"/>
                      <a:pt x="75941" y="119117"/>
                      <a:pt x="77650" y="119117"/>
                    </a:cubicBezTo>
                    <a:lnTo>
                      <a:pt x="104390" y="119117"/>
                    </a:lnTo>
                    <a:cubicBezTo>
                      <a:pt x="106099" y="119117"/>
                      <a:pt x="107493" y="117722"/>
                      <a:pt x="107493" y="116014"/>
                    </a:cubicBezTo>
                    <a:lnTo>
                      <a:pt x="107493" y="4189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971673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">
  <p:cSld name="Thank You"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126"/>
          <p:cNvSpPr txBox="1">
            <a:spLocks noGrp="1"/>
          </p:cNvSpPr>
          <p:nvPr>
            <p:ph type="title"/>
          </p:nvPr>
        </p:nvSpPr>
        <p:spPr>
          <a:xfrm>
            <a:off x="6814751" y="3007519"/>
            <a:ext cx="47625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400"/>
              <a:buFont typeface="Lato"/>
              <a:buNone/>
              <a:defRPr sz="3400" b="1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2" name="Google Shape;192;p126"/>
          <p:cNvSpPr/>
          <p:nvPr/>
        </p:nvSpPr>
        <p:spPr>
          <a:xfrm>
            <a:off x="0" y="0"/>
            <a:ext cx="6495902" cy="5124983"/>
          </a:xfrm>
          <a:custGeom>
            <a:avLst/>
            <a:gdLst/>
            <a:ahLst/>
            <a:cxnLst/>
            <a:rect l="l" t="t" r="r" b="b"/>
            <a:pathLst>
              <a:path w="7488464" h="5908071" extrusionOk="0">
                <a:moveTo>
                  <a:pt x="3199011" y="1820949"/>
                </a:moveTo>
                <a:cubicBezTo>
                  <a:pt x="3266957" y="1820949"/>
                  <a:pt x="3334904" y="1846866"/>
                  <a:pt x="3386737" y="1898699"/>
                </a:cubicBezTo>
                <a:lnTo>
                  <a:pt x="5164823" y="3676785"/>
                </a:lnTo>
                <a:cubicBezTo>
                  <a:pt x="5268489" y="3780450"/>
                  <a:pt x="5268489" y="3948570"/>
                  <a:pt x="5164823" y="4052237"/>
                </a:cubicBezTo>
                <a:lnTo>
                  <a:pt x="3386737" y="5830322"/>
                </a:lnTo>
                <a:cubicBezTo>
                  <a:pt x="3283071" y="5933988"/>
                  <a:pt x="3114951" y="5933988"/>
                  <a:pt x="3011286" y="5830322"/>
                </a:cubicBezTo>
                <a:lnTo>
                  <a:pt x="1233199" y="4052237"/>
                </a:lnTo>
                <a:cubicBezTo>
                  <a:pt x="1181366" y="4000404"/>
                  <a:pt x="1155450" y="3932457"/>
                  <a:pt x="1155450" y="3864511"/>
                </a:cubicBezTo>
                <a:cubicBezTo>
                  <a:pt x="1155450" y="3796564"/>
                  <a:pt x="1181366" y="3728618"/>
                  <a:pt x="1233199" y="3676785"/>
                </a:cubicBezTo>
                <a:lnTo>
                  <a:pt x="3011286" y="1898699"/>
                </a:lnTo>
                <a:cubicBezTo>
                  <a:pt x="3063118" y="1846866"/>
                  <a:pt x="3131065" y="1820949"/>
                  <a:pt x="3199011" y="1820949"/>
                </a:cubicBezTo>
                <a:close/>
                <a:moveTo>
                  <a:pt x="4909992" y="0"/>
                </a:moveTo>
                <a:lnTo>
                  <a:pt x="5979817" y="0"/>
                </a:lnTo>
                <a:lnTo>
                  <a:pt x="7410715" y="1430900"/>
                </a:lnTo>
                <a:cubicBezTo>
                  <a:pt x="7514381" y="1534565"/>
                  <a:pt x="7514381" y="1702685"/>
                  <a:pt x="7410715" y="1806352"/>
                </a:cubicBezTo>
                <a:lnTo>
                  <a:pt x="5632630" y="3584437"/>
                </a:lnTo>
                <a:cubicBezTo>
                  <a:pt x="5528963" y="3688103"/>
                  <a:pt x="5360843" y="3688103"/>
                  <a:pt x="5257178" y="3584437"/>
                </a:cubicBezTo>
                <a:lnTo>
                  <a:pt x="3479092" y="1806352"/>
                </a:lnTo>
                <a:cubicBezTo>
                  <a:pt x="3427258" y="1754518"/>
                  <a:pt x="3401342" y="1686572"/>
                  <a:pt x="3401342" y="1618625"/>
                </a:cubicBezTo>
                <a:cubicBezTo>
                  <a:pt x="3401342" y="1550679"/>
                  <a:pt x="3427258" y="1482732"/>
                  <a:pt x="3479092" y="1430900"/>
                </a:cubicBezTo>
                <a:close/>
                <a:moveTo>
                  <a:pt x="1672740" y="0"/>
                </a:moveTo>
                <a:lnTo>
                  <a:pt x="4727884" y="0"/>
                </a:lnTo>
                <a:lnTo>
                  <a:pt x="3388039" y="1339845"/>
                </a:lnTo>
                <a:cubicBezTo>
                  <a:pt x="3284372" y="1443512"/>
                  <a:pt x="3116253" y="1443512"/>
                  <a:pt x="3012587" y="1339845"/>
                </a:cubicBezTo>
                <a:close/>
                <a:moveTo>
                  <a:pt x="420801" y="0"/>
                </a:moveTo>
                <a:lnTo>
                  <a:pt x="1488039" y="0"/>
                </a:lnTo>
                <a:lnTo>
                  <a:pt x="2920232" y="1432193"/>
                </a:lnTo>
                <a:cubicBezTo>
                  <a:pt x="3023898" y="1535859"/>
                  <a:pt x="3023898" y="1703979"/>
                  <a:pt x="2920232" y="1807646"/>
                </a:cubicBezTo>
                <a:lnTo>
                  <a:pt x="1142146" y="3585731"/>
                </a:lnTo>
                <a:cubicBezTo>
                  <a:pt x="1038479" y="3689397"/>
                  <a:pt x="870360" y="3689397"/>
                  <a:pt x="766694" y="3585731"/>
                </a:cubicBezTo>
                <a:lnTo>
                  <a:pt x="0" y="2819037"/>
                </a:lnTo>
                <a:lnTo>
                  <a:pt x="0" y="420801"/>
                </a:lnTo>
                <a:close/>
              </a:path>
            </a:pathLst>
          </a:custGeom>
          <a:gradFill>
            <a:gsLst>
              <a:gs pos="0">
                <a:srgbClr val="FEDD00"/>
              </a:gs>
              <a:gs pos="45000">
                <a:srgbClr val="00BD4D"/>
              </a:gs>
              <a:gs pos="65000">
                <a:srgbClr val="00BD4D"/>
              </a:gs>
              <a:gs pos="100000">
                <a:srgbClr val="00E2EC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Lato"/>
              <a:ea typeface="Lato"/>
              <a:cs typeface="Lato"/>
              <a:sym typeface="Lato"/>
            </a:endParaRPr>
          </a:p>
        </p:txBody>
      </p:sp>
      <p:grpSp>
        <p:nvGrpSpPr>
          <p:cNvPr id="193" name="Google Shape;193;p126"/>
          <p:cNvGrpSpPr/>
          <p:nvPr/>
        </p:nvGrpSpPr>
        <p:grpSpPr>
          <a:xfrm>
            <a:off x="9670472" y="508485"/>
            <a:ext cx="1928439" cy="415689"/>
            <a:chOff x="9242171" y="2998589"/>
            <a:chExt cx="1672097" cy="360434"/>
          </a:xfrm>
        </p:grpSpPr>
        <p:sp>
          <p:nvSpPr>
            <p:cNvPr id="194" name="Google Shape;194;p126"/>
            <p:cNvSpPr/>
            <p:nvPr/>
          </p:nvSpPr>
          <p:spPr>
            <a:xfrm rot="-2700000">
              <a:off x="9267550" y="3013811"/>
              <a:ext cx="73496" cy="73496"/>
            </a:xfrm>
            <a:custGeom>
              <a:avLst/>
              <a:gdLst/>
              <a:ahLst/>
              <a:cxnLst/>
              <a:rect l="l" t="t" r="r" b="b"/>
              <a:pathLst>
                <a:path w="73496" h="73496" extrusionOk="0">
                  <a:moveTo>
                    <a:pt x="67007" y="0"/>
                  </a:moveTo>
                  <a:cubicBezTo>
                    <a:pt x="70591" y="0"/>
                    <a:pt x="73497" y="2905"/>
                    <a:pt x="73497" y="6489"/>
                  </a:cubicBezTo>
                  <a:lnTo>
                    <a:pt x="73497" y="67007"/>
                  </a:lnTo>
                  <a:cubicBezTo>
                    <a:pt x="73497" y="70591"/>
                    <a:pt x="70591" y="73496"/>
                    <a:pt x="67007" y="73496"/>
                  </a:cubicBezTo>
                  <a:lnTo>
                    <a:pt x="6489" y="73496"/>
                  </a:lnTo>
                  <a:cubicBezTo>
                    <a:pt x="2905" y="73496"/>
                    <a:pt x="0" y="70591"/>
                    <a:pt x="0" y="67007"/>
                  </a:cubicBezTo>
                  <a:lnTo>
                    <a:pt x="0" y="6489"/>
                  </a:lnTo>
                  <a:cubicBezTo>
                    <a:pt x="0" y="2905"/>
                    <a:pt x="2905" y="0"/>
                    <a:pt x="6489" y="0"/>
                  </a:cubicBezTo>
                  <a:close/>
                </a:path>
              </a:pathLst>
            </a:custGeom>
            <a:solidFill>
              <a:srgbClr val="00B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endParaRPr>
            </a:p>
          </p:txBody>
        </p:sp>
        <p:grpSp>
          <p:nvGrpSpPr>
            <p:cNvPr id="195" name="Google Shape;195;p126"/>
            <p:cNvGrpSpPr/>
            <p:nvPr/>
          </p:nvGrpSpPr>
          <p:grpSpPr>
            <a:xfrm>
              <a:off x="9242171" y="3011696"/>
              <a:ext cx="1672097" cy="347327"/>
              <a:chOff x="9242171" y="3011696"/>
              <a:chExt cx="1672097" cy="347327"/>
            </a:xfrm>
          </p:grpSpPr>
          <p:sp>
            <p:nvSpPr>
              <p:cNvPr id="196" name="Google Shape;196;p126"/>
              <p:cNvSpPr/>
              <p:nvPr/>
            </p:nvSpPr>
            <p:spPr>
              <a:xfrm>
                <a:off x="10604432" y="3110234"/>
                <a:ext cx="249644" cy="243844"/>
              </a:xfrm>
              <a:custGeom>
                <a:avLst/>
                <a:gdLst/>
                <a:ahLst/>
                <a:cxnLst/>
                <a:rect l="l" t="t" r="r" b="b"/>
                <a:pathLst>
                  <a:path w="249644" h="243844" extrusionOk="0">
                    <a:moveTo>
                      <a:pt x="172562" y="121922"/>
                    </a:moveTo>
                    <a:lnTo>
                      <a:pt x="248603" y="234754"/>
                    </a:lnTo>
                    <a:cubicBezTo>
                      <a:pt x="251347" y="238642"/>
                      <a:pt x="248346" y="243845"/>
                      <a:pt x="243372" y="243845"/>
                    </a:cubicBezTo>
                    <a:lnTo>
                      <a:pt x="179480" y="243845"/>
                    </a:lnTo>
                    <a:cubicBezTo>
                      <a:pt x="175221" y="243845"/>
                      <a:pt x="171219" y="241729"/>
                      <a:pt x="168789" y="238213"/>
                    </a:cubicBezTo>
                    <a:lnTo>
                      <a:pt x="124822" y="170949"/>
                    </a:lnTo>
                    <a:lnTo>
                      <a:pt x="80856" y="238213"/>
                    </a:lnTo>
                    <a:cubicBezTo>
                      <a:pt x="78426" y="241729"/>
                      <a:pt x="74452" y="243845"/>
                      <a:pt x="70164" y="243845"/>
                    </a:cubicBezTo>
                    <a:lnTo>
                      <a:pt x="6273" y="243845"/>
                    </a:lnTo>
                    <a:cubicBezTo>
                      <a:pt x="1299" y="243845"/>
                      <a:pt x="-1703" y="238671"/>
                      <a:pt x="1042" y="234754"/>
                    </a:cubicBezTo>
                    <a:lnTo>
                      <a:pt x="76854" y="121922"/>
                    </a:lnTo>
                    <a:lnTo>
                      <a:pt x="1042" y="9091"/>
                    </a:lnTo>
                    <a:cubicBezTo>
                      <a:pt x="-1703" y="5203"/>
                      <a:pt x="1299" y="0"/>
                      <a:pt x="6273" y="0"/>
                    </a:cubicBezTo>
                    <a:lnTo>
                      <a:pt x="72880" y="0"/>
                    </a:lnTo>
                    <a:cubicBezTo>
                      <a:pt x="75367" y="0"/>
                      <a:pt x="77683" y="1143"/>
                      <a:pt x="78998" y="3030"/>
                    </a:cubicBezTo>
                    <a:lnTo>
                      <a:pt x="124794" y="72782"/>
                    </a:lnTo>
                    <a:lnTo>
                      <a:pt x="167788" y="3059"/>
                    </a:lnTo>
                    <a:cubicBezTo>
                      <a:pt x="169075" y="1172"/>
                      <a:pt x="171419" y="0"/>
                      <a:pt x="173906" y="0"/>
                    </a:cubicBezTo>
                    <a:lnTo>
                      <a:pt x="241171" y="0"/>
                    </a:lnTo>
                    <a:cubicBezTo>
                      <a:pt x="246145" y="0"/>
                      <a:pt x="249118" y="5174"/>
                      <a:pt x="246402" y="9062"/>
                    </a:cubicBezTo>
                    <a:lnTo>
                      <a:pt x="172505" y="121922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Lato"/>
                  <a:ea typeface="Lato"/>
                  <a:cs typeface="Lato"/>
                  <a:sym typeface="Lato"/>
                </a:endParaRPr>
              </a:p>
            </p:txBody>
          </p:sp>
          <p:sp>
            <p:nvSpPr>
              <p:cNvPr id="197" name="Google Shape;197;p126"/>
              <p:cNvSpPr/>
              <p:nvPr/>
            </p:nvSpPr>
            <p:spPr>
              <a:xfrm>
                <a:off x="9581152" y="3011696"/>
                <a:ext cx="164831" cy="342440"/>
              </a:xfrm>
              <a:custGeom>
                <a:avLst/>
                <a:gdLst/>
                <a:ahLst/>
                <a:cxnLst/>
                <a:rect l="l" t="t" r="r" b="b"/>
                <a:pathLst>
                  <a:path w="164831" h="342440" extrusionOk="0">
                    <a:moveTo>
                      <a:pt x="158342" y="29"/>
                    </a:moveTo>
                    <a:lnTo>
                      <a:pt x="105342" y="29"/>
                    </a:lnTo>
                    <a:cubicBezTo>
                      <a:pt x="100197" y="29"/>
                      <a:pt x="95251" y="2087"/>
                      <a:pt x="91592" y="5717"/>
                    </a:cubicBezTo>
                    <a:lnTo>
                      <a:pt x="41794" y="55515"/>
                    </a:lnTo>
                    <a:cubicBezTo>
                      <a:pt x="38135" y="59175"/>
                      <a:pt x="36105" y="64120"/>
                      <a:pt x="36105" y="69266"/>
                    </a:cubicBezTo>
                    <a:lnTo>
                      <a:pt x="36105" y="108458"/>
                    </a:lnTo>
                    <a:lnTo>
                      <a:pt x="6375" y="108458"/>
                    </a:lnTo>
                    <a:cubicBezTo>
                      <a:pt x="2859" y="108458"/>
                      <a:pt x="0" y="111317"/>
                      <a:pt x="0" y="114833"/>
                    </a:cubicBezTo>
                    <a:lnTo>
                      <a:pt x="0" y="158828"/>
                    </a:lnTo>
                    <a:cubicBezTo>
                      <a:pt x="0" y="162344"/>
                      <a:pt x="2859" y="165203"/>
                      <a:pt x="6375" y="165203"/>
                    </a:cubicBezTo>
                    <a:lnTo>
                      <a:pt x="36105" y="165203"/>
                    </a:lnTo>
                    <a:lnTo>
                      <a:pt x="36105" y="335951"/>
                    </a:lnTo>
                    <a:cubicBezTo>
                      <a:pt x="36105" y="339524"/>
                      <a:pt x="39021" y="342440"/>
                      <a:pt x="42594" y="342440"/>
                    </a:cubicBezTo>
                    <a:lnTo>
                      <a:pt x="98510" y="342440"/>
                    </a:lnTo>
                    <a:cubicBezTo>
                      <a:pt x="102083" y="342440"/>
                      <a:pt x="104999" y="339524"/>
                      <a:pt x="104999" y="335951"/>
                    </a:cubicBezTo>
                    <a:lnTo>
                      <a:pt x="104999" y="165174"/>
                    </a:lnTo>
                    <a:lnTo>
                      <a:pt x="149394" y="165174"/>
                    </a:lnTo>
                    <a:cubicBezTo>
                      <a:pt x="152911" y="165174"/>
                      <a:pt x="155769" y="162315"/>
                      <a:pt x="155769" y="158799"/>
                    </a:cubicBezTo>
                    <a:lnTo>
                      <a:pt x="155769" y="114804"/>
                    </a:lnTo>
                    <a:cubicBezTo>
                      <a:pt x="155769" y="111288"/>
                      <a:pt x="152911" y="108429"/>
                      <a:pt x="149394" y="108429"/>
                    </a:cubicBezTo>
                    <a:lnTo>
                      <a:pt x="104999" y="108429"/>
                    </a:lnTo>
                    <a:lnTo>
                      <a:pt x="104999" y="80643"/>
                    </a:lnTo>
                    <a:cubicBezTo>
                      <a:pt x="104999" y="69895"/>
                      <a:pt x="113718" y="61204"/>
                      <a:pt x="124438" y="61204"/>
                    </a:cubicBezTo>
                    <a:lnTo>
                      <a:pt x="158342" y="61204"/>
                    </a:lnTo>
                    <a:cubicBezTo>
                      <a:pt x="161915" y="61204"/>
                      <a:pt x="164831" y="58288"/>
                      <a:pt x="164831" y="54715"/>
                    </a:cubicBezTo>
                    <a:lnTo>
                      <a:pt x="164831" y="6489"/>
                    </a:lnTo>
                    <a:cubicBezTo>
                      <a:pt x="164831" y="2916"/>
                      <a:pt x="161915" y="0"/>
                      <a:pt x="158342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Lato"/>
                  <a:ea typeface="Lato"/>
                  <a:cs typeface="Lato"/>
                  <a:sym typeface="Lato"/>
                </a:endParaRPr>
              </a:p>
            </p:txBody>
          </p:sp>
          <p:sp>
            <p:nvSpPr>
              <p:cNvPr id="198" name="Google Shape;198;p126"/>
              <p:cNvSpPr/>
              <p:nvPr/>
            </p:nvSpPr>
            <p:spPr>
              <a:xfrm>
                <a:off x="10860611" y="3304224"/>
                <a:ext cx="53657" cy="53657"/>
              </a:xfrm>
              <a:custGeom>
                <a:avLst/>
                <a:gdLst/>
                <a:ahLst/>
                <a:cxnLst/>
                <a:rect l="l" t="t" r="r" b="b"/>
                <a:pathLst>
                  <a:path w="53657" h="53657" extrusionOk="0">
                    <a:moveTo>
                      <a:pt x="53657" y="26786"/>
                    </a:moveTo>
                    <a:cubicBezTo>
                      <a:pt x="53657" y="41708"/>
                      <a:pt x="41708" y="53657"/>
                      <a:pt x="26729" y="53657"/>
                    </a:cubicBezTo>
                    <a:cubicBezTo>
                      <a:pt x="11749" y="53657"/>
                      <a:pt x="0" y="41594"/>
                      <a:pt x="0" y="26786"/>
                    </a:cubicBezTo>
                    <a:cubicBezTo>
                      <a:pt x="0" y="11978"/>
                      <a:pt x="11949" y="0"/>
                      <a:pt x="26814" y="0"/>
                    </a:cubicBezTo>
                    <a:cubicBezTo>
                      <a:pt x="41679" y="0"/>
                      <a:pt x="53629" y="11892"/>
                      <a:pt x="53629" y="26786"/>
                    </a:cubicBezTo>
                    <a:close/>
                    <a:moveTo>
                      <a:pt x="49541" y="26900"/>
                    </a:moveTo>
                    <a:cubicBezTo>
                      <a:pt x="49541" y="14036"/>
                      <a:pt x="39392" y="3831"/>
                      <a:pt x="26843" y="3831"/>
                    </a:cubicBezTo>
                    <a:cubicBezTo>
                      <a:pt x="14293" y="3831"/>
                      <a:pt x="4145" y="13922"/>
                      <a:pt x="4145" y="26872"/>
                    </a:cubicBezTo>
                    <a:cubicBezTo>
                      <a:pt x="4145" y="39821"/>
                      <a:pt x="14408" y="49884"/>
                      <a:pt x="26729" y="49884"/>
                    </a:cubicBezTo>
                    <a:cubicBezTo>
                      <a:pt x="39049" y="49884"/>
                      <a:pt x="49541" y="39736"/>
                      <a:pt x="49541" y="26900"/>
                    </a:cubicBezTo>
                    <a:close/>
                    <a:moveTo>
                      <a:pt x="32589" y="31131"/>
                    </a:moveTo>
                    <a:lnTo>
                      <a:pt x="39335" y="41622"/>
                    </a:lnTo>
                    <a:lnTo>
                      <a:pt x="34876" y="41622"/>
                    </a:lnTo>
                    <a:lnTo>
                      <a:pt x="27386" y="29730"/>
                    </a:lnTo>
                    <a:lnTo>
                      <a:pt x="20554" y="29730"/>
                    </a:lnTo>
                    <a:lnTo>
                      <a:pt x="20554" y="41622"/>
                    </a:lnTo>
                    <a:lnTo>
                      <a:pt x="16809" y="41622"/>
                    </a:lnTo>
                    <a:lnTo>
                      <a:pt x="16809" y="11549"/>
                    </a:lnTo>
                    <a:lnTo>
                      <a:pt x="28472" y="11549"/>
                    </a:lnTo>
                    <a:cubicBezTo>
                      <a:pt x="34218" y="11549"/>
                      <a:pt x="37963" y="14636"/>
                      <a:pt x="37963" y="20411"/>
                    </a:cubicBezTo>
                    <a:cubicBezTo>
                      <a:pt x="37963" y="25071"/>
                      <a:pt x="35133" y="27958"/>
                      <a:pt x="31131" y="29101"/>
                    </a:cubicBezTo>
                    <a:cubicBezTo>
                      <a:pt x="31674" y="29702"/>
                      <a:pt x="32217" y="30445"/>
                      <a:pt x="32589" y="31160"/>
                    </a:cubicBezTo>
                    <a:close/>
                    <a:moveTo>
                      <a:pt x="27214" y="26185"/>
                    </a:moveTo>
                    <a:cubicBezTo>
                      <a:pt x="31445" y="26185"/>
                      <a:pt x="34047" y="24184"/>
                      <a:pt x="34047" y="20640"/>
                    </a:cubicBezTo>
                    <a:cubicBezTo>
                      <a:pt x="34047" y="17095"/>
                      <a:pt x="32246" y="15037"/>
                      <a:pt x="28558" y="15037"/>
                    </a:cubicBezTo>
                    <a:lnTo>
                      <a:pt x="20525" y="15037"/>
                    </a:lnTo>
                    <a:lnTo>
                      <a:pt x="20525" y="26157"/>
                    </a:lnTo>
                    <a:lnTo>
                      <a:pt x="27214" y="26157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Lato"/>
                  <a:ea typeface="Lato"/>
                  <a:cs typeface="Lato"/>
                  <a:sym typeface="Lato"/>
                </a:endParaRPr>
              </a:p>
            </p:txBody>
          </p:sp>
          <p:sp>
            <p:nvSpPr>
              <p:cNvPr id="199" name="Google Shape;199;p126"/>
              <p:cNvSpPr/>
              <p:nvPr/>
            </p:nvSpPr>
            <p:spPr>
              <a:xfrm>
                <a:off x="10283815" y="3011724"/>
                <a:ext cx="68865" cy="342354"/>
              </a:xfrm>
              <a:custGeom>
                <a:avLst/>
                <a:gdLst/>
                <a:ahLst/>
                <a:cxnLst/>
                <a:rect l="l" t="t" r="r" b="b"/>
                <a:pathLst>
                  <a:path w="68865" h="342354" extrusionOk="0">
                    <a:moveTo>
                      <a:pt x="62376" y="0"/>
                    </a:moveTo>
                    <a:cubicBezTo>
                      <a:pt x="65960" y="0"/>
                      <a:pt x="68866" y="2905"/>
                      <a:pt x="68866" y="6489"/>
                    </a:cubicBezTo>
                    <a:lnTo>
                      <a:pt x="68866" y="335865"/>
                    </a:lnTo>
                    <a:cubicBezTo>
                      <a:pt x="68866" y="339449"/>
                      <a:pt x="65960" y="342355"/>
                      <a:pt x="62376" y="342355"/>
                    </a:cubicBezTo>
                    <a:lnTo>
                      <a:pt x="6489" y="342355"/>
                    </a:lnTo>
                    <a:cubicBezTo>
                      <a:pt x="2905" y="342355"/>
                      <a:pt x="0" y="339449"/>
                      <a:pt x="0" y="335865"/>
                    </a:cubicBezTo>
                    <a:lnTo>
                      <a:pt x="0" y="6489"/>
                    </a:lnTo>
                    <a:cubicBezTo>
                      <a:pt x="0" y="2905"/>
                      <a:pt x="2905" y="0"/>
                      <a:pt x="6489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Lato"/>
                  <a:ea typeface="Lato"/>
                  <a:cs typeface="Lato"/>
                  <a:sym typeface="Lato"/>
                </a:endParaRPr>
              </a:p>
            </p:txBody>
          </p:sp>
          <p:sp>
            <p:nvSpPr>
              <p:cNvPr id="200" name="Google Shape;200;p126"/>
              <p:cNvSpPr/>
              <p:nvPr/>
            </p:nvSpPr>
            <p:spPr>
              <a:xfrm>
                <a:off x="10006809" y="3011696"/>
                <a:ext cx="258538" cy="347300"/>
              </a:xfrm>
              <a:custGeom>
                <a:avLst/>
                <a:gdLst/>
                <a:ahLst/>
                <a:cxnLst/>
                <a:rect l="l" t="t" r="r" b="b"/>
                <a:pathLst>
                  <a:path w="258538" h="347300" extrusionOk="0">
                    <a:moveTo>
                      <a:pt x="143734" y="93393"/>
                    </a:moveTo>
                    <a:cubicBezTo>
                      <a:pt x="111946" y="93393"/>
                      <a:pt x="85503" y="107172"/>
                      <a:pt x="68894" y="129755"/>
                    </a:cubicBezTo>
                    <a:lnTo>
                      <a:pt x="68894" y="6489"/>
                    </a:lnTo>
                    <a:cubicBezTo>
                      <a:pt x="68894" y="2916"/>
                      <a:pt x="65978" y="0"/>
                      <a:pt x="62405" y="0"/>
                    </a:cubicBezTo>
                    <a:lnTo>
                      <a:pt x="6489" y="0"/>
                    </a:lnTo>
                    <a:cubicBezTo>
                      <a:pt x="2916" y="0"/>
                      <a:pt x="0" y="2916"/>
                      <a:pt x="0" y="6489"/>
                    </a:cubicBezTo>
                    <a:lnTo>
                      <a:pt x="0" y="335894"/>
                    </a:lnTo>
                    <a:cubicBezTo>
                      <a:pt x="0" y="339467"/>
                      <a:pt x="2916" y="342383"/>
                      <a:pt x="6489" y="342383"/>
                    </a:cubicBezTo>
                    <a:lnTo>
                      <a:pt x="62405" y="342383"/>
                    </a:lnTo>
                    <a:cubicBezTo>
                      <a:pt x="65978" y="342383"/>
                      <a:pt x="68894" y="339467"/>
                      <a:pt x="68894" y="335894"/>
                    </a:cubicBezTo>
                    <a:lnTo>
                      <a:pt x="68894" y="311624"/>
                    </a:lnTo>
                    <a:cubicBezTo>
                      <a:pt x="85532" y="334236"/>
                      <a:pt x="111946" y="347300"/>
                      <a:pt x="144249" y="347300"/>
                    </a:cubicBezTo>
                    <a:cubicBezTo>
                      <a:pt x="212257" y="347300"/>
                      <a:pt x="258539" y="292442"/>
                      <a:pt x="258539" y="220689"/>
                    </a:cubicBezTo>
                    <a:cubicBezTo>
                      <a:pt x="258539" y="148937"/>
                      <a:pt x="212257" y="93393"/>
                      <a:pt x="143763" y="93393"/>
                    </a:cubicBezTo>
                    <a:close/>
                    <a:moveTo>
                      <a:pt x="130041" y="282637"/>
                    </a:moveTo>
                    <a:cubicBezTo>
                      <a:pt x="94822" y="282637"/>
                      <a:pt x="68894" y="254136"/>
                      <a:pt x="68894" y="220718"/>
                    </a:cubicBezTo>
                    <a:cubicBezTo>
                      <a:pt x="68894" y="187300"/>
                      <a:pt x="94822" y="159285"/>
                      <a:pt x="130041" y="159285"/>
                    </a:cubicBezTo>
                    <a:cubicBezTo>
                      <a:pt x="165260" y="159285"/>
                      <a:pt x="190216" y="187300"/>
                      <a:pt x="190216" y="220718"/>
                    </a:cubicBezTo>
                    <a:cubicBezTo>
                      <a:pt x="190216" y="254136"/>
                      <a:pt x="164774" y="282637"/>
                      <a:pt x="130041" y="282637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Lato"/>
                  <a:ea typeface="Lato"/>
                  <a:cs typeface="Lato"/>
                  <a:sym typeface="Lato"/>
                </a:endParaRPr>
              </a:p>
            </p:txBody>
          </p:sp>
          <p:sp>
            <p:nvSpPr>
              <p:cNvPr id="201" name="Google Shape;201;p126"/>
              <p:cNvSpPr/>
              <p:nvPr/>
            </p:nvSpPr>
            <p:spPr>
              <a:xfrm>
                <a:off x="9736922" y="3105088"/>
                <a:ext cx="251792" cy="253935"/>
              </a:xfrm>
              <a:custGeom>
                <a:avLst/>
                <a:gdLst/>
                <a:ahLst/>
                <a:cxnLst/>
                <a:rect l="l" t="t" r="r" b="b"/>
                <a:pathLst>
                  <a:path w="251792" h="253935" extrusionOk="0">
                    <a:moveTo>
                      <a:pt x="125896" y="0"/>
                    </a:moveTo>
                    <a:cubicBezTo>
                      <a:pt x="54944" y="0"/>
                      <a:pt x="0" y="55287"/>
                      <a:pt x="0" y="126725"/>
                    </a:cubicBezTo>
                    <a:cubicBezTo>
                      <a:pt x="0" y="198163"/>
                      <a:pt x="54915" y="253936"/>
                      <a:pt x="125896" y="253936"/>
                    </a:cubicBezTo>
                    <a:cubicBezTo>
                      <a:pt x="196877" y="253936"/>
                      <a:pt x="251792" y="198163"/>
                      <a:pt x="251792" y="126725"/>
                    </a:cubicBezTo>
                    <a:cubicBezTo>
                      <a:pt x="251792" y="55287"/>
                      <a:pt x="196877" y="0"/>
                      <a:pt x="125896" y="0"/>
                    </a:cubicBezTo>
                    <a:close/>
                    <a:moveTo>
                      <a:pt x="126153" y="188558"/>
                    </a:moveTo>
                    <a:cubicBezTo>
                      <a:pt x="91506" y="188558"/>
                      <a:pt x="65378" y="160314"/>
                      <a:pt x="65378" y="126725"/>
                    </a:cubicBezTo>
                    <a:cubicBezTo>
                      <a:pt x="65378" y="93136"/>
                      <a:pt x="91506" y="65378"/>
                      <a:pt x="126153" y="65378"/>
                    </a:cubicBezTo>
                    <a:cubicBezTo>
                      <a:pt x="160801" y="65378"/>
                      <a:pt x="186443" y="93136"/>
                      <a:pt x="186443" y="126725"/>
                    </a:cubicBezTo>
                    <a:cubicBezTo>
                      <a:pt x="186443" y="160314"/>
                      <a:pt x="161315" y="188558"/>
                      <a:pt x="126153" y="188558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Lato"/>
                  <a:ea typeface="Lato"/>
                  <a:cs typeface="Lato"/>
                  <a:sym typeface="Lato"/>
                </a:endParaRPr>
              </a:p>
            </p:txBody>
          </p:sp>
          <p:sp>
            <p:nvSpPr>
              <p:cNvPr id="202" name="Google Shape;202;p126"/>
              <p:cNvSpPr/>
              <p:nvPr/>
            </p:nvSpPr>
            <p:spPr>
              <a:xfrm>
                <a:off x="10370776" y="3105088"/>
                <a:ext cx="251792" cy="253935"/>
              </a:xfrm>
              <a:custGeom>
                <a:avLst/>
                <a:gdLst/>
                <a:ahLst/>
                <a:cxnLst/>
                <a:rect l="l" t="t" r="r" b="b"/>
                <a:pathLst>
                  <a:path w="251792" h="253935" extrusionOk="0">
                    <a:moveTo>
                      <a:pt x="125896" y="0"/>
                    </a:moveTo>
                    <a:cubicBezTo>
                      <a:pt x="54944" y="0"/>
                      <a:pt x="0" y="55287"/>
                      <a:pt x="0" y="126725"/>
                    </a:cubicBezTo>
                    <a:cubicBezTo>
                      <a:pt x="0" y="198163"/>
                      <a:pt x="54915" y="253936"/>
                      <a:pt x="125896" y="253936"/>
                    </a:cubicBezTo>
                    <a:cubicBezTo>
                      <a:pt x="196877" y="253936"/>
                      <a:pt x="251792" y="198163"/>
                      <a:pt x="251792" y="126725"/>
                    </a:cubicBezTo>
                    <a:cubicBezTo>
                      <a:pt x="251792" y="55287"/>
                      <a:pt x="196877" y="0"/>
                      <a:pt x="125896" y="0"/>
                    </a:cubicBezTo>
                    <a:close/>
                    <a:moveTo>
                      <a:pt x="126153" y="188558"/>
                    </a:moveTo>
                    <a:cubicBezTo>
                      <a:pt x="91506" y="188558"/>
                      <a:pt x="65378" y="160314"/>
                      <a:pt x="65378" y="126725"/>
                    </a:cubicBezTo>
                    <a:cubicBezTo>
                      <a:pt x="65378" y="93136"/>
                      <a:pt x="91506" y="65378"/>
                      <a:pt x="126153" y="65378"/>
                    </a:cubicBezTo>
                    <a:cubicBezTo>
                      <a:pt x="160801" y="65378"/>
                      <a:pt x="186443" y="93136"/>
                      <a:pt x="186443" y="126725"/>
                    </a:cubicBezTo>
                    <a:cubicBezTo>
                      <a:pt x="186443" y="160314"/>
                      <a:pt x="161315" y="188558"/>
                      <a:pt x="126153" y="188558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Lato"/>
                  <a:ea typeface="Lato"/>
                  <a:cs typeface="Lato"/>
                  <a:sym typeface="Lato"/>
                </a:endParaRPr>
              </a:p>
            </p:txBody>
          </p:sp>
          <p:sp>
            <p:nvSpPr>
              <p:cNvPr id="203" name="Google Shape;203;p126"/>
              <p:cNvSpPr/>
              <p:nvPr/>
            </p:nvSpPr>
            <p:spPr>
              <a:xfrm>
                <a:off x="9242171" y="3110092"/>
                <a:ext cx="68865" cy="243987"/>
              </a:xfrm>
              <a:custGeom>
                <a:avLst/>
                <a:gdLst/>
                <a:ahLst/>
                <a:cxnLst/>
                <a:rect l="l" t="t" r="r" b="b"/>
                <a:pathLst>
                  <a:path w="68865" h="243987" extrusionOk="0">
                    <a:moveTo>
                      <a:pt x="62405" y="243987"/>
                    </a:moveTo>
                    <a:lnTo>
                      <a:pt x="6489" y="243987"/>
                    </a:lnTo>
                    <a:cubicBezTo>
                      <a:pt x="2916" y="243987"/>
                      <a:pt x="0" y="241071"/>
                      <a:pt x="0" y="237498"/>
                    </a:cubicBezTo>
                    <a:lnTo>
                      <a:pt x="0" y="63891"/>
                    </a:lnTo>
                    <a:cubicBezTo>
                      <a:pt x="0" y="60403"/>
                      <a:pt x="1401" y="57059"/>
                      <a:pt x="3888" y="54629"/>
                    </a:cubicBezTo>
                    <a:lnTo>
                      <a:pt x="57860" y="1858"/>
                    </a:lnTo>
                    <a:cubicBezTo>
                      <a:pt x="61976" y="-2144"/>
                      <a:pt x="68866" y="743"/>
                      <a:pt x="68866" y="6489"/>
                    </a:cubicBezTo>
                    <a:lnTo>
                      <a:pt x="68866" y="237498"/>
                    </a:lnTo>
                    <a:cubicBezTo>
                      <a:pt x="68866" y="241071"/>
                      <a:pt x="65950" y="243987"/>
                      <a:pt x="62376" y="243987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Lato"/>
                  <a:ea typeface="Lato"/>
                  <a:cs typeface="Lato"/>
                  <a:sym typeface="Lato"/>
                </a:endParaRPr>
              </a:p>
            </p:txBody>
          </p:sp>
          <p:sp>
            <p:nvSpPr>
              <p:cNvPr id="204" name="Google Shape;204;p126"/>
              <p:cNvSpPr/>
              <p:nvPr/>
            </p:nvSpPr>
            <p:spPr>
              <a:xfrm>
                <a:off x="9347255" y="3105025"/>
                <a:ext cx="224777" cy="249082"/>
              </a:xfrm>
              <a:custGeom>
                <a:avLst/>
                <a:gdLst/>
                <a:ahLst/>
                <a:cxnLst/>
                <a:rect l="l" t="t" r="r" b="b"/>
                <a:pathLst>
                  <a:path w="224777" h="249082" extrusionOk="0">
                    <a:moveTo>
                      <a:pt x="224749" y="87568"/>
                    </a:moveTo>
                    <a:cubicBezTo>
                      <a:pt x="224749" y="40257"/>
                      <a:pt x="185671" y="578"/>
                      <a:pt x="136416" y="6"/>
                    </a:cubicBezTo>
                    <a:cubicBezTo>
                      <a:pt x="104370" y="-365"/>
                      <a:pt x="82730" y="15329"/>
                      <a:pt x="68894" y="36540"/>
                    </a:cubicBezTo>
                    <a:lnTo>
                      <a:pt x="68894" y="11670"/>
                    </a:lnTo>
                    <a:cubicBezTo>
                      <a:pt x="68894" y="8097"/>
                      <a:pt x="65978" y="5181"/>
                      <a:pt x="62405" y="5181"/>
                    </a:cubicBezTo>
                    <a:lnTo>
                      <a:pt x="6489" y="5181"/>
                    </a:lnTo>
                    <a:cubicBezTo>
                      <a:pt x="2916" y="5181"/>
                      <a:pt x="0" y="8097"/>
                      <a:pt x="0" y="11670"/>
                    </a:cubicBezTo>
                    <a:lnTo>
                      <a:pt x="0" y="242565"/>
                    </a:lnTo>
                    <a:cubicBezTo>
                      <a:pt x="0" y="246138"/>
                      <a:pt x="2916" y="249054"/>
                      <a:pt x="6489" y="249054"/>
                    </a:cubicBezTo>
                    <a:lnTo>
                      <a:pt x="62405" y="249054"/>
                    </a:lnTo>
                    <a:cubicBezTo>
                      <a:pt x="65978" y="249054"/>
                      <a:pt x="68894" y="246138"/>
                      <a:pt x="68894" y="242565"/>
                    </a:cubicBezTo>
                    <a:lnTo>
                      <a:pt x="68894" y="108293"/>
                    </a:lnTo>
                    <a:cubicBezTo>
                      <a:pt x="70438" y="82451"/>
                      <a:pt x="86818" y="66385"/>
                      <a:pt x="112375" y="66385"/>
                    </a:cubicBezTo>
                    <a:cubicBezTo>
                      <a:pt x="137931" y="66385"/>
                      <a:pt x="155884" y="84423"/>
                      <a:pt x="155884" y="111266"/>
                    </a:cubicBezTo>
                    <a:lnTo>
                      <a:pt x="155884" y="242593"/>
                    </a:lnTo>
                    <a:cubicBezTo>
                      <a:pt x="155884" y="246167"/>
                      <a:pt x="158800" y="249083"/>
                      <a:pt x="162373" y="249083"/>
                    </a:cubicBezTo>
                    <a:lnTo>
                      <a:pt x="218289" y="249083"/>
                    </a:lnTo>
                    <a:cubicBezTo>
                      <a:pt x="221862" y="249083"/>
                      <a:pt x="224778" y="246167"/>
                      <a:pt x="224778" y="242593"/>
                    </a:cubicBezTo>
                    <a:lnTo>
                      <a:pt x="224778" y="8759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Lato"/>
                  <a:ea typeface="Lato"/>
                  <a:cs typeface="Lato"/>
                  <a:sym typeface="Lato"/>
                </a:endParaRPr>
              </a:p>
            </p:txBody>
          </p:sp>
        </p:grpSp>
      </p:grpSp>
      <p:sp>
        <p:nvSpPr>
          <p:cNvPr id="205" name="Google Shape;205;p126"/>
          <p:cNvSpPr txBox="1"/>
          <p:nvPr/>
        </p:nvSpPr>
        <p:spPr>
          <a:xfrm>
            <a:off x="5504308" y="6390305"/>
            <a:ext cx="6262914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</a:pPr>
            <a:r>
              <a:rPr lang="en-US" sz="120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rPr>
              <a:t>© 2023 Infoblox Inc. All rights reserved.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17169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7B669B37-CF43-8D14-6755-F61A54D8FB98}"/>
              </a:ext>
            </a:extLst>
          </p:cNvPr>
          <p:cNvGrpSpPr/>
          <p:nvPr userDrawn="1"/>
        </p:nvGrpSpPr>
        <p:grpSpPr>
          <a:xfrm>
            <a:off x="11122821" y="6472473"/>
            <a:ext cx="799629" cy="166100"/>
            <a:chOff x="11122821" y="6472473"/>
            <a:chExt cx="799629" cy="166100"/>
          </a:xfrm>
        </p:grpSpPr>
        <p:sp>
          <p:nvSpPr>
            <p:cNvPr id="4" name="Freeform: Shape 11">
              <a:extLst>
                <a:ext uri="{FF2B5EF4-FFF2-40B4-BE49-F238E27FC236}">
                  <a16:creationId xmlns:a16="http://schemas.microsoft.com/office/drawing/2014/main" id="{E8FB77A1-B8B7-B82C-0DEC-68BF410A36D3}"/>
                </a:ext>
              </a:extLst>
            </p:cNvPr>
            <p:cNvSpPr/>
            <p:nvPr/>
          </p:nvSpPr>
          <p:spPr>
            <a:xfrm rot="18900000">
              <a:off x="11134957" y="6473485"/>
              <a:ext cx="35147" cy="35147"/>
            </a:xfrm>
            <a:custGeom>
              <a:avLst/>
              <a:gdLst>
                <a:gd name="connsiteX0" fmla="*/ 32044 w 35147"/>
                <a:gd name="connsiteY0" fmla="*/ 0 h 35147"/>
                <a:gd name="connsiteX1" fmla="*/ 35148 w 35147"/>
                <a:gd name="connsiteY1" fmla="*/ 3103 h 35147"/>
                <a:gd name="connsiteX2" fmla="*/ 35148 w 35147"/>
                <a:gd name="connsiteY2" fmla="*/ 32044 h 35147"/>
                <a:gd name="connsiteX3" fmla="*/ 32044 w 35147"/>
                <a:gd name="connsiteY3" fmla="*/ 35148 h 35147"/>
                <a:gd name="connsiteX4" fmla="*/ 3103 w 35147"/>
                <a:gd name="connsiteY4" fmla="*/ 35148 h 35147"/>
                <a:gd name="connsiteX5" fmla="*/ 0 w 35147"/>
                <a:gd name="connsiteY5" fmla="*/ 32044 h 35147"/>
                <a:gd name="connsiteX6" fmla="*/ 0 w 35147"/>
                <a:gd name="connsiteY6" fmla="*/ 3103 h 35147"/>
                <a:gd name="connsiteX7" fmla="*/ 3103 w 35147"/>
                <a:gd name="connsiteY7" fmla="*/ 0 h 35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147" h="35147">
                  <a:moveTo>
                    <a:pt x="32044" y="0"/>
                  </a:moveTo>
                  <a:cubicBezTo>
                    <a:pt x="33758" y="0"/>
                    <a:pt x="35148" y="1389"/>
                    <a:pt x="35148" y="3103"/>
                  </a:cubicBezTo>
                  <a:lnTo>
                    <a:pt x="35148" y="32044"/>
                  </a:lnTo>
                  <a:cubicBezTo>
                    <a:pt x="35148" y="33758"/>
                    <a:pt x="33758" y="35148"/>
                    <a:pt x="32044" y="35148"/>
                  </a:cubicBezTo>
                  <a:lnTo>
                    <a:pt x="3103" y="35148"/>
                  </a:lnTo>
                  <a:cubicBezTo>
                    <a:pt x="1389" y="35148"/>
                    <a:pt x="0" y="33758"/>
                    <a:pt x="0" y="32044"/>
                  </a:cubicBezTo>
                  <a:lnTo>
                    <a:pt x="0" y="3103"/>
                  </a:lnTo>
                  <a:cubicBezTo>
                    <a:pt x="0" y="1389"/>
                    <a:pt x="1389" y="0"/>
                    <a:pt x="3103" y="0"/>
                  </a:cubicBezTo>
                  <a:close/>
                </a:path>
              </a:pathLst>
            </a:custGeom>
            <a:solidFill>
              <a:srgbClr val="00BD4D"/>
            </a:solidFill>
            <a:ln w="135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428FEF25-F27F-3DC3-96C1-5C236F1C5794}"/>
                </a:ext>
              </a:extLst>
            </p:cNvPr>
            <p:cNvGrpSpPr/>
            <p:nvPr/>
          </p:nvGrpSpPr>
          <p:grpSpPr>
            <a:xfrm>
              <a:off x="11122821" y="6472473"/>
              <a:ext cx="799629" cy="166100"/>
              <a:chOff x="11122821" y="6472473"/>
              <a:chExt cx="799629" cy="166100"/>
            </a:xfrm>
            <a:solidFill>
              <a:schemeClr val="bg1"/>
            </a:solidFill>
          </p:grpSpPr>
          <p:sp>
            <p:nvSpPr>
              <p:cNvPr id="6" name="Freeform: Shape 13">
                <a:extLst>
                  <a:ext uri="{FF2B5EF4-FFF2-40B4-BE49-F238E27FC236}">
                    <a16:creationId xmlns:a16="http://schemas.microsoft.com/office/drawing/2014/main" id="{715B49B7-9FDF-2589-FA6F-B90D11E0EF44}"/>
                  </a:ext>
                </a:extLst>
              </p:cNvPr>
              <p:cNvSpPr/>
              <p:nvPr/>
            </p:nvSpPr>
            <p:spPr>
              <a:xfrm>
                <a:off x="11774281" y="6519597"/>
                <a:ext cx="119385" cy="116611"/>
              </a:xfrm>
              <a:custGeom>
                <a:avLst/>
                <a:gdLst>
                  <a:gd name="connsiteX0" fmla="*/ 82523 w 119385"/>
                  <a:gd name="connsiteY0" fmla="*/ 58306 h 116611"/>
                  <a:gd name="connsiteX1" fmla="*/ 118887 w 119385"/>
                  <a:gd name="connsiteY1" fmla="*/ 112265 h 116611"/>
                  <a:gd name="connsiteX2" fmla="*/ 116385 w 119385"/>
                  <a:gd name="connsiteY2" fmla="*/ 116612 h 116611"/>
                  <a:gd name="connsiteX3" fmla="*/ 85831 w 119385"/>
                  <a:gd name="connsiteY3" fmla="*/ 116612 h 116611"/>
                  <a:gd name="connsiteX4" fmla="*/ 80718 w 119385"/>
                  <a:gd name="connsiteY4" fmla="*/ 113919 h 116611"/>
                  <a:gd name="connsiteX5" fmla="*/ 59693 w 119385"/>
                  <a:gd name="connsiteY5" fmla="*/ 81751 h 116611"/>
                  <a:gd name="connsiteX6" fmla="*/ 38667 w 119385"/>
                  <a:gd name="connsiteY6" fmla="*/ 113919 h 116611"/>
                  <a:gd name="connsiteX7" fmla="*/ 33554 w 119385"/>
                  <a:gd name="connsiteY7" fmla="*/ 116612 h 116611"/>
                  <a:gd name="connsiteX8" fmla="*/ 3000 w 119385"/>
                  <a:gd name="connsiteY8" fmla="*/ 116612 h 116611"/>
                  <a:gd name="connsiteX9" fmla="*/ 498 w 119385"/>
                  <a:gd name="connsiteY9" fmla="*/ 112265 h 116611"/>
                  <a:gd name="connsiteX10" fmla="*/ 36753 w 119385"/>
                  <a:gd name="connsiteY10" fmla="*/ 58306 h 116611"/>
                  <a:gd name="connsiteX11" fmla="*/ 498 w 119385"/>
                  <a:gd name="connsiteY11" fmla="*/ 4347 h 116611"/>
                  <a:gd name="connsiteX12" fmla="*/ 3000 w 119385"/>
                  <a:gd name="connsiteY12" fmla="*/ 0 h 116611"/>
                  <a:gd name="connsiteX13" fmla="*/ 34853 w 119385"/>
                  <a:gd name="connsiteY13" fmla="*/ 0 h 116611"/>
                  <a:gd name="connsiteX14" fmla="*/ 37778 w 119385"/>
                  <a:gd name="connsiteY14" fmla="*/ 1449 h 116611"/>
                  <a:gd name="connsiteX15" fmla="*/ 59679 w 119385"/>
                  <a:gd name="connsiteY15" fmla="*/ 34806 h 116611"/>
                  <a:gd name="connsiteX16" fmla="*/ 80240 w 119385"/>
                  <a:gd name="connsiteY16" fmla="*/ 1463 h 116611"/>
                  <a:gd name="connsiteX17" fmla="*/ 83165 w 119385"/>
                  <a:gd name="connsiteY17" fmla="*/ 0 h 116611"/>
                  <a:gd name="connsiteX18" fmla="*/ 115333 w 119385"/>
                  <a:gd name="connsiteY18" fmla="*/ 0 h 116611"/>
                  <a:gd name="connsiteX19" fmla="*/ 117834 w 119385"/>
                  <a:gd name="connsiteY19" fmla="*/ 4334 h 116611"/>
                  <a:gd name="connsiteX20" fmla="*/ 82495 w 119385"/>
                  <a:gd name="connsiteY20" fmla="*/ 58306 h 116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19385" h="116611">
                    <a:moveTo>
                      <a:pt x="82523" y="58306"/>
                    </a:moveTo>
                    <a:lnTo>
                      <a:pt x="118887" y="112265"/>
                    </a:lnTo>
                    <a:cubicBezTo>
                      <a:pt x="120199" y="114124"/>
                      <a:pt x="118764" y="116612"/>
                      <a:pt x="116385" y="116612"/>
                    </a:cubicBezTo>
                    <a:lnTo>
                      <a:pt x="85831" y="116612"/>
                    </a:lnTo>
                    <a:cubicBezTo>
                      <a:pt x="83794" y="116612"/>
                      <a:pt x="81880" y="115600"/>
                      <a:pt x="80718" y="113919"/>
                    </a:cubicBezTo>
                    <a:lnTo>
                      <a:pt x="59693" y="81751"/>
                    </a:lnTo>
                    <a:lnTo>
                      <a:pt x="38667" y="113919"/>
                    </a:lnTo>
                    <a:cubicBezTo>
                      <a:pt x="37505" y="115600"/>
                      <a:pt x="35605" y="116612"/>
                      <a:pt x="33554" y="116612"/>
                    </a:cubicBezTo>
                    <a:lnTo>
                      <a:pt x="3000" y="116612"/>
                    </a:lnTo>
                    <a:cubicBezTo>
                      <a:pt x="621" y="116612"/>
                      <a:pt x="-814" y="114138"/>
                      <a:pt x="498" y="112265"/>
                    </a:cubicBezTo>
                    <a:lnTo>
                      <a:pt x="36753" y="58306"/>
                    </a:lnTo>
                    <a:lnTo>
                      <a:pt x="498" y="4347"/>
                    </a:lnTo>
                    <a:cubicBezTo>
                      <a:pt x="-814" y="2488"/>
                      <a:pt x="621" y="0"/>
                      <a:pt x="3000" y="0"/>
                    </a:cubicBezTo>
                    <a:lnTo>
                      <a:pt x="34853" y="0"/>
                    </a:lnTo>
                    <a:cubicBezTo>
                      <a:pt x="36042" y="0"/>
                      <a:pt x="37149" y="547"/>
                      <a:pt x="37778" y="1449"/>
                    </a:cubicBezTo>
                    <a:lnTo>
                      <a:pt x="59679" y="34806"/>
                    </a:lnTo>
                    <a:lnTo>
                      <a:pt x="80240" y="1463"/>
                    </a:lnTo>
                    <a:cubicBezTo>
                      <a:pt x="80855" y="561"/>
                      <a:pt x="81976" y="0"/>
                      <a:pt x="83165" y="0"/>
                    </a:cubicBezTo>
                    <a:lnTo>
                      <a:pt x="115333" y="0"/>
                    </a:lnTo>
                    <a:cubicBezTo>
                      <a:pt x="117711" y="0"/>
                      <a:pt x="119133" y="2474"/>
                      <a:pt x="117834" y="4334"/>
                    </a:cubicBezTo>
                    <a:lnTo>
                      <a:pt x="82495" y="58306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" name="Freeform: Shape 14">
                <a:extLst>
                  <a:ext uri="{FF2B5EF4-FFF2-40B4-BE49-F238E27FC236}">
                    <a16:creationId xmlns:a16="http://schemas.microsoft.com/office/drawing/2014/main" id="{C7D5FF76-D1C5-0E6D-DE8C-2AC81F1B5F70}"/>
                  </a:ext>
                </a:extLst>
              </p:cNvPr>
              <p:cNvSpPr/>
              <p:nvPr/>
            </p:nvSpPr>
            <p:spPr>
              <a:xfrm>
                <a:off x="11284928" y="6472473"/>
                <a:ext cx="78825" cy="163762"/>
              </a:xfrm>
              <a:custGeom>
                <a:avLst/>
                <a:gdLst>
                  <a:gd name="connsiteX0" fmla="*/ 75722 w 78825"/>
                  <a:gd name="connsiteY0" fmla="*/ 14 h 163762"/>
                  <a:gd name="connsiteX1" fmla="*/ 50377 w 78825"/>
                  <a:gd name="connsiteY1" fmla="*/ 14 h 163762"/>
                  <a:gd name="connsiteX2" fmla="*/ 43801 w 78825"/>
                  <a:gd name="connsiteY2" fmla="*/ 2734 h 163762"/>
                  <a:gd name="connsiteX3" fmla="*/ 19987 w 78825"/>
                  <a:gd name="connsiteY3" fmla="*/ 26549 h 163762"/>
                  <a:gd name="connsiteX4" fmla="*/ 17266 w 78825"/>
                  <a:gd name="connsiteY4" fmla="*/ 33124 h 163762"/>
                  <a:gd name="connsiteX5" fmla="*/ 17266 w 78825"/>
                  <a:gd name="connsiteY5" fmla="*/ 51867 h 163762"/>
                  <a:gd name="connsiteX6" fmla="*/ 3049 w 78825"/>
                  <a:gd name="connsiteY6" fmla="*/ 51867 h 163762"/>
                  <a:gd name="connsiteX7" fmla="*/ 0 w 78825"/>
                  <a:gd name="connsiteY7" fmla="*/ 54916 h 163762"/>
                  <a:gd name="connsiteX8" fmla="*/ 0 w 78825"/>
                  <a:gd name="connsiteY8" fmla="*/ 75955 h 163762"/>
                  <a:gd name="connsiteX9" fmla="*/ 3049 w 78825"/>
                  <a:gd name="connsiteY9" fmla="*/ 79004 h 163762"/>
                  <a:gd name="connsiteX10" fmla="*/ 17266 w 78825"/>
                  <a:gd name="connsiteY10" fmla="*/ 79004 h 163762"/>
                  <a:gd name="connsiteX11" fmla="*/ 17266 w 78825"/>
                  <a:gd name="connsiteY11" fmla="*/ 160659 h 163762"/>
                  <a:gd name="connsiteX12" fmla="*/ 20369 w 78825"/>
                  <a:gd name="connsiteY12" fmla="*/ 163763 h 163762"/>
                  <a:gd name="connsiteX13" fmla="*/ 47109 w 78825"/>
                  <a:gd name="connsiteY13" fmla="*/ 163763 h 163762"/>
                  <a:gd name="connsiteX14" fmla="*/ 50213 w 78825"/>
                  <a:gd name="connsiteY14" fmla="*/ 160659 h 163762"/>
                  <a:gd name="connsiteX15" fmla="*/ 50213 w 78825"/>
                  <a:gd name="connsiteY15" fmla="*/ 78990 h 163762"/>
                  <a:gd name="connsiteX16" fmla="*/ 71443 w 78825"/>
                  <a:gd name="connsiteY16" fmla="*/ 78990 h 163762"/>
                  <a:gd name="connsiteX17" fmla="*/ 74492 w 78825"/>
                  <a:gd name="connsiteY17" fmla="*/ 75941 h 163762"/>
                  <a:gd name="connsiteX18" fmla="*/ 74492 w 78825"/>
                  <a:gd name="connsiteY18" fmla="*/ 54902 h 163762"/>
                  <a:gd name="connsiteX19" fmla="*/ 71443 w 78825"/>
                  <a:gd name="connsiteY19" fmla="*/ 51853 h 163762"/>
                  <a:gd name="connsiteX20" fmla="*/ 50213 w 78825"/>
                  <a:gd name="connsiteY20" fmla="*/ 51853 h 163762"/>
                  <a:gd name="connsiteX21" fmla="*/ 50213 w 78825"/>
                  <a:gd name="connsiteY21" fmla="*/ 38565 h 163762"/>
                  <a:gd name="connsiteX22" fmla="*/ 59509 w 78825"/>
                  <a:gd name="connsiteY22" fmla="*/ 29269 h 163762"/>
                  <a:gd name="connsiteX23" fmla="*/ 75722 w 78825"/>
                  <a:gd name="connsiteY23" fmla="*/ 29269 h 163762"/>
                  <a:gd name="connsiteX24" fmla="*/ 78826 w 78825"/>
                  <a:gd name="connsiteY24" fmla="*/ 26166 h 163762"/>
                  <a:gd name="connsiteX25" fmla="*/ 78826 w 78825"/>
                  <a:gd name="connsiteY25" fmla="*/ 3103 h 163762"/>
                  <a:gd name="connsiteX26" fmla="*/ 75722 w 78825"/>
                  <a:gd name="connsiteY26" fmla="*/ 0 h 163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78825" h="163762">
                    <a:moveTo>
                      <a:pt x="75722" y="14"/>
                    </a:moveTo>
                    <a:lnTo>
                      <a:pt x="50377" y="14"/>
                    </a:lnTo>
                    <a:cubicBezTo>
                      <a:pt x="47916" y="14"/>
                      <a:pt x="45551" y="998"/>
                      <a:pt x="43801" y="2734"/>
                    </a:cubicBezTo>
                    <a:lnTo>
                      <a:pt x="19987" y="26549"/>
                    </a:lnTo>
                    <a:cubicBezTo>
                      <a:pt x="18237" y="28299"/>
                      <a:pt x="17266" y="30664"/>
                      <a:pt x="17266" y="33124"/>
                    </a:cubicBezTo>
                    <a:lnTo>
                      <a:pt x="17266" y="51867"/>
                    </a:lnTo>
                    <a:lnTo>
                      <a:pt x="3049" y="51867"/>
                    </a:lnTo>
                    <a:cubicBezTo>
                      <a:pt x="1367" y="51867"/>
                      <a:pt x="0" y="53234"/>
                      <a:pt x="0" y="54916"/>
                    </a:cubicBezTo>
                    <a:lnTo>
                      <a:pt x="0" y="75955"/>
                    </a:lnTo>
                    <a:cubicBezTo>
                      <a:pt x="0" y="77636"/>
                      <a:pt x="1367" y="79004"/>
                      <a:pt x="3049" y="79004"/>
                    </a:cubicBezTo>
                    <a:lnTo>
                      <a:pt x="17266" y="79004"/>
                    </a:lnTo>
                    <a:lnTo>
                      <a:pt x="17266" y="160659"/>
                    </a:lnTo>
                    <a:cubicBezTo>
                      <a:pt x="17266" y="162368"/>
                      <a:pt x="18661" y="163763"/>
                      <a:pt x="20369" y="163763"/>
                    </a:cubicBezTo>
                    <a:lnTo>
                      <a:pt x="47109" y="163763"/>
                    </a:lnTo>
                    <a:cubicBezTo>
                      <a:pt x="48818" y="163763"/>
                      <a:pt x="50213" y="162368"/>
                      <a:pt x="50213" y="160659"/>
                    </a:cubicBezTo>
                    <a:lnTo>
                      <a:pt x="50213" y="78990"/>
                    </a:lnTo>
                    <a:lnTo>
                      <a:pt x="71443" y="78990"/>
                    </a:lnTo>
                    <a:cubicBezTo>
                      <a:pt x="73125" y="78990"/>
                      <a:pt x="74492" y="77623"/>
                      <a:pt x="74492" y="75941"/>
                    </a:cubicBezTo>
                    <a:lnTo>
                      <a:pt x="74492" y="54902"/>
                    </a:lnTo>
                    <a:cubicBezTo>
                      <a:pt x="74492" y="53220"/>
                      <a:pt x="73125" y="51853"/>
                      <a:pt x="71443" y="51853"/>
                    </a:cubicBezTo>
                    <a:lnTo>
                      <a:pt x="50213" y="51853"/>
                    </a:lnTo>
                    <a:lnTo>
                      <a:pt x="50213" y="38565"/>
                    </a:lnTo>
                    <a:cubicBezTo>
                      <a:pt x="50213" y="33425"/>
                      <a:pt x="54382" y="29269"/>
                      <a:pt x="59509" y="29269"/>
                    </a:cubicBezTo>
                    <a:lnTo>
                      <a:pt x="75722" y="29269"/>
                    </a:lnTo>
                    <a:cubicBezTo>
                      <a:pt x="77431" y="29269"/>
                      <a:pt x="78826" y="27875"/>
                      <a:pt x="78826" y="26166"/>
                    </a:cubicBezTo>
                    <a:lnTo>
                      <a:pt x="78826" y="3103"/>
                    </a:lnTo>
                    <a:cubicBezTo>
                      <a:pt x="78826" y="1394"/>
                      <a:pt x="77431" y="0"/>
                      <a:pt x="75722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" name="Freeform: Shape 15">
                <a:extLst>
                  <a:ext uri="{FF2B5EF4-FFF2-40B4-BE49-F238E27FC236}">
                    <a16:creationId xmlns:a16="http://schemas.microsoft.com/office/drawing/2014/main" id="{B39F8FD6-451F-C64E-DC49-2DA283ECAC8B}"/>
                  </a:ext>
                </a:extLst>
              </p:cNvPr>
              <p:cNvSpPr/>
              <p:nvPr/>
            </p:nvSpPr>
            <p:spPr>
              <a:xfrm>
                <a:off x="11896791" y="6612367"/>
                <a:ext cx="25659" cy="25660"/>
              </a:xfrm>
              <a:custGeom>
                <a:avLst/>
                <a:gdLst>
                  <a:gd name="connsiteX0" fmla="*/ 25660 w 25659"/>
                  <a:gd name="connsiteY0" fmla="*/ 12810 h 25660"/>
                  <a:gd name="connsiteX1" fmla="*/ 12782 w 25659"/>
                  <a:gd name="connsiteY1" fmla="*/ 25660 h 25660"/>
                  <a:gd name="connsiteX2" fmla="*/ 0 w 25659"/>
                  <a:gd name="connsiteY2" fmla="*/ 12810 h 25660"/>
                  <a:gd name="connsiteX3" fmla="*/ 12823 w 25659"/>
                  <a:gd name="connsiteY3" fmla="*/ 0 h 25660"/>
                  <a:gd name="connsiteX4" fmla="*/ 25646 w 25659"/>
                  <a:gd name="connsiteY4" fmla="*/ 12810 h 25660"/>
                  <a:gd name="connsiteX5" fmla="*/ 23691 w 25659"/>
                  <a:gd name="connsiteY5" fmla="*/ 12864 h 25660"/>
                  <a:gd name="connsiteX6" fmla="*/ 12837 w 25659"/>
                  <a:gd name="connsiteY6" fmla="*/ 1832 h 25660"/>
                  <a:gd name="connsiteX7" fmla="*/ 1982 w 25659"/>
                  <a:gd name="connsiteY7" fmla="*/ 12851 h 25660"/>
                  <a:gd name="connsiteX8" fmla="*/ 12782 w 25659"/>
                  <a:gd name="connsiteY8" fmla="*/ 23856 h 25660"/>
                  <a:gd name="connsiteX9" fmla="*/ 23691 w 25659"/>
                  <a:gd name="connsiteY9" fmla="*/ 12864 h 25660"/>
                  <a:gd name="connsiteX10" fmla="*/ 15585 w 25659"/>
                  <a:gd name="connsiteY10" fmla="*/ 14888 h 25660"/>
                  <a:gd name="connsiteX11" fmla="*/ 18811 w 25659"/>
                  <a:gd name="connsiteY11" fmla="*/ 19905 h 25660"/>
                  <a:gd name="connsiteX12" fmla="*/ 16678 w 25659"/>
                  <a:gd name="connsiteY12" fmla="*/ 19905 h 25660"/>
                  <a:gd name="connsiteX13" fmla="*/ 13097 w 25659"/>
                  <a:gd name="connsiteY13" fmla="*/ 14218 h 25660"/>
                  <a:gd name="connsiteX14" fmla="*/ 9829 w 25659"/>
                  <a:gd name="connsiteY14" fmla="*/ 14218 h 25660"/>
                  <a:gd name="connsiteX15" fmla="*/ 9829 w 25659"/>
                  <a:gd name="connsiteY15" fmla="*/ 19905 h 25660"/>
                  <a:gd name="connsiteX16" fmla="*/ 8038 w 25659"/>
                  <a:gd name="connsiteY16" fmla="*/ 19905 h 25660"/>
                  <a:gd name="connsiteX17" fmla="*/ 8038 w 25659"/>
                  <a:gd name="connsiteY17" fmla="*/ 5523 h 25660"/>
                  <a:gd name="connsiteX18" fmla="*/ 13616 w 25659"/>
                  <a:gd name="connsiteY18" fmla="*/ 5523 h 25660"/>
                  <a:gd name="connsiteX19" fmla="*/ 18155 w 25659"/>
                  <a:gd name="connsiteY19" fmla="*/ 9761 h 25660"/>
                  <a:gd name="connsiteX20" fmla="*/ 14887 w 25659"/>
                  <a:gd name="connsiteY20" fmla="*/ 13917 h 25660"/>
                  <a:gd name="connsiteX21" fmla="*/ 15585 w 25659"/>
                  <a:gd name="connsiteY21" fmla="*/ 14901 h 25660"/>
                  <a:gd name="connsiteX22" fmla="*/ 13015 w 25659"/>
                  <a:gd name="connsiteY22" fmla="*/ 12522 h 25660"/>
                  <a:gd name="connsiteX23" fmla="*/ 16282 w 25659"/>
                  <a:gd name="connsiteY23" fmla="*/ 9870 h 25660"/>
                  <a:gd name="connsiteX24" fmla="*/ 13657 w 25659"/>
                  <a:gd name="connsiteY24" fmla="*/ 7191 h 25660"/>
                  <a:gd name="connsiteX25" fmla="*/ 9816 w 25659"/>
                  <a:gd name="connsiteY25" fmla="*/ 7191 h 25660"/>
                  <a:gd name="connsiteX26" fmla="*/ 9816 w 25659"/>
                  <a:gd name="connsiteY26" fmla="*/ 12509 h 25660"/>
                  <a:gd name="connsiteX27" fmla="*/ 13015 w 25659"/>
                  <a:gd name="connsiteY27" fmla="*/ 12509 h 25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25659" h="25660">
                    <a:moveTo>
                      <a:pt x="25660" y="12810"/>
                    </a:moveTo>
                    <a:cubicBezTo>
                      <a:pt x="25660" y="19946"/>
                      <a:pt x="19946" y="25660"/>
                      <a:pt x="12782" y="25660"/>
                    </a:cubicBezTo>
                    <a:cubicBezTo>
                      <a:pt x="5619" y="25660"/>
                      <a:pt x="0" y="19891"/>
                      <a:pt x="0" y="12810"/>
                    </a:cubicBezTo>
                    <a:cubicBezTo>
                      <a:pt x="0" y="5728"/>
                      <a:pt x="5714" y="0"/>
                      <a:pt x="12823" y="0"/>
                    </a:cubicBezTo>
                    <a:cubicBezTo>
                      <a:pt x="19932" y="0"/>
                      <a:pt x="25646" y="5687"/>
                      <a:pt x="25646" y="12810"/>
                    </a:cubicBezTo>
                    <a:close/>
                    <a:moveTo>
                      <a:pt x="23691" y="12864"/>
                    </a:moveTo>
                    <a:cubicBezTo>
                      <a:pt x="23691" y="6712"/>
                      <a:pt x="18838" y="1832"/>
                      <a:pt x="12837" y="1832"/>
                    </a:cubicBezTo>
                    <a:cubicBezTo>
                      <a:pt x="6835" y="1832"/>
                      <a:pt x="1982" y="6658"/>
                      <a:pt x="1982" y="12851"/>
                    </a:cubicBezTo>
                    <a:cubicBezTo>
                      <a:pt x="1982" y="19043"/>
                      <a:pt x="6890" y="23856"/>
                      <a:pt x="12782" y="23856"/>
                    </a:cubicBezTo>
                    <a:cubicBezTo>
                      <a:pt x="18674" y="23856"/>
                      <a:pt x="23691" y="19002"/>
                      <a:pt x="23691" y="12864"/>
                    </a:cubicBezTo>
                    <a:close/>
                    <a:moveTo>
                      <a:pt x="15585" y="14888"/>
                    </a:moveTo>
                    <a:lnTo>
                      <a:pt x="18811" y="19905"/>
                    </a:lnTo>
                    <a:lnTo>
                      <a:pt x="16678" y="19905"/>
                    </a:lnTo>
                    <a:lnTo>
                      <a:pt x="13097" y="14218"/>
                    </a:lnTo>
                    <a:lnTo>
                      <a:pt x="9829" y="14218"/>
                    </a:lnTo>
                    <a:lnTo>
                      <a:pt x="9829" y="19905"/>
                    </a:lnTo>
                    <a:lnTo>
                      <a:pt x="8038" y="19905"/>
                    </a:lnTo>
                    <a:lnTo>
                      <a:pt x="8038" y="5523"/>
                    </a:lnTo>
                    <a:lnTo>
                      <a:pt x="13616" y="5523"/>
                    </a:lnTo>
                    <a:cubicBezTo>
                      <a:pt x="16364" y="5523"/>
                      <a:pt x="18155" y="6999"/>
                      <a:pt x="18155" y="9761"/>
                    </a:cubicBezTo>
                    <a:cubicBezTo>
                      <a:pt x="18155" y="11989"/>
                      <a:pt x="16801" y="13370"/>
                      <a:pt x="14887" y="13917"/>
                    </a:cubicBezTo>
                    <a:cubicBezTo>
                      <a:pt x="15147" y="14204"/>
                      <a:pt x="15407" y="14559"/>
                      <a:pt x="15585" y="14901"/>
                    </a:cubicBezTo>
                    <a:close/>
                    <a:moveTo>
                      <a:pt x="13015" y="12522"/>
                    </a:moveTo>
                    <a:cubicBezTo>
                      <a:pt x="15038" y="12522"/>
                      <a:pt x="16282" y="11565"/>
                      <a:pt x="16282" y="9870"/>
                    </a:cubicBezTo>
                    <a:cubicBezTo>
                      <a:pt x="16282" y="8175"/>
                      <a:pt x="15421" y="7191"/>
                      <a:pt x="13657" y="7191"/>
                    </a:cubicBezTo>
                    <a:lnTo>
                      <a:pt x="9816" y="7191"/>
                    </a:lnTo>
                    <a:lnTo>
                      <a:pt x="9816" y="12509"/>
                    </a:lnTo>
                    <a:lnTo>
                      <a:pt x="13015" y="12509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" name="Freeform: Shape 16">
                <a:extLst>
                  <a:ext uri="{FF2B5EF4-FFF2-40B4-BE49-F238E27FC236}">
                    <a16:creationId xmlns:a16="http://schemas.microsoft.com/office/drawing/2014/main" id="{3003FFDB-E34D-41DA-F1EE-60B6B65A3D20}"/>
                  </a:ext>
                </a:extLst>
              </p:cNvPr>
              <p:cNvSpPr/>
              <p:nvPr/>
            </p:nvSpPr>
            <p:spPr>
              <a:xfrm>
                <a:off x="11620956" y="6472487"/>
                <a:ext cx="32932" cy="163721"/>
              </a:xfrm>
              <a:custGeom>
                <a:avLst/>
                <a:gdLst>
                  <a:gd name="connsiteX0" fmla="*/ 29830 w 32932"/>
                  <a:gd name="connsiteY0" fmla="*/ 0 h 163721"/>
                  <a:gd name="connsiteX1" fmla="*/ 32933 w 32932"/>
                  <a:gd name="connsiteY1" fmla="*/ 3103 h 163721"/>
                  <a:gd name="connsiteX2" fmla="*/ 32933 w 32932"/>
                  <a:gd name="connsiteY2" fmla="*/ 160618 h 163721"/>
                  <a:gd name="connsiteX3" fmla="*/ 29830 w 32932"/>
                  <a:gd name="connsiteY3" fmla="*/ 163722 h 163721"/>
                  <a:gd name="connsiteX4" fmla="*/ 3103 w 32932"/>
                  <a:gd name="connsiteY4" fmla="*/ 163722 h 163721"/>
                  <a:gd name="connsiteX5" fmla="*/ 0 w 32932"/>
                  <a:gd name="connsiteY5" fmla="*/ 160618 h 163721"/>
                  <a:gd name="connsiteX6" fmla="*/ 0 w 32932"/>
                  <a:gd name="connsiteY6" fmla="*/ 3103 h 163721"/>
                  <a:gd name="connsiteX7" fmla="*/ 3103 w 32932"/>
                  <a:gd name="connsiteY7" fmla="*/ 0 h 163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2932" h="163721">
                    <a:moveTo>
                      <a:pt x="29830" y="0"/>
                    </a:moveTo>
                    <a:cubicBezTo>
                      <a:pt x="31544" y="0"/>
                      <a:pt x="32933" y="1389"/>
                      <a:pt x="32933" y="3103"/>
                    </a:cubicBezTo>
                    <a:lnTo>
                      <a:pt x="32933" y="160618"/>
                    </a:lnTo>
                    <a:cubicBezTo>
                      <a:pt x="32933" y="162332"/>
                      <a:pt x="31543" y="163722"/>
                      <a:pt x="29830" y="163722"/>
                    </a:cubicBezTo>
                    <a:lnTo>
                      <a:pt x="3103" y="163722"/>
                    </a:lnTo>
                    <a:cubicBezTo>
                      <a:pt x="1389" y="163722"/>
                      <a:pt x="0" y="162332"/>
                      <a:pt x="0" y="160618"/>
                    </a:cubicBezTo>
                    <a:lnTo>
                      <a:pt x="0" y="3103"/>
                    </a:lnTo>
                    <a:cubicBezTo>
                      <a:pt x="0" y="1389"/>
                      <a:pt x="1389" y="0"/>
                      <a:pt x="3103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" name="Freeform: Shape 17">
                <a:extLst>
                  <a:ext uri="{FF2B5EF4-FFF2-40B4-BE49-F238E27FC236}">
                    <a16:creationId xmlns:a16="http://schemas.microsoft.com/office/drawing/2014/main" id="{D9ECA4CC-E3D8-FCB8-151F-8EE3E5269EE5}"/>
                  </a:ext>
                </a:extLst>
              </p:cNvPr>
              <p:cNvSpPr/>
              <p:nvPr/>
            </p:nvSpPr>
            <p:spPr>
              <a:xfrm>
                <a:off x="11488486" y="6472473"/>
                <a:ext cx="123638" cy="166086"/>
              </a:xfrm>
              <a:custGeom>
                <a:avLst/>
                <a:gdLst>
                  <a:gd name="connsiteX0" fmla="*/ 68737 w 123638"/>
                  <a:gd name="connsiteY0" fmla="*/ 44663 h 166086"/>
                  <a:gd name="connsiteX1" fmla="*/ 32947 w 123638"/>
                  <a:gd name="connsiteY1" fmla="*/ 62052 h 166086"/>
                  <a:gd name="connsiteX2" fmla="*/ 32947 w 123638"/>
                  <a:gd name="connsiteY2" fmla="*/ 3103 h 166086"/>
                  <a:gd name="connsiteX3" fmla="*/ 29843 w 123638"/>
                  <a:gd name="connsiteY3" fmla="*/ 0 h 166086"/>
                  <a:gd name="connsiteX4" fmla="*/ 3103 w 123638"/>
                  <a:gd name="connsiteY4" fmla="*/ 0 h 166086"/>
                  <a:gd name="connsiteX5" fmla="*/ 0 w 123638"/>
                  <a:gd name="connsiteY5" fmla="*/ 3103 h 166086"/>
                  <a:gd name="connsiteX6" fmla="*/ 0 w 123638"/>
                  <a:gd name="connsiteY6" fmla="*/ 160632 h 166086"/>
                  <a:gd name="connsiteX7" fmla="*/ 3103 w 123638"/>
                  <a:gd name="connsiteY7" fmla="*/ 163735 h 166086"/>
                  <a:gd name="connsiteX8" fmla="*/ 29843 w 123638"/>
                  <a:gd name="connsiteY8" fmla="*/ 163735 h 166086"/>
                  <a:gd name="connsiteX9" fmla="*/ 32947 w 123638"/>
                  <a:gd name="connsiteY9" fmla="*/ 160632 h 166086"/>
                  <a:gd name="connsiteX10" fmla="*/ 32947 w 123638"/>
                  <a:gd name="connsiteY10" fmla="*/ 149025 h 166086"/>
                  <a:gd name="connsiteX11" fmla="*/ 68983 w 123638"/>
                  <a:gd name="connsiteY11" fmla="*/ 166087 h 166086"/>
                  <a:gd name="connsiteX12" fmla="*/ 123638 w 123638"/>
                  <a:gd name="connsiteY12" fmla="*/ 105539 h 166086"/>
                  <a:gd name="connsiteX13" fmla="*/ 68750 w 123638"/>
                  <a:gd name="connsiteY13" fmla="*/ 44663 h 166086"/>
                  <a:gd name="connsiteX14" fmla="*/ 62188 w 123638"/>
                  <a:gd name="connsiteY14" fmla="*/ 135163 h 166086"/>
                  <a:gd name="connsiteX15" fmla="*/ 32947 w 123638"/>
                  <a:gd name="connsiteY15" fmla="*/ 105552 h 166086"/>
                  <a:gd name="connsiteX16" fmla="*/ 62188 w 123638"/>
                  <a:gd name="connsiteY16" fmla="*/ 76174 h 166086"/>
                  <a:gd name="connsiteX17" fmla="*/ 90965 w 123638"/>
                  <a:gd name="connsiteY17" fmla="*/ 105552 h 166086"/>
                  <a:gd name="connsiteX18" fmla="*/ 62188 w 123638"/>
                  <a:gd name="connsiteY18" fmla="*/ 135163 h 166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23638" h="166086">
                    <a:moveTo>
                      <a:pt x="68737" y="44663"/>
                    </a:moveTo>
                    <a:cubicBezTo>
                      <a:pt x="53535" y="44663"/>
                      <a:pt x="40889" y="51252"/>
                      <a:pt x="32947" y="62052"/>
                    </a:cubicBezTo>
                    <a:lnTo>
                      <a:pt x="32947" y="3103"/>
                    </a:lnTo>
                    <a:cubicBezTo>
                      <a:pt x="32947" y="1394"/>
                      <a:pt x="31552" y="0"/>
                      <a:pt x="29843" y="0"/>
                    </a:cubicBezTo>
                    <a:lnTo>
                      <a:pt x="3103" y="0"/>
                    </a:lnTo>
                    <a:cubicBezTo>
                      <a:pt x="1394" y="0"/>
                      <a:pt x="0" y="1394"/>
                      <a:pt x="0" y="3103"/>
                    </a:cubicBezTo>
                    <a:lnTo>
                      <a:pt x="0" y="160632"/>
                    </a:lnTo>
                    <a:cubicBezTo>
                      <a:pt x="0" y="162341"/>
                      <a:pt x="1394" y="163735"/>
                      <a:pt x="3103" y="163735"/>
                    </a:cubicBezTo>
                    <a:lnTo>
                      <a:pt x="29843" y="163735"/>
                    </a:lnTo>
                    <a:cubicBezTo>
                      <a:pt x="31552" y="163735"/>
                      <a:pt x="32947" y="162341"/>
                      <a:pt x="32947" y="160632"/>
                    </a:cubicBezTo>
                    <a:lnTo>
                      <a:pt x="32947" y="149025"/>
                    </a:lnTo>
                    <a:cubicBezTo>
                      <a:pt x="40903" y="159839"/>
                      <a:pt x="53535" y="166087"/>
                      <a:pt x="68983" y="166087"/>
                    </a:cubicBezTo>
                    <a:cubicBezTo>
                      <a:pt x="101505" y="166087"/>
                      <a:pt x="123638" y="139852"/>
                      <a:pt x="123638" y="105539"/>
                    </a:cubicBezTo>
                    <a:cubicBezTo>
                      <a:pt x="123638" y="71225"/>
                      <a:pt x="101505" y="44663"/>
                      <a:pt x="68750" y="44663"/>
                    </a:cubicBezTo>
                    <a:close/>
                    <a:moveTo>
                      <a:pt x="62188" y="135163"/>
                    </a:moveTo>
                    <a:cubicBezTo>
                      <a:pt x="45346" y="135163"/>
                      <a:pt x="32947" y="121533"/>
                      <a:pt x="32947" y="105552"/>
                    </a:cubicBezTo>
                    <a:cubicBezTo>
                      <a:pt x="32947" y="89571"/>
                      <a:pt x="45346" y="76174"/>
                      <a:pt x="62188" y="76174"/>
                    </a:cubicBezTo>
                    <a:cubicBezTo>
                      <a:pt x="79031" y="76174"/>
                      <a:pt x="90965" y="89571"/>
                      <a:pt x="90965" y="105552"/>
                    </a:cubicBezTo>
                    <a:cubicBezTo>
                      <a:pt x="90965" y="121533"/>
                      <a:pt x="78798" y="135163"/>
                      <a:pt x="62188" y="13516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" name="Freeform: Shape 18">
                <a:extLst>
                  <a:ext uri="{FF2B5EF4-FFF2-40B4-BE49-F238E27FC236}">
                    <a16:creationId xmlns:a16="http://schemas.microsoft.com/office/drawing/2014/main" id="{5382CB98-5474-292E-F762-4612E2FFF109}"/>
                  </a:ext>
                </a:extLst>
              </p:cNvPr>
              <p:cNvSpPr/>
              <p:nvPr/>
            </p:nvSpPr>
            <p:spPr>
              <a:xfrm>
                <a:off x="11359421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" name="Freeform: Shape 19">
                <a:extLst>
                  <a:ext uri="{FF2B5EF4-FFF2-40B4-BE49-F238E27FC236}">
                    <a16:creationId xmlns:a16="http://schemas.microsoft.com/office/drawing/2014/main" id="{883122FB-831B-DE76-E07A-87DAFE6225D0}"/>
                  </a:ext>
                </a:extLst>
              </p:cNvPr>
              <p:cNvSpPr/>
              <p:nvPr/>
            </p:nvSpPr>
            <p:spPr>
              <a:xfrm>
                <a:off x="11662542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" name="Freeform: Shape 20">
                <a:extLst>
                  <a:ext uri="{FF2B5EF4-FFF2-40B4-BE49-F238E27FC236}">
                    <a16:creationId xmlns:a16="http://schemas.microsoft.com/office/drawing/2014/main" id="{5BE8D63C-78B7-6A2B-1ACE-B1DB46522C9A}"/>
                  </a:ext>
                </a:extLst>
              </p:cNvPr>
              <p:cNvSpPr/>
              <p:nvPr/>
            </p:nvSpPr>
            <p:spPr>
              <a:xfrm>
                <a:off x="11122821" y="6519528"/>
                <a:ext cx="32932" cy="116680"/>
              </a:xfrm>
              <a:custGeom>
                <a:avLst/>
                <a:gdLst>
                  <a:gd name="connsiteX0" fmla="*/ 29843 w 32932"/>
                  <a:gd name="connsiteY0" fmla="*/ 116680 h 116680"/>
                  <a:gd name="connsiteX1" fmla="*/ 3103 w 32932"/>
                  <a:gd name="connsiteY1" fmla="*/ 116680 h 116680"/>
                  <a:gd name="connsiteX2" fmla="*/ 0 w 32932"/>
                  <a:gd name="connsiteY2" fmla="*/ 113577 h 116680"/>
                  <a:gd name="connsiteX3" fmla="*/ 0 w 32932"/>
                  <a:gd name="connsiteY3" fmla="*/ 30554 h 116680"/>
                  <a:gd name="connsiteX4" fmla="*/ 1859 w 32932"/>
                  <a:gd name="connsiteY4" fmla="*/ 26125 h 116680"/>
                  <a:gd name="connsiteX5" fmla="*/ 27670 w 32932"/>
                  <a:gd name="connsiteY5" fmla="*/ 888 h 116680"/>
                  <a:gd name="connsiteX6" fmla="*/ 32933 w 32932"/>
                  <a:gd name="connsiteY6" fmla="*/ 3103 h 116680"/>
                  <a:gd name="connsiteX7" fmla="*/ 32933 w 32932"/>
                  <a:gd name="connsiteY7" fmla="*/ 113577 h 116680"/>
                  <a:gd name="connsiteX8" fmla="*/ 29830 w 32932"/>
                  <a:gd name="connsiteY8" fmla="*/ 116680 h 116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932" h="116680">
                    <a:moveTo>
                      <a:pt x="29843" y="116680"/>
                    </a:moveTo>
                    <a:lnTo>
                      <a:pt x="3103" y="116680"/>
                    </a:lnTo>
                    <a:cubicBezTo>
                      <a:pt x="1394" y="116680"/>
                      <a:pt x="0" y="115286"/>
                      <a:pt x="0" y="113577"/>
                    </a:cubicBezTo>
                    <a:lnTo>
                      <a:pt x="0" y="30554"/>
                    </a:lnTo>
                    <a:cubicBezTo>
                      <a:pt x="0" y="28886"/>
                      <a:pt x="670" y="27287"/>
                      <a:pt x="1859" y="26125"/>
                    </a:cubicBezTo>
                    <a:lnTo>
                      <a:pt x="27670" y="888"/>
                    </a:lnTo>
                    <a:cubicBezTo>
                      <a:pt x="29638" y="-1026"/>
                      <a:pt x="32933" y="355"/>
                      <a:pt x="32933" y="3103"/>
                    </a:cubicBezTo>
                    <a:lnTo>
                      <a:pt x="32933" y="113577"/>
                    </a:lnTo>
                    <a:cubicBezTo>
                      <a:pt x="32933" y="115286"/>
                      <a:pt x="31538" y="116680"/>
                      <a:pt x="29830" y="11668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" name="Freeform: Shape 21">
                <a:extLst>
                  <a:ext uri="{FF2B5EF4-FFF2-40B4-BE49-F238E27FC236}">
                    <a16:creationId xmlns:a16="http://schemas.microsoft.com/office/drawing/2014/main" id="{17F6FBDB-CFE7-E6BC-9DB0-44EFE5777A6F}"/>
                  </a:ext>
                </a:extLst>
              </p:cNvPr>
              <p:cNvSpPr/>
              <p:nvPr/>
            </p:nvSpPr>
            <p:spPr>
              <a:xfrm>
                <a:off x="11173074" y="6517105"/>
                <a:ext cx="107493" cy="119116"/>
              </a:xfrm>
              <a:custGeom>
                <a:avLst/>
                <a:gdLst>
                  <a:gd name="connsiteX0" fmla="*/ 107480 w 107493"/>
                  <a:gd name="connsiteY0" fmla="*/ 41877 h 119116"/>
                  <a:gd name="connsiteX1" fmla="*/ 65237 w 107493"/>
                  <a:gd name="connsiteY1" fmla="*/ 3 h 119116"/>
                  <a:gd name="connsiteX2" fmla="*/ 32947 w 107493"/>
                  <a:gd name="connsiteY2" fmla="*/ 17474 h 119116"/>
                  <a:gd name="connsiteX3" fmla="*/ 32947 w 107493"/>
                  <a:gd name="connsiteY3" fmla="*/ 5581 h 119116"/>
                  <a:gd name="connsiteX4" fmla="*/ 29843 w 107493"/>
                  <a:gd name="connsiteY4" fmla="*/ 2478 h 119116"/>
                  <a:gd name="connsiteX5" fmla="*/ 3103 w 107493"/>
                  <a:gd name="connsiteY5" fmla="*/ 2478 h 119116"/>
                  <a:gd name="connsiteX6" fmla="*/ 0 w 107493"/>
                  <a:gd name="connsiteY6" fmla="*/ 5581 h 119116"/>
                  <a:gd name="connsiteX7" fmla="*/ 0 w 107493"/>
                  <a:gd name="connsiteY7" fmla="*/ 116000 h 119116"/>
                  <a:gd name="connsiteX8" fmla="*/ 3103 w 107493"/>
                  <a:gd name="connsiteY8" fmla="*/ 119103 h 119116"/>
                  <a:gd name="connsiteX9" fmla="*/ 29843 w 107493"/>
                  <a:gd name="connsiteY9" fmla="*/ 119103 h 119116"/>
                  <a:gd name="connsiteX10" fmla="*/ 32947 w 107493"/>
                  <a:gd name="connsiteY10" fmla="*/ 116000 h 119116"/>
                  <a:gd name="connsiteX11" fmla="*/ 32947 w 107493"/>
                  <a:gd name="connsiteY11" fmla="*/ 51788 h 119116"/>
                  <a:gd name="connsiteX12" fmla="*/ 53740 w 107493"/>
                  <a:gd name="connsiteY12" fmla="*/ 31747 h 119116"/>
                  <a:gd name="connsiteX13" fmla="*/ 74547 w 107493"/>
                  <a:gd name="connsiteY13" fmla="*/ 53210 h 119116"/>
                  <a:gd name="connsiteX14" fmla="*/ 74547 w 107493"/>
                  <a:gd name="connsiteY14" fmla="*/ 116014 h 119116"/>
                  <a:gd name="connsiteX15" fmla="*/ 77650 w 107493"/>
                  <a:gd name="connsiteY15" fmla="*/ 119117 h 119116"/>
                  <a:gd name="connsiteX16" fmla="*/ 104390 w 107493"/>
                  <a:gd name="connsiteY16" fmla="*/ 119117 h 119116"/>
                  <a:gd name="connsiteX17" fmla="*/ 107493 w 107493"/>
                  <a:gd name="connsiteY17" fmla="*/ 116014 h 119116"/>
                  <a:gd name="connsiteX18" fmla="*/ 107493 w 107493"/>
                  <a:gd name="connsiteY18" fmla="*/ 41890 h 119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7493" h="119116">
                    <a:moveTo>
                      <a:pt x="107480" y="41877"/>
                    </a:moveTo>
                    <a:cubicBezTo>
                      <a:pt x="107480" y="19252"/>
                      <a:pt x="88792" y="277"/>
                      <a:pt x="65237" y="3"/>
                    </a:cubicBezTo>
                    <a:cubicBezTo>
                      <a:pt x="49912" y="-175"/>
                      <a:pt x="39563" y="7331"/>
                      <a:pt x="32947" y="17474"/>
                    </a:cubicBezTo>
                    <a:lnTo>
                      <a:pt x="32947" y="5581"/>
                    </a:lnTo>
                    <a:cubicBezTo>
                      <a:pt x="32947" y="3872"/>
                      <a:pt x="31552" y="2478"/>
                      <a:pt x="29843" y="2478"/>
                    </a:cubicBezTo>
                    <a:lnTo>
                      <a:pt x="3103" y="2478"/>
                    </a:lnTo>
                    <a:cubicBezTo>
                      <a:pt x="1394" y="2478"/>
                      <a:pt x="0" y="3872"/>
                      <a:pt x="0" y="5581"/>
                    </a:cubicBezTo>
                    <a:lnTo>
                      <a:pt x="0" y="116000"/>
                    </a:lnTo>
                    <a:cubicBezTo>
                      <a:pt x="0" y="117709"/>
                      <a:pt x="1394" y="119103"/>
                      <a:pt x="3103" y="119103"/>
                    </a:cubicBezTo>
                    <a:lnTo>
                      <a:pt x="29843" y="119103"/>
                    </a:lnTo>
                    <a:cubicBezTo>
                      <a:pt x="31552" y="119103"/>
                      <a:pt x="32947" y="117709"/>
                      <a:pt x="32947" y="116000"/>
                    </a:cubicBezTo>
                    <a:lnTo>
                      <a:pt x="32947" y="51788"/>
                    </a:lnTo>
                    <a:cubicBezTo>
                      <a:pt x="33685" y="39430"/>
                      <a:pt x="41518" y="31747"/>
                      <a:pt x="53740" y="31747"/>
                    </a:cubicBezTo>
                    <a:cubicBezTo>
                      <a:pt x="65961" y="31747"/>
                      <a:pt x="74547" y="40373"/>
                      <a:pt x="74547" y="53210"/>
                    </a:cubicBezTo>
                    <a:lnTo>
                      <a:pt x="74547" y="116014"/>
                    </a:lnTo>
                    <a:cubicBezTo>
                      <a:pt x="74547" y="117722"/>
                      <a:pt x="75941" y="119117"/>
                      <a:pt x="77650" y="119117"/>
                    </a:cubicBezTo>
                    <a:lnTo>
                      <a:pt x="104390" y="119117"/>
                    </a:lnTo>
                    <a:cubicBezTo>
                      <a:pt x="106099" y="119117"/>
                      <a:pt x="107493" y="117722"/>
                      <a:pt x="107493" y="116014"/>
                    </a:cubicBezTo>
                    <a:lnTo>
                      <a:pt x="107493" y="41890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5" name="Title 1">
            <a:extLst>
              <a:ext uri="{FF2B5EF4-FFF2-40B4-BE49-F238E27FC236}">
                <a16:creationId xmlns:a16="http://schemas.microsoft.com/office/drawing/2014/main" id="{3564880D-1526-2339-31A9-EC15260295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978" y="297451"/>
            <a:ext cx="11118522" cy="815043"/>
          </a:xfrm>
          <a:prstGeom prst="rect">
            <a:avLst/>
          </a:prstGeom>
        </p:spPr>
        <p:txBody>
          <a:bodyPr anchor="b" anchorCtr="0"/>
          <a:lstStyle>
            <a:lvl1pPr>
              <a:defRPr sz="3400" b="1" i="0" cap="all" baseline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r>
              <a:rPr lang="en-US"/>
              <a:t>Slide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F9A0678-8AF6-9730-D361-F0F6D53C04DB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501983" y="1264141"/>
            <a:ext cx="11118517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kumimoji="0" lang="en-US" sz="2400" b="0" i="0" u="none" strike="noStrike" cap="all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Roboto Slab" pitchFamily="2" charset="0"/>
                <a:cs typeface="Arial" panose="020B0604020202020204" pitchFamily="34" charset="0"/>
              </a:defRPr>
            </a:lvl1pPr>
          </a:lstStyle>
          <a:p>
            <a:pPr marL="228600" marR="0" lvl="0" indent="-22860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ubtitl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C77CFE2-DE33-B933-5E3D-61C5E8BF802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1978" y="1902065"/>
            <a:ext cx="11118517" cy="4471988"/>
          </a:xfrm>
          <a:prstGeom prst="rect">
            <a:avLst/>
          </a:prstGeom>
        </p:spPr>
        <p:txBody>
          <a:bodyPr/>
          <a:lstStyle>
            <a:lvl1pPr marL="216000" indent="-216000">
              <a:spcBef>
                <a:spcPts val="1200"/>
              </a:spcBef>
              <a:buClr>
                <a:srgbClr val="00BD4D"/>
              </a:buClr>
              <a:defRPr sz="2000">
                <a:solidFill>
                  <a:schemeClr val="bg1"/>
                </a:solidFill>
              </a:defRPr>
            </a:lvl1pPr>
            <a:lvl2pPr marL="432000" indent="-216000">
              <a:spcBef>
                <a:spcPts val="1200"/>
              </a:spcBef>
              <a:buClr>
                <a:srgbClr val="00BD4D"/>
              </a:buClr>
              <a:defRPr sz="1800">
                <a:solidFill>
                  <a:schemeClr val="bg1"/>
                </a:solidFill>
              </a:defRPr>
            </a:lvl2pPr>
            <a:lvl3pPr marL="648000" indent="-216000">
              <a:spcBef>
                <a:spcPts val="1200"/>
              </a:spcBef>
              <a:buClr>
                <a:srgbClr val="00BD4D"/>
              </a:buClr>
              <a:defRPr sz="1600">
                <a:solidFill>
                  <a:schemeClr val="bg1"/>
                </a:solidFill>
              </a:defRPr>
            </a:lvl3pPr>
            <a:lvl4pPr marL="864000" indent="-216000">
              <a:spcBef>
                <a:spcPts val="1200"/>
              </a:spcBef>
              <a:buClr>
                <a:srgbClr val="00BD4D"/>
              </a:buClr>
              <a:defRPr sz="1400">
                <a:solidFill>
                  <a:schemeClr val="bg1"/>
                </a:solidFill>
              </a:defRPr>
            </a:lvl4pPr>
            <a:lvl5pPr marL="1080000" indent="-216000">
              <a:spcBef>
                <a:spcPts val="1200"/>
              </a:spcBef>
              <a:buClr>
                <a:srgbClr val="00BD4D"/>
              </a:buCl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7D4386A-F54E-1D9A-CC04-0262F091CDE1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546582" y="1135122"/>
            <a:ext cx="5943600" cy="27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5810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lank">
  <p:cSld name="2_Blank">
    <p:spTree>
      <p:nvGrpSpPr>
        <p:cNvPr id="1" name="Shape 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oogle Shape;7;p36"/>
          <p:cNvGrpSpPr/>
          <p:nvPr/>
        </p:nvGrpSpPr>
        <p:grpSpPr>
          <a:xfrm>
            <a:off x="11122822" y="6466192"/>
            <a:ext cx="799629" cy="172381"/>
            <a:chOff x="11122821" y="6466192"/>
            <a:chExt cx="799629" cy="172381"/>
          </a:xfrm>
        </p:grpSpPr>
        <p:sp>
          <p:nvSpPr>
            <p:cNvPr id="8" name="Google Shape;8;p36"/>
            <p:cNvSpPr/>
            <p:nvPr/>
          </p:nvSpPr>
          <p:spPr>
            <a:xfrm rot="-2700000">
              <a:off x="11134961" y="6473475"/>
              <a:ext cx="35167" cy="35167"/>
            </a:xfrm>
            <a:custGeom>
              <a:avLst/>
              <a:gdLst/>
              <a:ahLst/>
              <a:cxnLst/>
              <a:rect l="l" t="t" r="r" b="b"/>
              <a:pathLst>
                <a:path w="35147" h="35147" extrusionOk="0">
                  <a:moveTo>
                    <a:pt x="32044" y="0"/>
                  </a:moveTo>
                  <a:cubicBezTo>
                    <a:pt x="33758" y="0"/>
                    <a:pt x="35148" y="1389"/>
                    <a:pt x="35148" y="3103"/>
                  </a:cubicBezTo>
                  <a:lnTo>
                    <a:pt x="35148" y="32044"/>
                  </a:lnTo>
                  <a:cubicBezTo>
                    <a:pt x="35148" y="33758"/>
                    <a:pt x="33758" y="35148"/>
                    <a:pt x="32044" y="35148"/>
                  </a:cubicBezTo>
                  <a:lnTo>
                    <a:pt x="3103" y="35148"/>
                  </a:lnTo>
                  <a:cubicBezTo>
                    <a:pt x="1389" y="35148"/>
                    <a:pt x="0" y="33758"/>
                    <a:pt x="0" y="32044"/>
                  </a:cubicBezTo>
                  <a:lnTo>
                    <a:pt x="0" y="3103"/>
                  </a:lnTo>
                  <a:cubicBezTo>
                    <a:pt x="0" y="1389"/>
                    <a:pt x="1389" y="0"/>
                    <a:pt x="3103" y="0"/>
                  </a:cubicBezTo>
                  <a:close/>
                </a:path>
              </a:pathLst>
            </a:custGeom>
            <a:solidFill>
              <a:srgbClr val="00BD4D"/>
            </a:solidFill>
            <a:ln>
              <a:noFill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Lato Light"/>
                <a:buNone/>
              </a:pPr>
              <a:endParaRPr sz="1867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9" name="Google Shape;9;p36"/>
            <p:cNvGrpSpPr/>
            <p:nvPr/>
          </p:nvGrpSpPr>
          <p:grpSpPr>
            <a:xfrm>
              <a:off x="11122821" y="6472473"/>
              <a:ext cx="799629" cy="166100"/>
              <a:chOff x="11122821" y="6472473"/>
              <a:chExt cx="799629" cy="166100"/>
            </a:xfrm>
          </p:grpSpPr>
          <p:sp>
            <p:nvSpPr>
              <p:cNvPr id="10" name="Google Shape;10;p36"/>
              <p:cNvSpPr/>
              <p:nvPr/>
            </p:nvSpPr>
            <p:spPr>
              <a:xfrm>
                <a:off x="11774281" y="6519597"/>
                <a:ext cx="119385" cy="116611"/>
              </a:xfrm>
              <a:custGeom>
                <a:avLst/>
                <a:gdLst/>
                <a:ahLst/>
                <a:cxnLst/>
                <a:rect l="l" t="t" r="r" b="b"/>
                <a:pathLst>
                  <a:path w="119385" h="116611" extrusionOk="0">
                    <a:moveTo>
                      <a:pt x="82523" y="58306"/>
                    </a:moveTo>
                    <a:lnTo>
                      <a:pt x="118887" y="112265"/>
                    </a:lnTo>
                    <a:cubicBezTo>
                      <a:pt x="120199" y="114124"/>
                      <a:pt x="118764" y="116612"/>
                      <a:pt x="116385" y="116612"/>
                    </a:cubicBezTo>
                    <a:lnTo>
                      <a:pt x="85831" y="116612"/>
                    </a:lnTo>
                    <a:cubicBezTo>
                      <a:pt x="83794" y="116612"/>
                      <a:pt x="81880" y="115600"/>
                      <a:pt x="80718" y="113919"/>
                    </a:cubicBezTo>
                    <a:lnTo>
                      <a:pt x="59693" y="81751"/>
                    </a:lnTo>
                    <a:lnTo>
                      <a:pt x="38667" y="113919"/>
                    </a:lnTo>
                    <a:cubicBezTo>
                      <a:pt x="37505" y="115600"/>
                      <a:pt x="35605" y="116612"/>
                      <a:pt x="33554" y="116612"/>
                    </a:cubicBezTo>
                    <a:lnTo>
                      <a:pt x="3000" y="116612"/>
                    </a:lnTo>
                    <a:cubicBezTo>
                      <a:pt x="621" y="116612"/>
                      <a:pt x="-814" y="114138"/>
                      <a:pt x="498" y="112265"/>
                    </a:cubicBezTo>
                    <a:lnTo>
                      <a:pt x="36753" y="58306"/>
                    </a:lnTo>
                    <a:lnTo>
                      <a:pt x="498" y="4347"/>
                    </a:lnTo>
                    <a:cubicBezTo>
                      <a:pt x="-814" y="2488"/>
                      <a:pt x="621" y="0"/>
                      <a:pt x="3000" y="0"/>
                    </a:cubicBezTo>
                    <a:lnTo>
                      <a:pt x="34853" y="0"/>
                    </a:lnTo>
                    <a:cubicBezTo>
                      <a:pt x="36042" y="0"/>
                      <a:pt x="37149" y="547"/>
                      <a:pt x="37778" y="1449"/>
                    </a:cubicBezTo>
                    <a:lnTo>
                      <a:pt x="59679" y="34806"/>
                    </a:lnTo>
                    <a:lnTo>
                      <a:pt x="80240" y="1463"/>
                    </a:lnTo>
                    <a:cubicBezTo>
                      <a:pt x="80855" y="561"/>
                      <a:pt x="81976" y="0"/>
                      <a:pt x="83165" y="0"/>
                    </a:cubicBezTo>
                    <a:lnTo>
                      <a:pt x="115333" y="0"/>
                    </a:lnTo>
                    <a:cubicBezTo>
                      <a:pt x="117711" y="0"/>
                      <a:pt x="119133" y="2474"/>
                      <a:pt x="117834" y="4334"/>
                    </a:cubicBezTo>
                    <a:lnTo>
                      <a:pt x="82495" y="5830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" name="Google Shape;11;p36"/>
              <p:cNvSpPr/>
              <p:nvPr/>
            </p:nvSpPr>
            <p:spPr>
              <a:xfrm>
                <a:off x="11284928" y="6472473"/>
                <a:ext cx="78825" cy="163762"/>
              </a:xfrm>
              <a:custGeom>
                <a:avLst/>
                <a:gdLst/>
                <a:ahLst/>
                <a:cxnLst/>
                <a:rect l="l" t="t" r="r" b="b"/>
                <a:pathLst>
                  <a:path w="78825" h="163762" extrusionOk="0">
                    <a:moveTo>
                      <a:pt x="75722" y="14"/>
                    </a:moveTo>
                    <a:lnTo>
                      <a:pt x="50377" y="14"/>
                    </a:lnTo>
                    <a:cubicBezTo>
                      <a:pt x="47916" y="14"/>
                      <a:pt x="45551" y="998"/>
                      <a:pt x="43801" y="2734"/>
                    </a:cubicBezTo>
                    <a:lnTo>
                      <a:pt x="19987" y="26549"/>
                    </a:lnTo>
                    <a:cubicBezTo>
                      <a:pt x="18237" y="28299"/>
                      <a:pt x="17266" y="30664"/>
                      <a:pt x="17266" y="33124"/>
                    </a:cubicBezTo>
                    <a:lnTo>
                      <a:pt x="17266" y="51867"/>
                    </a:lnTo>
                    <a:lnTo>
                      <a:pt x="3049" y="51867"/>
                    </a:lnTo>
                    <a:cubicBezTo>
                      <a:pt x="1367" y="51867"/>
                      <a:pt x="0" y="53234"/>
                      <a:pt x="0" y="54916"/>
                    </a:cubicBezTo>
                    <a:lnTo>
                      <a:pt x="0" y="75955"/>
                    </a:lnTo>
                    <a:cubicBezTo>
                      <a:pt x="0" y="77636"/>
                      <a:pt x="1367" y="79004"/>
                      <a:pt x="3049" y="79004"/>
                    </a:cubicBezTo>
                    <a:lnTo>
                      <a:pt x="17266" y="79004"/>
                    </a:lnTo>
                    <a:lnTo>
                      <a:pt x="17266" y="160659"/>
                    </a:lnTo>
                    <a:cubicBezTo>
                      <a:pt x="17266" y="162368"/>
                      <a:pt x="18661" y="163763"/>
                      <a:pt x="20369" y="163763"/>
                    </a:cubicBezTo>
                    <a:lnTo>
                      <a:pt x="47109" y="163763"/>
                    </a:lnTo>
                    <a:cubicBezTo>
                      <a:pt x="48818" y="163763"/>
                      <a:pt x="50213" y="162368"/>
                      <a:pt x="50213" y="160659"/>
                    </a:cubicBezTo>
                    <a:lnTo>
                      <a:pt x="50213" y="78990"/>
                    </a:lnTo>
                    <a:lnTo>
                      <a:pt x="71443" y="78990"/>
                    </a:lnTo>
                    <a:cubicBezTo>
                      <a:pt x="73125" y="78990"/>
                      <a:pt x="74492" y="77623"/>
                      <a:pt x="74492" y="75941"/>
                    </a:cubicBezTo>
                    <a:lnTo>
                      <a:pt x="74492" y="54902"/>
                    </a:lnTo>
                    <a:cubicBezTo>
                      <a:pt x="74492" y="53220"/>
                      <a:pt x="73125" y="51853"/>
                      <a:pt x="71443" y="51853"/>
                    </a:cubicBezTo>
                    <a:lnTo>
                      <a:pt x="50213" y="51853"/>
                    </a:lnTo>
                    <a:lnTo>
                      <a:pt x="50213" y="38565"/>
                    </a:lnTo>
                    <a:cubicBezTo>
                      <a:pt x="50213" y="33425"/>
                      <a:pt x="54382" y="29269"/>
                      <a:pt x="59509" y="29269"/>
                    </a:cubicBezTo>
                    <a:lnTo>
                      <a:pt x="75722" y="29269"/>
                    </a:lnTo>
                    <a:cubicBezTo>
                      <a:pt x="77431" y="29269"/>
                      <a:pt x="78826" y="27875"/>
                      <a:pt x="78826" y="26166"/>
                    </a:cubicBezTo>
                    <a:lnTo>
                      <a:pt x="78826" y="3103"/>
                    </a:lnTo>
                    <a:cubicBezTo>
                      <a:pt x="78826" y="1394"/>
                      <a:pt x="77431" y="0"/>
                      <a:pt x="75722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" name="Google Shape;12;p36"/>
              <p:cNvSpPr/>
              <p:nvPr/>
            </p:nvSpPr>
            <p:spPr>
              <a:xfrm>
                <a:off x="11896791" y="6612367"/>
                <a:ext cx="25659" cy="25660"/>
              </a:xfrm>
              <a:custGeom>
                <a:avLst/>
                <a:gdLst/>
                <a:ahLst/>
                <a:cxnLst/>
                <a:rect l="l" t="t" r="r" b="b"/>
                <a:pathLst>
                  <a:path w="25659" h="25660" extrusionOk="0">
                    <a:moveTo>
                      <a:pt x="25660" y="12810"/>
                    </a:moveTo>
                    <a:cubicBezTo>
                      <a:pt x="25660" y="19946"/>
                      <a:pt x="19946" y="25660"/>
                      <a:pt x="12782" y="25660"/>
                    </a:cubicBezTo>
                    <a:cubicBezTo>
                      <a:pt x="5619" y="25660"/>
                      <a:pt x="0" y="19891"/>
                      <a:pt x="0" y="12810"/>
                    </a:cubicBezTo>
                    <a:cubicBezTo>
                      <a:pt x="0" y="5728"/>
                      <a:pt x="5714" y="0"/>
                      <a:pt x="12823" y="0"/>
                    </a:cubicBezTo>
                    <a:cubicBezTo>
                      <a:pt x="19932" y="0"/>
                      <a:pt x="25646" y="5687"/>
                      <a:pt x="25646" y="12810"/>
                    </a:cubicBezTo>
                    <a:close/>
                    <a:moveTo>
                      <a:pt x="23691" y="12864"/>
                    </a:moveTo>
                    <a:cubicBezTo>
                      <a:pt x="23691" y="6712"/>
                      <a:pt x="18838" y="1832"/>
                      <a:pt x="12837" y="1832"/>
                    </a:cubicBezTo>
                    <a:cubicBezTo>
                      <a:pt x="6835" y="1832"/>
                      <a:pt x="1982" y="6658"/>
                      <a:pt x="1982" y="12851"/>
                    </a:cubicBezTo>
                    <a:cubicBezTo>
                      <a:pt x="1982" y="19043"/>
                      <a:pt x="6890" y="23856"/>
                      <a:pt x="12782" y="23856"/>
                    </a:cubicBezTo>
                    <a:cubicBezTo>
                      <a:pt x="18674" y="23856"/>
                      <a:pt x="23691" y="19002"/>
                      <a:pt x="23691" y="12864"/>
                    </a:cubicBezTo>
                    <a:close/>
                    <a:moveTo>
                      <a:pt x="15585" y="14888"/>
                    </a:moveTo>
                    <a:lnTo>
                      <a:pt x="18811" y="19905"/>
                    </a:lnTo>
                    <a:lnTo>
                      <a:pt x="16678" y="19905"/>
                    </a:lnTo>
                    <a:lnTo>
                      <a:pt x="13097" y="14218"/>
                    </a:lnTo>
                    <a:lnTo>
                      <a:pt x="9829" y="14218"/>
                    </a:lnTo>
                    <a:lnTo>
                      <a:pt x="9829" y="19905"/>
                    </a:lnTo>
                    <a:lnTo>
                      <a:pt x="8038" y="19905"/>
                    </a:lnTo>
                    <a:lnTo>
                      <a:pt x="8038" y="5523"/>
                    </a:lnTo>
                    <a:lnTo>
                      <a:pt x="13616" y="5523"/>
                    </a:lnTo>
                    <a:cubicBezTo>
                      <a:pt x="16364" y="5523"/>
                      <a:pt x="18155" y="6999"/>
                      <a:pt x="18155" y="9761"/>
                    </a:cubicBezTo>
                    <a:cubicBezTo>
                      <a:pt x="18155" y="11989"/>
                      <a:pt x="16801" y="13370"/>
                      <a:pt x="14887" y="13917"/>
                    </a:cubicBezTo>
                    <a:cubicBezTo>
                      <a:pt x="15147" y="14204"/>
                      <a:pt x="15407" y="14559"/>
                      <a:pt x="15585" y="14901"/>
                    </a:cubicBezTo>
                    <a:close/>
                    <a:moveTo>
                      <a:pt x="13015" y="12522"/>
                    </a:moveTo>
                    <a:cubicBezTo>
                      <a:pt x="15038" y="12522"/>
                      <a:pt x="16282" y="11565"/>
                      <a:pt x="16282" y="9870"/>
                    </a:cubicBezTo>
                    <a:cubicBezTo>
                      <a:pt x="16282" y="8175"/>
                      <a:pt x="15421" y="7191"/>
                      <a:pt x="13657" y="7191"/>
                    </a:cubicBezTo>
                    <a:lnTo>
                      <a:pt x="9816" y="7191"/>
                    </a:lnTo>
                    <a:lnTo>
                      <a:pt x="9816" y="12509"/>
                    </a:lnTo>
                    <a:lnTo>
                      <a:pt x="13015" y="12509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" name="Google Shape;13;p36"/>
              <p:cNvSpPr/>
              <p:nvPr/>
            </p:nvSpPr>
            <p:spPr>
              <a:xfrm>
                <a:off x="11620956" y="6472487"/>
                <a:ext cx="32932" cy="163721"/>
              </a:xfrm>
              <a:custGeom>
                <a:avLst/>
                <a:gdLst/>
                <a:ahLst/>
                <a:cxnLst/>
                <a:rect l="l" t="t" r="r" b="b"/>
                <a:pathLst>
                  <a:path w="32932" h="163721" extrusionOk="0">
                    <a:moveTo>
                      <a:pt x="29830" y="0"/>
                    </a:moveTo>
                    <a:cubicBezTo>
                      <a:pt x="31544" y="0"/>
                      <a:pt x="32933" y="1389"/>
                      <a:pt x="32933" y="3103"/>
                    </a:cubicBezTo>
                    <a:lnTo>
                      <a:pt x="32933" y="160618"/>
                    </a:lnTo>
                    <a:cubicBezTo>
                      <a:pt x="32933" y="162332"/>
                      <a:pt x="31543" y="163722"/>
                      <a:pt x="29830" y="163722"/>
                    </a:cubicBezTo>
                    <a:lnTo>
                      <a:pt x="3103" y="163722"/>
                    </a:lnTo>
                    <a:cubicBezTo>
                      <a:pt x="1389" y="163722"/>
                      <a:pt x="0" y="162332"/>
                      <a:pt x="0" y="160618"/>
                    </a:cubicBezTo>
                    <a:lnTo>
                      <a:pt x="0" y="3103"/>
                    </a:lnTo>
                    <a:cubicBezTo>
                      <a:pt x="0" y="1389"/>
                      <a:pt x="1389" y="0"/>
                      <a:pt x="3103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" name="Google Shape;14;p36"/>
              <p:cNvSpPr/>
              <p:nvPr/>
            </p:nvSpPr>
            <p:spPr>
              <a:xfrm>
                <a:off x="11488486" y="6472473"/>
                <a:ext cx="123638" cy="166086"/>
              </a:xfrm>
              <a:custGeom>
                <a:avLst/>
                <a:gdLst/>
                <a:ahLst/>
                <a:cxnLst/>
                <a:rect l="l" t="t" r="r" b="b"/>
                <a:pathLst>
                  <a:path w="123638" h="166086" extrusionOk="0">
                    <a:moveTo>
                      <a:pt x="68737" y="44663"/>
                    </a:moveTo>
                    <a:cubicBezTo>
                      <a:pt x="53535" y="44663"/>
                      <a:pt x="40889" y="51252"/>
                      <a:pt x="32947" y="62052"/>
                    </a:cubicBezTo>
                    <a:lnTo>
                      <a:pt x="32947" y="3103"/>
                    </a:lnTo>
                    <a:cubicBezTo>
                      <a:pt x="32947" y="1394"/>
                      <a:pt x="31552" y="0"/>
                      <a:pt x="29843" y="0"/>
                    </a:cubicBezTo>
                    <a:lnTo>
                      <a:pt x="3103" y="0"/>
                    </a:lnTo>
                    <a:cubicBezTo>
                      <a:pt x="1394" y="0"/>
                      <a:pt x="0" y="1394"/>
                      <a:pt x="0" y="3103"/>
                    </a:cubicBezTo>
                    <a:lnTo>
                      <a:pt x="0" y="160632"/>
                    </a:lnTo>
                    <a:cubicBezTo>
                      <a:pt x="0" y="162341"/>
                      <a:pt x="1394" y="163735"/>
                      <a:pt x="3103" y="163735"/>
                    </a:cubicBezTo>
                    <a:lnTo>
                      <a:pt x="29843" y="163735"/>
                    </a:lnTo>
                    <a:cubicBezTo>
                      <a:pt x="31552" y="163735"/>
                      <a:pt x="32947" y="162341"/>
                      <a:pt x="32947" y="160632"/>
                    </a:cubicBezTo>
                    <a:lnTo>
                      <a:pt x="32947" y="149025"/>
                    </a:lnTo>
                    <a:cubicBezTo>
                      <a:pt x="40903" y="159839"/>
                      <a:pt x="53535" y="166087"/>
                      <a:pt x="68983" y="166087"/>
                    </a:cubicBezTo>
                    <a:cubicBezTo>
                      <a:pt x="101505" y="166087"/>
                      <a:pt x="123638" y="139852"/>
                      <a:pt x="123638" y="105539"/>
                    </a:cubicBezTo>
                    <a:cubicBezTo>
                      <a:pt x="123638" y="71225"/>
                      <a:pt x="101505" y="44663"/>
                      <a:pt x="68750" y="44663"/>
                    </a:cubicBezTo>
                    <a:close/>
                    <a:moveTo>
                      <a:pt x="62188" y="135163"/>
                    </a:moveTo>
                    <a:cubicBezTo>
                      <a:pt x="45346" y="135163"/>
                      <a:pt x="32947" y="121533"/>
                      <a:pt x="32947" y="105552"/>
                    </a:cubicBezTo>
                    <a:cubicBezTo>
                      <a:pt x="32947" y="89571"/>
                      <a:pt x="45346" y="76174"/>
                      <a:pt x="62188" y="76174"/>
                    </a:cubicBezTo>
                    <a:cubicBezTo>
                      <a:pt x="79031" y="76174"/>
                      <a:pt x="90965" y="89571"/>
                      <a:pt x="90965" y="105552"/>
                    </a:cubicBezTo>
                    <a:cubicBezTo>
                      <a:pt x="90965" y="121533"/>
                      <a:pt x="78798" y="135163"/>
                      <a:pt x="62188" y="13516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" name="Google Shape;15;p36"/>
              <p:cNvSpPr/>
              <p:nvPr/>
            </p:nvSpPr>
            <p:spPr>
              <a:xfrm>
                <a:off x="11359421" y="6517136"/>
                <a:ext cx="120412" cy="121437"/>
              </a:xfrm>
              <a:custGeom>
                <a:avLst/>
                <a:gdLst/>
                <a:ahLst/>
                <a:cxnLst/>
                <a:rect l="l" t="t" r="r" b="b"/>
                <a:pathLst>
                  <a:path w="120412" h="121437" extrusionOk="0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" name="Google Shape;16;p36"/>
              <p:cNvSpPr/>
              <p:nvPr/>
            </p:nvSpPr>
            <p:spPr>
              <a:xfrm>
                <a:off x="11662542" y="6517136"/>
                <a:ext cx="120412" cy="121437"/>
              </a:xfrm>
              <a:custGeom>
                <a:avLst/>
                <a:gdLst/>
                <a:ahLst/>
                <a:cxnLst/>
                <a:rect l="l" t="t" r="r" b="b"/>
                <a:pathLst>
                  <a:path w="120412" h="121437" extrusionOk="0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" name="Google Shape;17;p36"/>
              <p:cNvSpPr/>
              <p:nvPr/>
            </p:nvSpPr>
            <p:spPr>
              <a:xfrm>
                <a:off x="11122821" y="6519528"/>
                <a:ext cx="32932" cy="116680"/>
              </a:xfrm>
              <a:custGeom>
                <a:avLst/>
                <a:gdLst/>
                <a:ahLst/>
                <a:cxnLst/>
                <a:rect l="l" t="t" r="r" b="b"/>
                <a:pathLst>
                  <a:path w="32932" h="116680" extrusionOk="0">
                    <a:moveTo>
                      <a:pt x="29843" y="116680"/>
                    </a:moveTo>
                    <a:lnTo>
                      <a:pt x="3103" y="116680"/>
                    </a:lnTo>
                    <a:cubicBezTo>
                      <a:pt x="1394" y="116680"/>
                      <a:pt x="0" y="115286"/>
                      <a:pt x="0" y="113577"/>
                    </a:cubicBezTo>
                    <a:lnTo>
                      <a:pt x="0" y="30554"/>
                    </a:lnTo>
                    <a:cubicBezTo>
                      <a:pt x="0" y="28886"/>
                      <a:pt x="670" y="27287"/>
                      <a:pt x="1859" y="26125"/>
                    </a:cubicBezTo>
                    <a:lnTo>
                      <a:pt x="27670" y="888"/>
                    </a:lnTo>
                    <a:cubicBezTo>
                      <a:pt x="29638" y="-1026"/>
                      <a:pt x="32933" y="355"/>
                      <a:pt x="32933" y="3103"/>
                    </a:cubicBezTo>
                    <a:lnTo>
                      <a:pt x="32933" y="113577"/>
                    </a:lnTo>
                    <a:cubicBezTo>
                      <a:pt x="32933" y="115286"/>
                      <a:pt x="31538" y="116680"/>
                      <a:pt x="29830" y="11668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" name="Google Shape;18;p36"/>
              <p:cNvSpPr/>
              <p:nvPr/>
            </p:nvSpPr>
            <p:spPr>
              <a:xfrm>
                <a:off x="11173074" y="6517105"/>
                <a:ext cx="107493" cy="119116"/>
              </a:xfrm>
              <a:custGeom>
                <a:avLst/>
                <a:gdLst/>
                <a:ahLst/>
                <a:cxnLst/>
                <a:rect l="l" t="t" r="r" b="b"/>
                <a:pathLst>
                  <a:path w="107493" h="119116" extrusionOk="0">
                    <a:moveTo>
                      <a:pt x="107480" y="41877"/>
                    </a:moveTo>
                    <a:cubicBezTo>
                      <a:pt x="107480" y="19252"/>
                      <a:pt x="88792" y="277"/>
                      <a:pt x="65237" y="3"/>
                    </a:cubicBezTo>
                    <a:cubicBezTo>
                      <a:pt x="49912" y="-175"/>
                      <a:pt x="39563" y="7331"/>
                      <a:pt x="32947" y="17474"/>
                    </a:cubicBezTo>
                    <a:lnTo>
                      <a:pt x="32947" y="5581"/>
                    </a:lnTo>
                    <a:cubicBezTo>
                      <a:pt x="32947" y="3872"/>
                      <a:pt x="31552" y="2478"/>
                      <a:pt x="29843" y="2478"/>
                    </a:cubicBezTo>
                    <a:lnTo>
                      <a:pt x="3103" y="2478"/>
                    </a:lnTo>
                    <a:cubicBezTo>
                      <a:pt x="1394" y="2478"/>
                      <a:pt x="0" y="3872"/>
                      <a:pt x="0" y="5581"/>
                    </a:cubicBezTo>
                    <a:lnTo>
                      <a:pt x="0" y="116000"/>
                    </a:lnTo>
                    <a:cubicBezTo>
                      <a:pt x="0" y="117709"/>
                      <a:pt x="1394" y="119103"/>
                      <a:pt x="3103" y="119103"/>
                    </a:cubicBezTo>
                    <a:lnTo>
                      <a:pt x="29843" y="119103"/>
                    </a:lnTo>
                    <a:cubicBezTo>
                      <a:pt x="31552" y="119103"/>
                      <a:pt x="32947" y="117709"/>
                      <a:pt x="32947" y="116000"/>
                    </a:cubicBezTo>
                    <a:lnTo>
                      <a:pt x="32947" y="51788"/>
                    </a:lnTo>
                    <a:cubicBezTo>
                      <a:pt x="33685" y="39430"/>
                      <a:pt x="41518" y="31747"/>
                      <a:pt x="53740" y="31747"/>
                    </a:cubicBezTo>
                    <a:cubicBezTo>
                      <a:pt x="65961" y="31747"/>
                      <a:pt x="74547" y="40373"/>
                      <a:pt x="74547" y="53210"/>
                    </a:cubicBezTo>
                    <a:lnTo>
                      <a:pt x="74547" y="116014"/>
                    </a:lnTo>
                    <a:cubicBezTo>
                      <a:pt x="74547" y="117722"/>
                      <a:pt x="75941" y="119117"/>
                      <a:pt x="77650" y="119117"/>
                    </a:cubicBezTo>
                    <a:lnTo>
                      <a:pt x="104390" y="119117"/>
                    </a:lnTo>
                    <a:cubicBezTo>
                      <a:pt x="106099" y="119117"/>
                      <a:pt x="107493" y="117722"/>
                      <a:pt x="107493" y="116014"/>
                    </a:cubicBezTo>
                    <a:lnTo>
                      <a:pt x="107493" y="4189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91390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ubtitle and Content">
  <p:cSld name="1_Title Subtitle and Content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" name="Google Shape;100;p41"/>
          <p:cNvGrpSpPr/>
          <p:nvPr/>
        </p:nvGrpSpPr>
        <p:grpSpPr>
          <a:xfrm>
            <a:off x="11122822" y="6466192"/>
            <a:ext cx="799629" cy="172381"/>
            <a:chOff x="11122821" y="6466192"/>
            <a:chExt cx="799629" cy="172381"/>
          </a:xfrm>
        </p:grpSpPr>
        <p:sp>
          <p:nvSpPr>
            <p:cNvPr id="101" name="Google Shape;101;p41"/>
            <p:cNvSpPr/>
            <p:nvPr/>
          </p:nvSpPr>
          <p:spPr>
            <a:xfrm rot="-2700000">
              <a:off x="11134961" y="6473475"/>
              <a:ext cx="35167" cy="35167"/>
            </a:xfrm>
            <a:custGeom>
              <a:avLst/>
              <a:gdLst/>
              <a:ahLst/>
              <a:cxnLst/>
              <a:rect l="l" t="t" r="r" b="b"/>
              <a:pathLst>
                <a:path w="35147" h="35147" extrusionOk="0">
                  <a:moveTo>
                    <a:pt x="32044" y="0"/>
                  </a:moveTo>
                  <a:cubicBezTo>
                    <a:pt x="33758" y="0"/>
                    <a:pt x="35148" y="1389"/>
                    <a:pt x="35148" y="3103"/>
                  </a:cubicBezTo>
                  <a:lnTo>
                    <a:pt x="35148" y="32044"/>
                  </a:lnTo>
                  <a:cubicBezTo>
                    <a:pt x="35148" y="33758"/>
                    <a:pt x="33758" y="35148"/>
                    <a:pt x="32044" y="35148"/>
                  </a:cubicBezTo>
                  <a:lnTo>
                    <a:pt x="3103" y="35148"/>
                  </a:lnTo>
                  <a:cubicBezTo>
                    <a:pt x="1389" y="35148"/>
                    <a:pt x="0" y="33758"/>
                    <a:pt x="0" y="32044"/>
                  </a:cubicBezTo>
                  <a:lnTo>
                    <a:pt x="0" y="3103"/>
                  </a:lnTo>
                  <a:cubicBezTo>
                    <a:pt x="0" y="1389"/>
                    <a:pt x="1389" y="0"/>
                    <a:pt x="3103" y="0"/>
                  </a:cubicBezTo>
                  <a:close/>
                </a:path>
              </a:pathLst>
            </a:custGeom>
            <a:solidFill>
              <a:srgbClr val="00BD4D"/>
            </a:solidFill>
            <a:ln>
              <a:noFill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Lato Light"/>
                <a:buNone/>
              </a:pPr>
              <a:endParaRPr sz="1867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02" name="Google Shape;102;p41"/>
            <p:cNvGrpSpPr/>
            <p:nvPr/>
          </p:nvGrpSpPr>
          <p:grpSpPr>
            <a:xfrm>
              <a:off x="11122821" y="6472473"/>
              <a:ext cx="799629" cy="166100"/>
              <a:chOff x="11122821" y="6472473"/>
              <a:chExt cx="799629" cy="166100"/>
            </a:xfrm>
          </p:grpSpPr>
          <p:sp>
            <p:nvSpPr>
              <p:cNvPr id="103" name="Google Shape;103;p41"/>
              <p:cNvSpPr/>
              <p:nvPr/>
            </p:nvSpPr>
            <p:spPr>
              <a:xfrm>
                <a:off x="11774281" y="6519597"/>
                <a:ext cx="119385" cy="116611"/>
              </a:xfrm>
              <a:custGeom>
                <a:avLst/>
                <a:gdLst/>
                <a:ahLst/>
                <a:cxnLst/>
                <a:rect l="l" t="t" r="r" b="b"/>
                <a:pathLst>
                  <a:path w="119385" h="116611" extrusionOk="0">
                    <a:moveTo>
                      <a:pt x="82523" y="58306"/>
                    </a:moveTo>
                    <a:lnTo>
                      <a:pt x="118887" y="112265"/>
                    </a:lnTo>
                    <a:cubicBezTo>
                      <a:pt x="120199" y="114124"/>
                      <a:pt x="118764" y="116612"/>
                      <a:pt x="116385" y="116612"/>
                    </a:cubicBezTo>
                    <a:lnTo>
                      <a:pt x="85831" y="116612"/>
                    </a:lnTo>
                    <a:cubicBezTo>
                      <a:pt x="83794" y="116612"/>
                      <a:pt x="81880" y="115600"/>
                      <a:pt x="80718" y="113919"/>
                    </a:cubicBezTo>
                    <a:lnTo>
                      <a:pt x="59693" y="81751"/>
                    </a:lnTo>
                    <a:lnTo>
                      <a:pt x="38667" y="113919"/>
                    </a:lnTo>
                    <a:cubicBezTo>
                      <a:pt x="37505" y="115600"/>
                      <a:pt x="35605" y="116612"/>
                      <a:pt x="33554" y="116612"/>
                    </a:cubicBezTo>
                    <a:lnTo>
                      <a:pt x="3000" y="116612"/>
                    </a:lnTo>
                    <a:cubicBezTo>
                      <a:pt x="621" y="116612"/>
                      <a:pt x="-814" y="114138"/>
                      <a:pt x="498" y="112265"/>
                    </a:cubicBezTo>
                    <a:lnTo>
                      <a:pt x="36753" y="58306"/>
                    </a:lnTo>
                    <a:lnTo>
                      <a:pt x="498" y="4347"/>
                    </a:lnTo>
                    <a:cubicBezTo>
                      <a:pt x="-814" y="2488"/>
                      <a:pt x="621" y="0"/>
                      <a:pt x="3000" y="0"/>
                    </a:cubicBezTo>
                    <a:lnTo>
                      <a:pt x="34853" y="0"/>
                    </a:lnTo>
                    <a:cubicBezTo>
                      <a:pt x="36042" y="0"/>
                      <a:pt x="37149" y="547"/>
                      <a:pt x="37778" y="1449"/>
                    </a:cubicBezTo>
                    <a:lnTo>
                      <a:pt x="59679" y="34806"/>
                    </a:lnTo>
                    <a:lnTo>
                      <a:pt x="80240" y="1463"/>
                    </a:lnTo>
                    <a:cubicBezTo>
                      <a:pt x="80855" y="561"/>
                      <a:pt x="81976" y="0"/>
                      <a:pt x="83165" y="0"/>
                    </a:cubicBezTo>
                    <a:lnTo>
                      <a:pt x="115333" y="0"/>
                    </a:lnTo>
                    <a:cubicBezTo>
                      <a:pt x="117711" y="0"/>
                      <a:pt x="119133" y="2474"/>
                      <a:pt x="117834" y="4334"/>
                    </a:cubicBezTo>
                    <a:lnTo>
                      <a:pt x="82495" y="5830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" name="Google Shape;104;p41"/>
              <p:cNvSpPr/>
              <p:nvPr/>
            </p:nvSpPr>
            <p:spPr>
              <a:xfrm>
                <a:off x="11284928" y="6472473"/>
                <a:ext cx="78825" cy="163762"/>
              </a:xfrm>
              <a:custGeom>
                <a:avLst/>
                <a:gdLst/>
                <a:ahLst/>
                <a:cxnLst/>
                <a:rect l="l" t="t" r="r" b="b"/>
                <a:pathLst>
                  <a:path w="78825" h="163762" extrusionOk="0">
                    <a:moveTo>
                      <a:pt x="75722" y="14"/>
                    </a:moveTo>
                    <a:lnTo>
                      <a:pt x="50377" y="14"/>
                    </a:lnTo>
                    <a:cubicBezTo>
                      <a:pt x="47916" y="14"/>
                      <a:pt x="45551" y="998"/>
                      <a:pt x="43801" y="2734"/>
                    </a:cubicBezTo>
                    <a:lnTo>
                      <a:pt x="19987" y="26549"/>
                    </a:lnTo>
                    <a:cubicBezTo>
                      <a:pt x="18237" y="28299"/>
                      <a:pt x="17266" y="30664"/>
                      <a:pt x="17266" y="33124"/>
                    </a:cubicBezTo>
                    <a:lnTo>
                      <a:pt x="17266" y="51867"/>
                    </a:lnTo>
                    <a:lnTo>
                      <a:pt x="3049" y="51867"/>
                    </a:lnTo>
                    <a:cubicBezTo>
                      <a:pt x="1367" y="51867"/>
                      <a:pt x="0" y="53234"/>
                      <a:pt x="0" y="54916"/>
                    </a:cubicBezTo>
                    <a:lnTo>
                      <a:pt x="0" y="75955"/>
                    </a:lnTo>
                    <a:cubicBezTo>
                      <a:pt x="0" y="77636"/>
                      <a:pt x="1367" y="79004"/>
                      <a:pt x="3049" y="79004"/>
                    </a:cubicBezTo>
                    <a:lnTo>
                      <a:pt x="17266" y="79004"/>
                    </a:lnTo>
                    <a:lnTo>
                      <a:pt x="17266" y="160659"/>
                    </a:lnTo>
                    <a:cubicBezTo>
                      <a:pt x="17266" y="162368"/>
                      <a:pt x="18661" y="163763"/>
                      <a:pt x="20369" y="163763"/>
                    </a:cubicBezTo>
                    <a:lnTo>
                      <a:pt x="47109" y="163763"/>
                    </a:lnTo>
                    <a:cubicBezTo>
                      <a:pt x="48818" y="163763"/>
                      <a:pt x="50213" y="162368"/>
                      <a:pt x="50213" y="160659"/>
                    </a:cubicBezTo>
                    <a:lnTo>
                      <a:pt x="50213" y="78990"/>
                    </a:lnTo>
                    <a:lnTo>
                      <a:pt x="71443" y="78990"/>
                    </a:lnTo>
                    <a:cubicBezTo>
                      <a:pt x="73125" y="78990"/>
                      <a:pt x="74492" y="77623"/>
                      <a:pt x="74492" y="75941"/>
                    </a:cubicBezTo>
                    <a:lnTo>
                      <a:pt x="74492" y="54902"/>
                    </a:lnTo>
                    <a:cubicBezTo>
                      <a:pt x="74492" y="53220"/>
                      <a:pt x="73125" y="51853"/>
                      <a:pt x="71443" y="51853"/>
                    </a:cubicBezTo>
                    <a:lnTo>
                      <a:pt x="50213" y="51853"/>
                    </a:lnTo>
                    <a:lnTo>
                      <a:pt x="50213" y="38565"/>
                    </a:lnTo>
                    <a:cubicBezTo>
                      <a:pt x="50213" y="33425"/>
                      <a:pt x="54382" y="29269"/>
                      <a:pt x="59509" y="29269"/>
                    </a:cubicBezTo>
                    <a:lnTo>
                      <a:pt x="75722" y="29269"/>
                    </a:lnTo>
                    <a:cubicBezTo>
                      <a:pt x="77431" y="29269"/>
                      <a:pt x="78826" y="27875"/>
                      <a:pt x="78826" y="26166"/>
                    </a:cubicBezTo>
                    <a:lnTo>
                      <a:pt x="78826" y="3103"/>
                    </a:lnTo>
                    <a:cubicBezTo>
                      <a:pt x="78826" y="1394"/>
                      <a:pt x="77431" y="0"/>
                      <a:pt x="75722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" name="Google Shape;105;p41"/>
              <p:cNvSpPr/>
              <p:nvPr/>
            </p:nvSpPr>
            <p:spPr>
              <a:xfrm>
                <a:off x="11896791" y="6612367"/>
                <a:ext cx="25659" cy="25660"/>
              </a:xfrm>
              <a:custGeom>
                <a:avLst/>
                <a:gdLst/>
                <a:ahLst/>
                <a:cxnLst/>
                <a:rect l="l" t="t" r="r" b="b"/>
                <a:pathLst>
                  <a:path w="25659" h="25660" extrusionOk="0">
                    <a:moveTo>
                      <a:pt x="25660" y="12810"/>
                    </a:moveTo>
                    <a:cubicBezTo>
                      <a:pt x="25660" y="19946"/>
                      <a:pt x="19946" y="25660"/>
                      <a:pt x="12782" y="25660"/>
                    </a:cubicBezTo>
                    <a:cubicBezTo>
                      <a:pt x="5619" y="25660"/>
                      <a:pt x="0" y="19891"/>
                      <a:pt x="0" y="12810"/>
                    </a:cubicBezTo>
                    <a:cubicBezTo>
                      <a:pt x="0" y="5728"/>
                      <a:pt x="5714" y="0"/>
                      <a:pt x="12823" y="0"/>
                    </a:cubicBezTo>
                    <a:cubicBezTo>
                      <a:pt x="19932" y="0"/>
                      <a:pt x="25646" y="5687"/>
                      <a:pt x="25646" y="12810"/>
                    </a:cubicBezTo>
                    <a:close/>
                    <a:moveTo>
                      <a:pt x="23691" y="12864"/>
                    </a:moveTo>
                    <a:cubicBezTo>
                      <a:pt x="23691" y="6712"/>
                      <a:pt x="18838" y="1832"/>
                      <a:pt x="12837" y="1832"/>
                    </a:cubicBezTo>
                    <a:cubicBezTo>
                      <a:pt x="6835" y="1832"/>
                      <a:pt x="1982" y="6658"/>
                      <a:pt x="1982" y="12851"/>
                    </a:cubicBezTo>
                    <a:cubicBezTo>
                      <a:pt x="1982" y="19043"/>
                      <a:pt x="6890" y="23856"/>
                      <a:pt x="12782" y="23856"/>
                    </a:cubicBezTo>
                    <a:cubicBezTo>
                      <a:pt x="18674" y="23856"/>
                      <a:pt x="23691" y="19002"/>
                      <a:pt x="23691" y="12864"/>
                    </a:cubicBezTo>
                    <a:close/>
                    <a:moveTo>
                      <a:pt x="15585" y="14888"/>
                    </a:moveTo>
                    <a:lnTo>
                      <a:pt x="18811" y="19905"/>
                    </a:lnTo>
                    <a:lnTo>
                      <a:pt x="16678" y="19905"/>
                    </a:lnTo>
                    <a:lnTo>
                      <a:pt x="13097" y="14218"/>
                    </a:lnTo>
                    <a:lnTo>
                      <a:pt x="9829" y="14218"/>
                    </a:lnTo>
                    <a:lnTo>
                      <a:pt x="9829" y="19905"/>
                    </a:lnTo>
                    <a:lnTo>
                      <a:pt x="8038" y="19905"/>
                    </a:lnTo>
                    <a:lnTo>
                      <a:pt x="8038" y="5523"/>
                    </a:lnTo>
                    <a:lnTo>
                      <a:pt x="13616" y="5523"/>
                    </a:lnTo>
                    <a:cubicBezTo>
                      <a:pt x="16364" y="5523"/>
                      <a:pt x="18155" y="6999"/>
                      <a:pt x="18155" y="9761"/>
                    </a:cubicBezTo>
                    <a:cubicBezTo>
                      <a:pt x="18155" y="11989"/>
                      <a:pt x="16801" y="13370"/>
                      <a:pt x="14887" y="13917"/>
                    </a:cubicBezTo>
                    <a:cubicBezTo>
                      <a:pt x="15147" y="14204"/>
                      <a:pt x="15407" y="14559"/>
                      <a:pt x="15585" y="14901"/>
                    </a:cubicBezTo>
                    <a:close/>
                    <a:moveTo>
                      <a:pt x="13015" y="12522"/>
                    </a:moveTo>
                    <a:cubicBezTo>
                      <a:pt x="15038" y="12522"/>
                      <a:pt x="16282" y="11565"/>
                      <a:pt x="16282" y="9870"/>
                    </a:cubicBezTo>
                    <a:cubicBezTo>
                      <a:pt x="16282" y="8175"/>
                      <a:pt x="15421" y="7191"/>
                      <a:pt x="13657" y="7191"/>
                    </a:cubicBezTo>
                    <a:lnTo>
                      <a:pt x="9816" y="7191"/>
                    </a:lnTo>
                    <a:lnTo>
                      <a:pt x="9816" y="12509"/>
                    </a:lnTo>
                    <a:lnTo>
                      <a:pt x="13015" y="12509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" name="Google Shape;106;p41"/>
              <p:cNvSpPr/>
              <p:nvPr/>
            </p:nvSpPr>
            <p:spPr>
              <a:xfrm>
                <a:off x="11620956" y="6472487"/>
                <a:ext cx="32932" cy="163721"/>
              </a:xfrm>
              <a:custGeom>
                <a:avLst/>
                <a:gdLst/>
                <a:ahLst/>
                <a:cxnLst/>
                <a:rect l="l" t="t" r="r" b="b"/>
                <a:pathLst>
                  <a:path w="32932" h="163721" extrusionOk="0">
                    <a:moveTo>
                      <a:pt x="29830" y="0"/>
                    </a:moveTo>
                    <a:cubicBezTo>
                      <a:pt x="31544" y="0"/>
                      <a:pt x="32933" y="1389"/>
                      <a:pt x="32933" y="3103"/>
                    </a:cubicBezTo>
                    <a:lnTo>
                      <a:pt x="32933" y="160618"/>
                    </a:lnTo>
                    <a:cubicBezTo>
                      <a:pt x="32933" y="162332"/>
                      <a:pt x="31543" y="163722"/>
                      <a:pt x="29830" y="163722"/>
                    </a:cubicBezTo>
                    <a:lnTo>
                      <a:pt x="3103" y="163722"/>
                    </a:lnTo>
                    <a:cubicBezTo>
                      <a:pt x="1389" y="163722"/>
                      <a:pt x="0" y="162332"/>
                      <a:pt x="0" y="160618"/>
                    </a:cubicBezTo>
                    <a:lnTo>
                      <a:pt x="0" y="3103"/>
                    </a:lnTo>
                    <a:cubicBezTo>
                      <a:pt x="0" y="1389"/>
                      <a:pt x="1389" y="0"/>
                      <a:pt x="3103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" name="Google Shape;107;p41"/>
              <p:cNvSpPr/>
              <p:nvPr/>
            </p:nvSpPr>
            <p:spPr>
              <a:xfrm>
                <a:off x="11488486" y="6472473"/>
                <a:ext cx="123638" cy="166086"/>
              </a:xfrm>
              <a:custGeom>
                <a:avLst/>
                <a:gdLst/>
                <a:ahLst/>
                <a:cxnLst/>
                <a:rect l="l" t="t" r="r" b="b"/>
                <a:pathLst>
                  <a:path w="123638" h="166086" extrusionOk="0">
                    <a:moveTo>
                      <a:pt x="68737" y="44663"/>
                    </a:moveTo>
                    <a:cubicBezTo>
                      <a:pt x="53535" y="44663"/>
                      <a:pt x="40889" y="51252"/>
                      <a:pt x="32947" y="62052"/>
                    </a:cubicBezTo>
                    <a:lnTo>
                      <a:pt x="32947" y="3103"/>
                    </a:lnTo>
                    <a:cubicBezTo>
                      <a:pt x="32947" y="1394"/>
                      <a:pt x="31552" y="0"/>
                      <a:pt x="29843" y="0"/>
                    </a:cubicBezTo>
                    <a:lnTo>
                      <a:pt x="3103" y="0"/>
                    </a:lnTo>
                    <a:cubicBezTo>
                      <a:pt x="1394" y="0"/>
                      <a:pt x="0" y="1394"/>
                      <a:pt x="0" y="3103"/>
                    </a:cubicBezTo>
                    <a:lnTo>
                      <a:pt x="0" y="160632"/>
                    </a:lnTo>
                    <a:cubicBezTo>
                      <a:pt x="0" y="162341"/>
                      <a:pt x="1394" y="163735"/>
                      <a:pt x="3103" y="163735"/>
                    </a:cubicBezTo>
                    <a:lnTo>
                      <a:pt x="29843" y="163735"/>
                    </a:lnTo>
                    <a:cubicBezTo>
                      <a:pt x="31552" y="163735"/>
                      <a:pt x="32947" y="162341"/>
                      <a:pt x="32947" y="160632"/>
                    </a:cubicBezTo>
                    <a:lnTo>
                      <a:pt x="32947" y="149025"/>
                    </a:lnTo>
                    <a:cubicBezTo>
                      <a:pt x="40903" y="159839"/>
                      <a:pt x="53535" y="166087"/>
                      <a:pt x="68983" y="166087"/>
                    </a:cubicBezTo>
                    <a:cubicBezTo>
                      <a:pt x="101505" y="166087"/>
                      <a:pt x="123638" y="139852"/>
                      <a:pt x="123638" y="105539"/>
                    </a:cubicBezTo>
                    <a:cubicBezTo>
                      <a:pt x="123638" y="71225"/>
                      <a:pt x="101505" y="44663"/>
                      <a:pt x="68750" y="44663"/>
                    </a:cubicBezTo>
                    <a:close/>
                    <a:moveTo>
                      <a:pt x="62188" y="135163"/>
                    </a:moveTo>
                    <a:cubicBezTo>
                      <a:pt x="45346" y="135163"/>
                      <a:pt x="32947" y="121533"/>
                      <a:pt x="32947" y="105552"/>
                    </a:cubicBezTo>
                    <a:cubicBezTo>
                      <a:pt x="32947" y="89571"/>
                      <a:pt x="45346" y="76174"/>
                      <a:pt x="62188" y="76174"/>
                    </a:cubicBezTo>
                    <a:cubicBezTo>
                      <a:pt x="79031" y="76174"/>
                      <a:pt x="90965" y="89571"/>
                      <a:pt x="90965" y="105552"/>
                    </a:cubicBezTo>
                    <a:cubicBezTo>
                      <a:pt x="90965" y="121533"/>
                      <a:pt x="78798" y="135163"/>
                      <a:pt x="62188" y="13516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" name="Google Shape;108;p41"/>
              <p:cNvSpPr/>
              <p:nvPr/>
            </p:nvSpPr>
            <p:spPr>
              <a:xfrm>
                <a:off x="11359421" y="6517136"/>
                <a:ext cx="120412" cy="121437"/>
              </a:xfrm>
              <a:custGeom>
                <a:avLst/>
                <a:gdLst/>
                <a:ahLst/>
                <a:cxnLst/>
                <a:rect l="l" t="t" r="r" b="b"/>
                <a:pathLst>
                  <a:path w="120412" h="121437" extrusionOk="0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" name="Google Shape;109;p41"/>
              <p:cNvSpPr/>
              <p:nvPr/>
            </p:nvSpPr>
            <p:spPr>
              <a:xfrm>
                <a:off x="11662542" y="6517136"/>
                <a:ext cx="120412" cy="121437"/>
              </a:xfrm>
              <a:custGeom>
                <a:avLst/>
                <a:gdLst/>
                <a:ahLst/>
                <a:cxnLst/>
                <a:rect l="l" t="t" r="r" b="b"/>
                <a:pathLst>
                  <a:path w="120412" h="121437" extrusionOk="0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" name="Google Shape;110;p41"/>
              <p:cNvSpPr/>
              <p:nvPr/>
            </p:nvSpPr>
            <p:spPr>
              <a:xfrm>
                <a:off x="11122821" y="6519528"/>
                <a:ext cx="32932" cy="116680"/>
              </a:xfrm>
              <a:custGeom>
                <a:avLst/>
                <a:gdLst/>
                <a:ahLst/>
                <a:cxnLst/>
                <a:rect l="l" t="t" r="r" b="b"/>
                <a:pathLst>
                  <a:path w="32932" h="116680" extrusionOk="0">
                    <a:moveTo>
                      <a:pt x="29843" y="116680"/>
                    </a:moveTo>
                    <a:lnTo>
                      <a:pt x="3103" y="116680"/>
                    </a:lnTo>
                    <a:cubicBezTo>
                      <a:pt x="1394" y="116680"/>
                      <a:pt x="0" y="115286"/>
                      <a:pt x="0" y="113577"/>
                    </a:cubicBezTo>
                    <a:lnTo>
                      <a:pt x="0" y="30554"/>
                    </a:lnTo>
                    <a:cubicBezTo>
                      <a:pt x="0" y="28886"/>
                      <a:pt x="670" y="27287"/>
                      <a:pt x="1859" y="26125"/>
                    </a:cubicBezTo>
                    <a:lnTo>
                      <a:pt x="27670" y="888"/>
                    </a:lnTo>
                    <a:cubicBezTo>
                      <a:pt x="29638" y="-1026"/>
                      <a:pt x="32933" y="355"/>
                      <a:pt x="32933" y="3103"/>
                    </a:cubicBezTo>
                    <a:lnTo>
                      <a:pt x="32933" y="113577"/>
                    </a:lnTo>
                    <a:cubicBezTo>
                      <a:pt x="32933" y="115286"/>
                      <a:pt x="31538" y="116680"/>
                      <a:pt x="29830" y="11668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" name="Google Shape;111;p41"/>
              <p:cNvSpPr/>
              <p:nvPr/>
            </p:nvSpPr>
            <p:spPr>
              <a:xfrm>
                <a:off x="11173074" y="6517105"/>
                <a:ext cx="107493" cy="119116"/>
              </a:xfrm>
              <a:custGeom>
                <a:avLst/>
                <a:gdLst/>
                <a:ahLst/>
                <a:cxnLst/>
                <a:rect l="l" t="t" r="r" b="b"/>
                <a:pathLst>
                  <a:path w="107493" h="119116" extrusionOk="0">
                    <a:moveTo>
                      <a:pt x="107480" y="41877"/>
                    </a:moveTo>
                    <a:cubicBezTo>
                      <a:pt x="107480" y="19252"/>
                      <a:pt x="88792" y="277"/>
                      <a:pt x="65237" y="3"/>
                    </a:cubicBezTo>
                    <a:cubicBezTo>
                      <a:pt x="49912" y="-175"/>
                      <a:pt x="39563" y="7331"/>
                      <a:pt x="32947" y="17474"/>
                    </a:cubicBezTo>
                    <a:lnTo>
                      <a:pt x="32947" y="5581"/>
                    </a:lnTo>
                    <a:cubicBezTo>
                      <a:pt x="32947" y="3872"/>
                      <a:pt x="31552" y="2478"/>
                      <a:pt x="29843" y="2478"/>
                    </a:cubicBezTo>
                    <a:lnTo>
                      <a:pt x="3103" y="2478"/>
                    </a:lnTo>
                    <a:cubicBezTo>
                      <a:pt x="1394" y="2478"/>
                      <a:pt x="0" y="3872"/>
                      <a:pt x="0" y="5581"/>
                    </a:cubicBezTo>
                    <a:lnTo>
                      <a:pt x="0" y="116000"/>
                    </a:lnTo>
                    <a:cubicBezTo>
                      <a:pt x="0" y="117709"/>
                      <a:pt x="1394" y="119103"/>
                      <a:pt x="3103" y="119103"/>
                    </a:cubicBezTo>
                    <a:lnTo>
                      <a:pt x="29843" y="119103"/>
                    </a:lnTo>
                    <a:cubicBezTo>
                      <a:pt x="31552" y="119103"/>
                      <a:pt x="32947" y="117709"/>
                      <a:pt x="32947" y="116000"/>
                    </a:cubicBezTo>
                    <a:lnTo>
                      <a:pt x="32947" y="51788"/>
                    </a:lnTo>
                    <a:cubicBezTo>
                      <a:pt x="33685" y="39430"/>
                      <a:pt x="41518" y="31747"/>
                      <a:pt x="53740" y="31747"/>
                    </a:cubicBezTo>
                    <a:cubicBezTo>
                      <a:pt x="65961" y="31747"/>
                      <a:pt x="74547" y="40373"/>
                      <a:pt x="74547" y="53210"/>
                    </a:cubicBezTo>
                    <a:lnTo>
                      <a:pt x="74547" y="116014"/>
                    </a:lnTo>
                    <a:cubicBezTo>
                      <a:pt x="74547" y="117722"/>
                      <a:pt x="75941" y="119117"/>
                      <a:pt x="77650" y="119117"/>
                    </a:cubicBezTo>
                    <a:lnTo>
                      <a:pt x="104390" y="119117"/>
                    </a:lnTo>
                    <a:cubicBezTo>
                      <a:pt x="106099" y="119117"/>
                      <a:pt x="107493" y="117722"/>
                      <a:pt x="107493" y="116014"/>
                    </a:cubicBezTo>
                    <a:lnTo>
                      <a:pt x="107493" y="4189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2" name="Google Shape;112;p41"/>
          <p:cNvSpPr txBox="1">
            <a:spLocks noGrp="1"/>
          </p:cNvSpPr>
          <p:nvPr>
            <p:ph type="title"/>
          </p:nvPr>
        </p:nvSpPr>
        <p:spPr>
          <a:xfrm>
            <a:off x="501977" y="297451"/>
            <a:ext cx="11118400" cy="81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600"/>
              <a:buFont typeface="Lato"/>
              <a:buNone/>
              <a:defRPr sz="3467" b="1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3" name="Google Shape;113;p41"/>
          <p:cNvSpPr txBox="1">
            <a:spLocks noGrp="1"/>
          </p:cNvSpPr>
          <p:nvPr>
            <p:ph type="body" idx="1"/>
          </p:nvPr>
        </p:nvSpPr>
        <p:spPr>
          <a:xfrm>
            <a:off x="501983" y="1264141"/>
            <a:ext cx="11118400" cy="5426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Lato Light"/>
                <a:ea typeface="Lato Light"/>
                <a:cs typeface="Lato Light"/>
                <a:sym typeface="Lato Light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3pPr>
            <a:lvl4pPr marL="2438339" marR="0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4pPr>
            <a:lvl5pPr marL="3047924" marR="0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5pPr>
            <a:lvl6pPr marL="3657509" marR="0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6pPr>
            <a:lvl7pPr marL="4267093" marR="0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7pPr>
            <a:lvl8pPr marL="4876678" marR="0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8pPr>
            <a:lvl9pPr marL="5486263" marR="0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9pPr>
          </a:lstStyle>
          <a:p>
            <a:endParaRPr/>
          </a:p>
        </p:txBody>
      </p:sp>
      <p:sp>
        <p:nvSpPr>
          <p:cNvPr id="114" name="Google Shape;114;p41"/>
          <p:cNvSpPr txBox="1">
            <a:spLocks noGrp="1"/>
          </p:cNvSpPr>
          <p:nvPr>
            <p:ph type="body" idx="2"/>
          </p:nvPr>
        </p:nvSpPr>
        <p:spPr>
          <a:xfrm>
            <a:off x="501977" y="1902065"/>
            <a:ext cx="11118400" cy="44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609585" marR="0" lvl="0" indent="-431789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00BD4D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lt1"/>
                </a:solidFill>
                <a:latin typeface="Lato Light"/>
                <a:ea typeface="Lato Light"/>
                <a:cs typeface="Lato Light"/>
                <a:sym typeface="Lato Light"/>
              </a:defRPr>
            </a:lvl1pPr>
            <a:lvl2pPr marL="1219170" marR="0" lvl="1" indent="-423323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00BD4D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lt1"/>
                </a:solidFill>
                <a:latin typeface="Lato Light"/>
                <a:ea typeface="Lato Light"/>
                <a:cs typeface="Lato Light"/>
                <a:sym typeface="Lato Light"/>
              </a:defRPr>
            </a:lvl2pPr>
            <a:lvl3pPr marL="1828754" marR="0" lvl="2" indent="-40639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00BD4D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lt1"/>
                </a:solidFill>
                <a:latin typeface="Lato Light"/>
                <a:ea typeface="Lato Light"/>
                <a:cs typeface="Lato Light"/>
                <a:sym typeface="Lato Light"/>
              </a:defRPr>
            </a:lvl3pPr>
            <a:lvl4pPr marL="2438339" marR="0" lvl="3" indent="-397923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00BD4D"/>
              </a:buClr>
              <a:buSzPts val="1100"/>
              <a:buFont typeface="Arial"/>
              <a:buChar char="•"/>
              <a:defRPr sz="1467" b="0" i="0" u="none" strike="noStrike" cap="none">
                <a:solidFill>
                  <a:schemeClr val="lt1"/>
                </a:solidFill>
                <a:latin typeface="Lato Light"/>
                <a:ea typeface="Lato Light"/>
                <a:cs typeface="Lato Light"/>
                <a:sym typeface="Lato Light"/>
              </a:defRPr>
            </a:lvl4pPr>
            <a:lvl5pPr marL="3047924" marR="0" lvl="4" indent="-397923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00BD4D"/>
              </a:buClr>
              <a:buSzPts val="1100"/>
              <a:buFont typeface="Arial"/>
              <a:buChar char="•"/>
              <a:defRPr sz="1467" b="0" i="0" u="none" strike="noStrike" cap="none">
                <a:solidFill>
                  <a:schemeClr val="lt1"/>
                </a:solidFill>
                <a:latin typeface="Lato Light"/>
                <a:ea typeface="Lato Light"/>
                <a:cs typeface="Lato Light"/>
                <a:sym typeface="Lato Light"/>
              </a:defRPr>
            </a:lvl5pPr>
            <a:lvl6pPr marL="3657509" marR="0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6pPr>
            <a:lvl7pPr marL="4267093" marR="0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7pPr>
            <a:lvl8pPr marL="4876678" marR="0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8pPr>
            <a:lvl9pPr marL="5486263" marR="0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9pPr>
          </a:lstStyle>
          <a:p>
            <a:endParaRPr/>
          </a:p>
        </p:txBody>
      </p:sp>
      <p:pic>
        <p:nvPicPr>
          <p:cNvPr id="115" name="Google Shape;115;p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 flipH="1">
            <a:off x="546581" y="1135123"/>
            <a:ext cx="5943600" cy="2743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35388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Slide">
  <p:cSld name="5_Title Slide">
    <p:spTree>
      <p:nvGrpSpPr>
        <p:cNvPr id="1" name="Shape 4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4" name="Google Shape;464;p60"/>
          <p:cNvSpPr txBox="1">
            <a:spLocks noGrp="1"/>
          </p:cNvSpPr>
          <p:nvPr>
            <p:ph type="ctrTitle"/>
          </p:nvPr>
        </p:nvSpPr>
        <p:spPr>
          <a:xfrm>
            <a:off x="623888" y="2694396"/>
            <a:ext cx="6005600" cy="11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900"/>
              <a:buFont typeface="Lato"/>
              <a:buNone/>
              <a:defRPr sz="3867" b="1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65" name="Google Shape;465;p60"/>
          <p:cNvSpPr txBox="1">
            <a:spLocks noGrp="1"/>
          </p:cNvSpPr>
          <p:nvPr>
            <p:ph type="subTitle" idx="1"/>
          </p:nvPr>
        </p:nvSpPr>
        <p:spPr>
          <a:xfrm>
            <a:off x="623888" y="3905827"/>
            <a:ext cx="5999600" cy="140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00BD4D"/>
              </a:buClr>
              <a:buSzPts val="1700"/>
              <a:buFont typeface="Arial"/>
              <a:buNone/>
              <a:defRPr sz="2267" b="0" i="0" u="none" strike="noStrike" cap="none">
                <a:solidFill>
                  <a:srgbClr val="00BD4D"/>
                </a:solidFill>
                <a:latin typeface="Lato Light"/>
                <a:ea typeface="Lato Light"/>
                <a:cs typeface="Lato Light"/>
                <a:sym typeface="Lato Light"/>
              </a:defRPr>
            </a:lvl1pPr>
            <a:lvl2pPr marR="0" lvl="1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2pPr>
            <a:lvl3pPr marR="0" lvl="2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3pPr>
            <a:lvl4pPr marR="0" lvl="3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4pPr>
            <a:lvl5pPr marR="0" lvl="4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5pPr>
            <a:lvl6pPr marR="0" lvl="5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6pPr>
            <a:lvl7pPr marR="0" lvl="6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7pPr>
            <a:lvl8pPr marR="0" lvl="7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8pPr>
            <a:lvl9pPr marR="0" lvl="8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9pPr>
          </a:lstStyle>
          <a:p>
            <a:endParaRPr/>
          </a:p>
        </p:txBody>
      </p:sp>
      <p:grpSp>
        <p:nvGrpSpPr>
          <p:cNvPr id="467" name="Google Shape;467;p60"/>
          <p:cNvGrpSpPr/>
          <p:nvPr/>
        </p:nvGrpSpPr>
        <p:grpSpPr>
          <a:xfrm>
            <a:off x="733015" y="525231"/>
            <a:ext cx="2455531" cy="529351"/>
            <a:chOff x="9242171" y="2998561"/>
            <a:chExt cx="1672097" cy="360462"/>
          </a:xfrm>
        </p:grpSpPr>
        <p:sp>
          <p:nvSpPr>
            <p:cNvPr id="468" name="Google Shape;468;p60"/>
            <p:cNvSpPr/>
            <p:nvPr/>
          </p:nvSpPr>
          <p:spPr>
            <a:xfrm rot="-2700000">
              <a:off x="9267558" y="3013791"/>
              <a:ext cx="73537" cy="73537"/>
            </a:xfrm>
            <a:custGeom>
              <a:avLst/>
              <a:gdLst/>
              <a:ahLst/>
              <a:cxnLst/>
              <a:rect l="l" t="t" r="r" b="b"/>
              <a:pathLst>
                <a:path w="73496" h="73496" extrusionOk="0">
                  <a:moveTo>
                    <a:pt x="67007" y="0"/>
                  </a:moveTo>
                  <a:cubicBezTo>
                    <a:pt x="70591" y="0"/>
                    <a:pt x="73497" y="2905"/>
                    <a:pt x="73497" y="6489"/>
                  </a:cubicBezTo>
                  <a:lnTo>
                    <a:pt x="73497" y="67007"/>
                  </a:lnTo>
                  <a:cubicBezTo>
                    <a:pt x="73497" y="70591"/>
                    <a:pt x="70591" y="73496"/>
                    <a:pt x="67007" y="73496"/>
                  </a:cubicBezTo>
                  <a:lnTo>
                    <a:pt x="6489" y="73496"/>
                  </a:lnTo>
                  <a:cubicBezTo>
                    <a:pt x="2905" y="73496"/>
                    <a:pt x="0" y="70591"/>
                    <a:pt x="0" y="67007"/>
                  </a:cubicBezTo>
                  <a:lnTo>
                    <a:pt x="0" y="6489"/>
                  </a:lnTo>
                  <a:cubicBezTo>
                    <a:pt x="0" y="2905"/>
                    <a:pt x="2905" y="0"/>
                    <a:pt x="6489" y="0"/>
                  </a:cubicBezTo>
                  <a:close/>
                </a:path>
              </a:pathLst>
            </a:custGeom>
            <a:solidFill>
              <a:srgbClr val="00BD4D"/>
            </a:solidFill>
            <a:ln>
              <a:noFill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7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endParaRPr>
            </a:p>
          </p:txBody>
        </p:sp>
        <p:grpSp>
          <p:nvGrpSpPr>
            <p:cNvPr id="469" name="Google Shape;469;p60"/>
            <p:cNvGrpSpPr/>
            <p:nvPr/>
          </p:nvGrpSpPr>
          <p:grpSpPr>
            <a:xfrm>
              <a:off x="9242171" y="3011696"/>
              <a:ext cx="1672097" cy="347327"/>
              <a:chOff x="9242171" y="3011696"/>
              <a:chExt cx="1672097" cy="347327"/>
            </a:xfrm>
          </p:grpSpPr>
          <p:sp>
            <p:nvSpPr>
              <p:cNvPr id="470" name="Google Shape;470;p60"/>
              <p:cNvSpPr/>
              <p:nvPr/>
            </p:nvSpPr>
            <p:spPr>
              <a:xfrm>
                <a:off x="10604432" y="3110234"/>
                <a:ext cx="249644" cy="243844"/>
              </a:xfrm>
              <a:custGeom>
                <a:avLst/>
                <a:gdLst/>
                <a:ahLst/>
                <a:cxnLst/>
                <a:rect l="l" t="t" r="r" b="b"/>
                <a:pathLst>
                  <a:path w="249644" h="243844" extrusionOk="0">
                    <a:moveTo>
                      <a:pt x="172562" y="121922"/>
                    </a:moveTo>
                    <a:lnTo>
                      <a:pt x="248603" y="234754"/>
                    </a:lnTo>
                    <a:cubicBezTo>
                      <a:pt x="251347" y="238642"/>
                      <a:pt x="248346" y="243845"/>
                      <a:pt x="243372" y="243845"/>
                    </a:cubicBezTo>
                    <a:lnTo>
                      <a:pt x="179480" y="243845"/>
                    </a:lnTo>
                    <a:cubicBezTo>
                      <a:pt x="175221" y="243845"/>
                      <a:pt x="171219" y="241729"/>
                      <a:pt x="168789" y="238213"/>
                    </a:cubicBezTo>
                    <a:lnTo>
                      <a:pt x="124822" y="170949"/>
                    </a:lnTo>
                    <a:lnTo>
                      <a:pt x="80856" y="238213"/>
                    </a:lnTo>
                    <a:cubicBezTo>
                      <a:pt x="78426" y="241729"/>
                      <a:pt x="74452" y="243845"/>
                      <a:pt x="70164" y="243845"/>
                    </a:cubicBezTo>
                    <a:lnTo>
                      <a:pt x="6273" y="243845"/>
                    </a:lnTo>
                    <a:cubicBezTo>
                      <a:pt x="1299" y="243845"/>
                      <a:pt x="-1703" y="238671"/>
                      <a:pt x="1042" y="234754"/>
                    </a:cubicBezTo>
                    <a:lnTo>
                      <a:pt x="76854" y="121922"/>
                    </a:lnTo>
                    <a:lnTo>
                      <a:pt x="1042" y="9091"/>
                    </a:lnTo>
                    <a:cubicBezTo>
                      <a:pt x="-1703" y="5203"/>
                      <a:pt x="1299" y="0"/>
                      <a:pt x="6273" y="0"/>
                    </a:cubicBezTo>
                    <a:lnTo>
                      <a:pt x="72880" y="0"/>
                    </a:lnTo>
                    <a:cubicBezTo>
                      <a:pt x="75367" y="0"/>
                      <a:pt x="77683" y="1143"/>
                      <a:pt x="78998" y="3030"/>
                    </a:cubicBezTo>
                    <a:lnTo>
                      <a:pt x="124794" y="72782"/>
                    </a:lnTo>
                    <a:lnTo>
                      <a:pt x="167788" y="3059"/>
                    </a:lnTo>
                    <a:cubicBezTo>
                      <a:pt x="169075" y="1172"/>
                      <a:pt x="171419" y="0"/>
                      <a:pt x="173906" y="0"/>
                    </a:cubicBezTo>
                    <a:lnTo>
                      <a:pt x="241171" y="0"/>
                    </a:lnTo>
                    <a:cubicBezTo>
                      <a:pt x="246145" y="0"/>
                      <a:pt x="249118" y="5174"/>
                      <a:pt x="246402" y="9062"/>
                    </a:cubicBezTo>
                    <a:lnTo>
                      <a:pt x="172505" y="121922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867" b="0" i="0" u="none" strike="noStrike" cap="none">
                  <a:solidFill>
                    <a:schemeClr val="dk1"/>
                  </a:solidFill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  <p:sp>
            <p:nvSpPr>
              <p:cNvPr id="471" name="Google Shape;471;p60"/>
              <p:cNvSpPr/>
              <p:nvPr/>
            </p:nvSpPr>
            <p:spPr>
              <a:xfrm>
                <a:off x="9581152" y="3011696"/>
                <a:ext cx="164831" cy="342440"/>
              </a:xfrm>
              <a:custGeom>
                <a:avLst/>
                <a:gdLst/>
                <a:ahLst/>
                <a:cxnLst/>
                <a:rect l="l" t="t" r="r" b="b"/>
                <a:pathLst>
                  <a:path w="164831" h="342440" extrusionOk="0">
                    <a:moveTo>
                      <a:pt x="158342" y="29"/>
                    </a:moveTo>
                    <a:lnTo>
                      <a:pt x="105342" y="29"/>
                    </a:lnTo>
                    <a:cubicBezTo>
                      <a:pt x="100197" y="29"/>
                      <a:pt x="95251" y="2087"/>
                      <a:pt x="91592" y="5717"/>
                    </a:cubicBezTo>
                    <a:lnTo>
                      <a:pt x="41794" y="55515"/>
                    </a:lnTo>
                    <a:cubicBezTo>
                      <a:pt x="38135" y="59175"/>
                      <a:pt x="36105" y="64120"/>
                      <a:pt x="36105" y="69266"/>
                    </a:cubicBezTo>
                    <a:lnTo>
                      <a:pt x="36105" y="108458"/>
                    </a:lnTo>
                    <a:lnTo>
                      <a:pt x="6375" y="108458"/>
                    </a:lnTo>
                    <a:cubicBezTo>
                      <a:pt x="2859" y="108458"/>
                      <a:pt x="0" y="111317"/>
                      <a:pt x="0" y="114833"/>
                    </a:cubicBezTo>
                    <a:lnTo>
                      <a:pt x="0" y="158828"/>
                    </a:lnTo>
                    <a:cubicBezTo>
                      <a:pt x="0" y="162344"/>
                      <a:pt x="2859" y="165203"/>
                      <a:pt x="6375" y="165203"/>
                    </a:cubicBezTo>
                    <a:lnTo>
                      <a:pt x="36105" y="165203"/>
                    </a:lnTo>
                    <a:lnTo>
                      <a:pt x="36105" y="335951"/>
                    </a:lnTo>
                    <a:cubicBezTo>
                      <a:pt x="36105" y="339524"/>
                      <a:pt x="39021" y="342440"/>
                      <a:pt x="42594" y="342440"/>
                    </a:cubicBezTo>
                    <a:lnTo>
                      <a:pt x="98510" y="342440"/>
                    </a:lnTo>
                    <a:cubicBezTo>
                      <a:pt x="102083" y="342440"/>
                      <a:pt x="104999" y="339524"/>
                      <a:pt x="104999" y="335951"/>
                    </a:cubicBezTo>
                    <a:lnTo>
                      <a:pt x="104999" y="165174"/>
                    </a:lnTo>
                    <a:lnTo>
                      <a:pt x="149394" y="165174"/>
                    </a:lnTo>
                    <a:cubicBezTo>
                      <a:pt x="152911" y="165174"/>
                      <a:pt x="155769" y="162315"/>
                      <a:pt x="155769" y="158799"/>
                    </a:cubicBezTo>
                    <a:lnTo>
                      <a:pt x="155769" y="114804"/>
                    </a:lnTo>
                    <a:cubicBezTo>
                      <a:pt x="155769" y="111288"/>
                      <a:pt x="152911" y="108429"/>
                      <a:pt x="149394" y="108429"/>
                    </a:cubicBezTo>
                    <a:lnTo>
                      <a:pt x="104999" y="108429"/>
                    </a:lnTo>
                    <a:lnTo>
                      <a:pt x="104999" y="80643"/>
                    </a:lnTo>
                    <a:cubicBezTo>
                      <a:pt x="104999" y="69895"/>
                      <a:pt x="113718" y="61204"/>
                      <a:pt x="124438" y="61204"/>
                    </a:cubicBezTo>
                    <a:lnTo>
                      <a:pt x="158342" y="61204"/>
                    </a:lnTo>
                    <a:cubicBezTo>
                      <a:pt x="161915" y="61204"/>
                      <a:pt x="164831" y="58288"/>
                      <a:pt x="164831" y="54715"/>
                    </a:cubicBezTo>
                    <a:lnTo>
                      <a:pt x="164831" y="6489"/>
                    </a:lnTo>
                    <a:cubicBezTo>
                      <a:pt x="164831" y="2916"/>
                      <a:pt x="161915" y="0"/>
                      <a:pt x="158342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867" b="0" i="0" u="none" strike="noStrike" cap="none">
                  <a:solidFill>
                    <a:schemeClr val="dk1"/>
                  </a:solidFill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  <p:sp>
            <p:nvSpPr>
              <p:cNvPr id="472" name="Google Shape;472;p60"/>
              <p:cNvSpPr/>
              <p:nvPr/>
            </p:nvSpPr>
            <p:spPr>
              <a:xfrm>
                <a:off x="10860611" y="3304224"/>
                <a:ext cx="53657" cy="53657"/>
              </a:xfrm>
              <a:custGeom>
                <a:avLst/>
                <a:gdLst/>
                <a:ahLst/>
                <a:cxnLst/>
                <a:rect l="l" t="t" r="r" b="b"/>
                <a:pathLst>
                  <a:path w="53657" h="53657" extrusionOk="0">
                    <a:moveTo>
                      <a:pt x="53657" y="26786"/>
                    </a:moveTo>
                    <a:cubicBezTo>
                      <a:pt x="53657" y="41708"/>
                      <a:pt x="41708" y="53657"/>
                      <a:pt x="26729" y="53657"/>
                    </a:cubicBezTo>
                    <a:cubicBezTo>
                      <a:pt x="11749" y="53657"/>
                      <a:pt x="0" y="41594"/>
                      <a:pt x="0" y="26786"/>
                    </a:cubicBezTo>
                    <a:cubicBezTo>
                      <a:pt x="0" y="11978"/>
                      <a:pt x="11949" y="0"/>
                      <a:pt x="26814" y="0"/>
                    </a:cubicBezTo>
                    <a:cubicBezTo>
                      <a:pt x="41679" y="0"/>
                      <a:pt x="53629" y="11892"/>
                      <a:pt x="53629" y="26786"/>
                    </a:cubicBezTo>
                    <a:close/>
                    <a:moveTo>
                      <a:pt x="49541" y="26900"/>
                    </a:moveTo>
                    <a:cubicBezTo>
                      <a:pt x="49541" y="14036"/>
                      <a:pt x="39392" y="3831"/>
                      <a:pt x="26843" y="3831"/>
                    </a:cubicBezTo>
                    <a:cubicBezTo>
                      <a:pt x="14293" y="3831"/>
                      <a:pt x="4145" y="13922"/>
                      <a:pt x="4145" y="26872"/>
                    </a:cubicBezTo>
                    <a:cubicBezTo>
                      <a:pt x="4145" y="39821"/>
                      <a:pt x="14408" y="49884"/>
                      <a:pt x="26729" y="49884"/>
                    </a:cubicBezTo>
                    <a:cubicBezTo>
                      <a:pt x="39049" y="49884"/>
                      <a:pt x="49541" y="39736"/>
                      <a:pt x="49541" y="26900"/>
                    </a:cubicBezTo>
                    <a:close/>
                    <a:moveTo>
                      <a:pt x="32589" y="31131"/>
                    </a:moveTo>
                    <a:lnTo>
                      <a:pt x="39335" y="41622"/>
                    </a:lnTo>
                    <a:lnTo>
                      <a:pt x="34876" y="41622"/>
                    </a:lnTo>
                    <a:lnTo>
                      <a:pt x="27386" y="29730"/>
                    </a:lnTo>
                    <a:lnTo>
                      <a:pt x="20554" y="29730"/>
                    </a:lnTo>
                    <a:lnTo>
                      <a:pt x="20554" y="41622"/>
                    </a:lnTo>
                    <a:lnTo>
                      <a:pt x="16809" y="41622"/>
                    </a:lnTo>
                    <a:lnTo>
                      <a:pt x="16809" y="11549"/>
                    </a:lnTo>
                    <a:lnTo>
                      <a:pt x="28472" y="11549"/>
                    </a:lnTo>
                    <a:cubicBezTo>
                      <a:pt x="34218" y="11549"/>
                      <a:pt x="37963" y="14636"/>
                      <a:pt x="37963" y="20411"/>
                    </a:cubicBezTo>
                    <a:cubicBezTo>
                      <a:pt x="37963" y="25071"/>
                      <a:pt x="35133" y="27958"/>
                      <a:pt x="31131" y="29101"/>
                    </a:cubicBezTo>
                    <a:cubicBezTo>
                      <a:pt x="31674" y="29702"/>
                      <a:pt x="32217" y="30445"/>
                      <a:pt x="32589" y="31160"/>
                    </a:cubicBezTo>
                    <a:close/>
                    <a:moveTo>
                      <a:pt x="27214" y="26185"/>
                    </a:moveTo>
                    <a:cubicBezTo>
                      <a:pt x="31445" y="26185"/>
                      <a:pt x="34047" y="24184"/>
                      <a:pt x="34047" y="20640"/>
                    </a:cubicBezTo>
                    <a:cubicBezTo>
                      <a:pt x="34047" y="17095"/>
                      <a:pt x="32246" y="15037"/>
                      <a:pt x="28558" y="15037"/>
                    </a:cubicBezTo>
                    <a:lnTo>
                      <a:pt x="20525" y="15037"/>
                    </a:lnTo>
                    <a:lnTo>
                      <a:pt x="20525" y="26157"/>
                    </a:lnTo>
                    <a:lnTo>
                      <a:pt x="27214" y="26157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867" b="0" i="0" u="none" strike="noStrike" cap="none">
                  <a:solidFill>
                    <a:schemeClr val="dk1"/>
                  </a:solidFill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  <p:sp>
            <p:nvSpPr>
              <p:cNvPr id="473" name="Google Shape;473;p60"/>
              <p:cNvSpPr/>
              <p:nvPr/>
            </p:nvSpPr>
            <p:spPr>
              <a:xfrm>
                <a:off x="10283815" y="3011724"/>
                <a:ext cx="68865" cy="342354"/>
              </a:xfrm>
              <a:custGeom>
                <a:avLst/>
                <a:gdLst/>
                <a:ahLst/>
                <a:cxnLst/>
                <a:rect l="l" t="t" r="r" b="b"/>
                <a:pathLst>
                  <a:path w="68865" h="342354" extrusionOk="0">
                    <a:moveTo>
                      <a:pt x="62376" y="0"/>
                    </a:moveTo>
                    <a:cubicBezTo>
                      <a:pt x="65960" y="0"/>
                      <a:pt x="68866" y="2905"/>
                      <a:pt x="68866" y="6489"/>
                    </a:cubicBezTo>
                    <a:lnTo>
                      <a:pt x="68866" y="335865"/>
                    </a:lnTo>
                    <a:cubicBezTo>
                      <a:pt x="68866" y="339449"/>
                      <a:pt x="65960" y="342355"/>
                      <a:pt x="62376" y="342355"/>
                    </a:cubicBezTo>
                    <a:lnTo>
                      <a:pt x="6489" y="342355"/>
                    </a:lnTo>
                    <a:cubicBezTo>
                      <a:pt x="2905" y="342355"/>
                      <a:pt x="0" y="339449"/>
                      <a:pt x="0" y="335865"/>
                    </a:cubicBezTo>
                    <a:lnTo>
                      <a:pt x="0" y="6489"/>
                    </a:lnTo>
                    <a:cubicBezTo>
                      <a:pt x="0" y="2905"/>
                      <a:pt x="2905" y="0"/>
                      <a:pt x="6489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867" b="0" i="0" u="none" strike="noStrike" cap="none">
                  <a:solidFill>
                    <a:schemeClr val="dk1"/>
                  </a:solidFill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  <p:sp>
            <p:nvSpPr>
              <p:cNvPr id="474" name="Google Shape;474;p60"/>
              <p:cNvSpPr/>
              <p:nvPr/>
            </p:nvSpPr>
            <p:spPr>
              <a:xfrm>
                <a:off x="10006809" y="3011696"/>
                <a:ext cx="258538" cy="347300"/>
              </a:xfrm>
              <a:custGeom>
                <a:avLst/>
                <a:gdLst/>
                <a:ahLst/>
                <a:cxnLst/>
                <a:rect l="l" t="t" r="r" b="b"/>
                <a:pathLst>
                  <a:path w="258538" h="347300" extrusionOk="0">
                    <a:moveTo>
                      <a:pt x="143734" y="93393"/>
                    </a:moveTo>
                    <a:cubicBezTo>
                      <a:pt x="111946" y="93393"/>
                      <a:pt x="85503" y="107172"/>
                      <a:pt x="68894" y="129755"/>
                    </a:cubicBezTo>
                    <a:lnTo>
                      <a:pt x="68894" y="6489"/>
                    </a:lnTo>
                    <a:cubicBezTo>
                      <a:pt x="68894" y="2916"/>
                      <a:pt x="65978" y="0"/>
                      <a:pt x="62405" y="0"/>
                    </a:cubicBezTo>
                    <a:lnTo>
                      <a:pt x="6489" y="0"/>
                    </a:lnTo>
                    <a:cubicBezTo>
                      <a:pt x="2916" y="0"/>
                      <a:pt x="0" y="2916"/>
                      <a:pt x="0" y="6489"/>
                    </a:cubicBezTo>
                    <a:lnTo>
                      <a:pt x="0" y="335894"/>
                    </a:lnTo>
                    <a:cubicBezTo>
                      <a:pt x="0" y="339467"/>
                      <a:pt x="2916" y="342383"/>
                      <a:pt x="6489" y="342383"/>
                    </a:cubicBezTo>
                    <a:lnTo>
                      <a:pt x="62405" y="342383"/>
                    </a:lnTo>
                    <a:cubicBezTo>
                      <a:pt x="65978" y="342383"/>
                      <a:pt x="68894" y="339467"/>
                      <a:pt x="68894" y="335894"/>
                    </a:cubicBezTo>
                    <a:lnTo>
                      <a:pt x="68894" y="311624"/>
                    </a:lnTo>
                    <a:cubicBezTo>
                      <a:pt x="85532" y="334236"/>
                      <a:pt x="111946" y="347300"/>
                      <a:pt x="144249" y="347300"/>
                    </a:cubicBezTo>
                    <a:cubicBezTo>
                      <a:pt x="212257" y="347300"/>
                      <a:pt x="258539" y="292442"/>
                      <a:pt x="258539" y="220689"/>
                    </a:cubicBezTo>
                    <a:cubicBezTo>
                      <a:pt x="258539" y="148937"/>
                      <a:pt x="212257" y="93393"/>
                      <a:pt x="143763" y="93393"/>
                    </a:cubicBezTo>
                    <a:close/>
                    <a:moveTo>
                      <a:pt x="130041" y="282637"/>
                    </a:moveTo>
                    <a:cubicBezTo>
                      <a:pt x="94822" y="282637"/>
                      <a:pt x="68894" y="254136"/>
                      <a:pt x="68894" y="220718"/>
                    </a:cubicBezTo>
                    <a:cubicBezTo>
                      <a:pt x="68894" y="187300"/>
                      <a:pt x="94822" y="159285"/>
                      <a:pt x="130041" y="159285"/>
                    </a:cubicBezTo>
                    <a:cubicBezTo>
                      <a:pt x="165260" y="159285"/>
                      <a:pt x="190216" y="187300"/>
                      <a:pt x="190216" y="220718"/>
                    </a:cubicBezTo>
                    <a:cubicBezTo>
                      <a:pt x="190216" y="254136"/>
                      <a:pt x="164774" y="282637"/>
                      <a:pt x="130041" y="282637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867" b="0" i="0" u="none" strike="noStrike" cap="none">
                  <a:solidFill>
                    <a:schemeClr val="dk1"/>
                  </a:solidFill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  <p:sp>
            <p:nvSpPr>
              <p:cNvPr id="475" name="Google Shape;475;p60"/>
              <p:cNvSpPr/>
              <p:nvPr/>
            </p:nvSpPr>
            <p:spPr>
              <a:xfrm>
                <a:off x="9736922" y="3105088"/>
                <a:ext cx="251792" cy="253935"/>
              </a:xfrm>
              <a:custGeom>
                <a:avLst/>
                <a:gdLst/>
                <a:ahLst/>
                <a:cxnLst/>
                <a:rect l="l" t="t" r="r" b="b"/>
                <a:pathLst>
                  <a:path w="251792" h="253935" extrusionOk="0">
                    <a:moveTo>
                      <a:pt x="125896" y="0"/>
                    </a:moveTo>
                    <a:cubicBezTo>
                      <a:pt x="54944" y="0"/>
                      <a:pt x="0" y="55287"/>
                      <a:pt x="0" y="126725"/>
                    </a:cubicBezTo>
                    <a:cubicBezTo>
                      <a:pt x="0" y="198163"/>
                      <a:pt x="54915" y="253936"/>
                      <a:pt x="125896" y="253936"/>
                    </a:cubicBezTo>
                    <a:cubicBezTo>
                      <a:pt x="196877" y="253936"/>
                      <a:pt x="251792" y="198163"/>
                      <a:pt x="251792" y="126725"/>
                    </a:cubicBezTo>
                    <a:cubicBezTo>
                      <a:pt x="251792" y="55287"/>
                      <a:pt x="196877" y="0"/>
                      <a:pt x="125896" y="0"/>
                    </a:cubicBezTo>
                    <a:close/>
                    <a:moveTo>
                      <a:pt x="126153" y="188558"/>
                    </a:moveTo>
                    <a:cubicBezTo>
                      <a:pt x="91506" y="188558"/>
                      <a:pt x="65378" y="160314"/>
                      <a:pt x="65378" y="126725"/>
                    </a:cubicBezTo>
                    <a:cubicBezTo>
                      <a:pt x="65378" y="93136"/>
                      <a:pt x="91506" y="65378"/>
                      <a:pt x="126153" y="65378"/>
                    </a:cubicBezTo>
                    <a:cubicBezTo>
                      <a:pt x="160801" y="65378"/>
                      <a:pt x="186443" y="93136"/>
                      <a:pt x="186443" y="126725"/>
                    </a:cubicBezTo>
                    <a:cubicBezTo>
                      <a:pt x="186443" y="160314"/>
                      <a:pt x="161315" y="188558"/>
                      <a:pt x="126153" y="188558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867" b="0" i="0" u="none" strike="noStrike" cap="none">
                  <a:solidFill>
                    <a:schemeClr val="dk1"/>
                  </a:solidFill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  <p:sp>
            <p:nvSpPr>
              <p:cNvPr id="476" name="Google Shape;476;p60"/>
              <p:cNvSpPr/>
              <p:nvPr/>
            </p:nvSpPr>
            <p:spPr>
              <a:xfrm>
                <a:off x="10370776" y="3105088"/>
                <a:ext cx="251792" cy="253935"/>
              </a:xfrm>
              <a:custGeom>
                <a:avLst/>
                <a:gdLst/>
                <a:ahLst/>
                <a:cxnLst/>
                <a:rect l="l" t="t" r="r" b="b"/>
                <a:pathLst>
                  <a:path w="251792" h="253935" extrusionOk="0">
                    <a:moveTo>
                      <a:pt x="125896" y="0"/>
                    </a:moveTo>
                    <a:cubicBezTo>
                      <a:pt x="54944" y="0"/>
                      <a:pt x="0" y="55287"/>
                      <a:pt x="0" y="126725"/>
                    </a:cubicBezTo>
                    <a:cubicBezTo>
                      <a:pt x="0" y="198163"/>
                      <a:pt x="54915" y="253936"/>
                      <a:pt x="125896" y="253936"/>
                    </a:cubicBezTo>
                    <a:cubicBezTo>
                      <a:pt x="196877" y="253936"/>
                      <a:pt x="251792" y="198163"/>
                      <a:pt x="251792" y="126725"/>
                    </a:cubicBezTo>
                    <a:cubicBezTo>
                      <a:pt x="251792" y="55287"/>
                      <a:pt x="196877" y="0"/>
                      <a:pt x="125896" y="0"/>
                    </a:cubicBezTo>
                    <a:close/>
                    <a:moveTo>
                      <a:pt x="126153" y="188558"/>
                    </a:moveTo>
                    <a:cubicBezTo>
                      <a:pt x="91506" y="188558"/>
                      <a:pt x="65378" y="160314"/>
                      <a:pt x="65378" y="126725"/>
                    </a:cubicBezTo>
                    <a:cubicBezTo>
                      <a:pt x="65378" y="93136"/>
                      <a:pt x="91506" y="65378"/>
                      <a:pt x="126153" y="65378"/>
                    </a:cubicBezTo>
                    <a:cubicBezTo>
                      <a:pt x="160801" y="65378"/>
                      <a:pt x="186443" y="93136"/>
                      <a:pt x="186443" y="126725"/>
                    </a:cubicBezTo>
                    <a:cubicBezTo>
                      <a:pt x="186443" y="160314"/>
                      <a:pt x="161315" y="188558"/>
                      <a:pt x="126153" y="188558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867" b="0" i="0" u="none" strike="noStrike" cap="none">
                  <a:solidFill>
                    <a:schemeClr val="dk1"/>
                  </a:solidFill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  <p:sp>
            <p:nvSpPr>
              <p:cNvPr id="477" name="Google Shape;477;p60"/>
              <p:cNvSpPr/>
              <p:nvPr/>
            </p:nvSpPr>
            <p:spPr>
              <a:xfrm>
                <a:off x="9242171" y="3110092"/>
                <a:ext cx="68865" cy="243987"/>
              </a:xfrm>
              <a:custGeom>
                <a:avLst/>
                <a:gdLst/>
                <a:ahLst/>
                <a:cxnLst/>
                <a:rect l="l" t="t" r="r" b="b"/>
                <a:pathLst>
                  <a:path w="68865" h="243987" extrusionOk="0">
                    <a:moveTo>
                      <a:pt x="62405" y="243987"/>
                    </a:moveTo>
                    <a:lnTo>
                      <a:pt x="6489" y="243987"/>
                    </a:lnTo>
                    <a:cubicBezTo>
                      <a:pt x="2916" y="243987"/>
                      <a:pt x="0" y="241071"/>
                      <a:pt x="0" y="237498"/>
                    </a:cubicBezTo>
                    <a:lnTo>
                      <a:pt x="0" y="63891"/>
                    </a:lnTo>
                    <a:cubicBezTo>
                      <a:pt x="0" y="60403"/>
                      <a:pt x="1401" y="57059"/>
                      <a:pt x="3888" y="54629"/>
                    </a:cubicBezTo>
                    <a:lnTo>
                      <a:pt x="57860" y="1858"/>
                    </a:lnTo>
                    <a:cubicBezTo>
                      <a:pt x="61976" y="-2144"/>
                      <a:pt x="68866" y="743"/>
                      <a:pt x="68866" y="6489"/>
                    </a:cubicBezTo>
                    <a:lnTo>
                      <a:pt x="68866" y="237498"/>
                    </a:lnTo>
                    <a:cubicBezTo>
                      <a:pt x="68866" y="241071"/>
                      <a:pt x="65950" y="243987"/>
                      <a:pt x="62376" y="243987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867" b="0" i="0" u="none" strike="noStrike" cap="none">
                  <a:solidFill>
                    <a:schemeClr val="dk1"/>
                  </a:solidFill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  <p:sp>
            <p:nvSpPr>
              <p:cNvPr id="478" name="Google Shape;478;p60"/>
              <p:cNvSpPr/>
              <p:nvPr/>
            </p:nvSpPr>
            <p:spPr>
              <a:xfrm>
                <a:off x="9347255" y="3105025"/>
                <a:ext cx="224777" cy="249082"/>
              </a:xfrm>
              <a:custGeom>
                <a:avLst/>
                <a:gdLst/>
                <a:ahLst/>
                <a:cxnLst/>
                <a:rect l="l" t="t" r="r" b="b"/>
                <a:pathLst>
                  <a:path w="224777" h="249082" extrusionOk="0">
                    <a:moveTo>
                      <a:pt x="224749" y="87568"/>
                    </a:moveTo>
                    <a:cubicBezTo>
                      <a:pt x="224749" y="40257"/>
                      <a:pt x="185671" y="578"/>
                      <a:pt x="136416" y="6"/>
                    </a:cubicBezTo>
                    <a:cubicBezTo>
                      <a:pt x="104370" y="-365"/>
                      <a:pt x="82730" y="15329"/>
                      <a:pt x="68894" y="36540"/>
                    </a:cubicBezTo>
                    <a:lnTo>
                      <a:pt x="68894" y="11670"/>
                    </a:lnTo>
                    <a:cubicBezTo>
                      <a:pt x="68894" y="8097"/>
                      <a:pt x="65978" y="5181"/>
                      <a:pt x="62405" y="5181"/>
                    </a:cubicBezTo>
                    <a:lnTo>
                      <a:pt x="6489" y="5181"/>
                    </a:lnTo>
                    <a:cubicBezTo>
                      <a:pt x="2916" y="5181"/>
                      <a:pt x="0" y="8097"/>
                      <a:pt x="0" y="11670"/>
                    </a:cubicBezTo>
                    <a:lnTo>
                      <a:pt x="0" y="242565"/>
                    </a:lnTo>
                    <a:cubicBezTo>
                      <a:pt x="0" y="246138"/>
                      <a:pt x="2916" y="249054"/>
                      <a:pt x="6489" y="249054"/>
                    </a:cubicBezTo>
                    <a:lnTo>
                      <a:pt x="62405" y="249054"/>
                    </a:lnTo>
                    <a:cubicBezTo>
                      <a:pt x="65978" y="249054"/>
                      <a:pt x="68894" y="246138"/>
                      <a:pt x="68894" y="242565"/>
                    </a:cubicBezTo>
                    <a:lnTo>
                      <a:pt x="68894" y="108293"/>
                    </a:lnTo>
                    <a:cubicBezTo>
                      <a:pt x="70438" y="82451"/>
                      <a:pt x="86818" y="66385"/>
                      <a:pt x="112375" y="66385"/>
                    </a:cubicBezTo>
                    <a:cubicBezTo>
                      <a:pt x="137931" y="66385"/>
                      <a:pt x="155884" y="84423"/>
                      <a:pt x="155884" y="111266"/>
                    </a:cubicBezTo>
                    <a:lnTo>
                      <a:pt x="155884" y="242593"/>
                    </a:lnTo>
                    <a:cubicBezTo>
                      <a:pt x="155884" y="246167"/>
                      <a:pt x="158800" y="249083"/>
                      <a:pt x="162373" y="249083"/>
                    </a:cubicBezTo>
                    <a:lnTo>
                      <a:pt x="218289" y="249083"/>
                    </a:lnTo>
                    <a:cubicBezTo>
                      <a:pt x="221862" y="249083"/>
                      <a:pt x="224778" y="246167"/>
                      <a:pt x="224778" y="242593"/>
                    </a:cubicBezTo>
                    <a:lnTo>
                      <a:pt x="224778" y="8759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867" b="0" i="0" u="none" strike="noStrike" cap="none">
                  <a:solidFill>
                    <a:schemeClr val="dk1"/>
                  </a:solidFill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8586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FC33C9D-22B8-26C4-D9C6-210017F88C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4675482"/>
              </p:ext>
            </p:extLst>
          </p:nvPr>
        </p:nvGraphicFramePr>
        <p:xfrm>
          <a:off x="2119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C33C9D-22B8-26C4-D9C6-210017F88C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Google Shape;144;p19">
            <a:extLst>
              <a:ext uri="{FF2B5EF4-FFF2-40B4-BE49-F238E27FC236}">
                <a16:creationId xmlns:a16="http://schemas.microsoft.com/office/drawing/2014/main" id="{9D2A5D2C-9D49-3D1A-34D8-1507DFEC569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42991" y="245087"/>
            <a:ext cx="11509196" cy="9074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600"/>
              <a:buFont typeface="Lato"/>
              <a:buNone/>
              <a:defRPr sz="3733" b="1" i="0" u="none" strike="noStrike" cap="none">
                <a:solidFill>
                  <a:schemeClr val="lt1"/>
                </a:solidFill>
                <a:latin typeface="Lato" panose="020F0502020204030203" pitchFamily="34" charset="77"/>
                <a:ea typeface="Lato" panose="020F0502020204030203" pitchFamily="34" charset="77"/>
                <a:cs typeface="Lato" panose="020F0502020204030203" pitchFamily="34" charset="77"/>
                <a:sym typeface="Lat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lang="en-US"/>
          </a:p>
        </p:txBody>
      </p:sp>
      <p:grpSp>
        <p:nvGrpSpPr>
          <p:cNvPr id="6" name="Google Shape;85;p16">
            <a:extLst>
              <a:ext uri="{FF2B5EF4-FFF2-40B4-BE49-F238E27FC236}">
                <a16:creationId xmlns:a16="http://schemas.microsoft.com/office/drawing/2014/main" id="{ECE6CA7F-D4D9-0488-72A2-2509BC7F5C9E}"/>
              </a:ext>
            </a:extLst>
          </p:cNvPr>
          <p:cNvGrpSpPr/>
          <p:nvPr userDrawn="1"/>
        </p:nvGrpSpPr>
        <p:grpSpPr>
          <a:xfrm>
            <a:off x="10973916" y="6466195"/>
            <a:ext cx="799629" cy="172381"/>
            <a:chOff x="11122821" y="6466192"/>
            <a:chExt cx="799629" cy="172381"/>
          </a:xfrm>
        </p:grpSpPr>
        <p:sp>
          <p:nvSpPr>
            <p:cNvPr id="7" name="Google Shape;86;p16">
              <a:extLst>
                <a:ext uri="{FF2B5EF4-FFF2-40B4-BE49-F238E27FC236}">
                  <a16:creationId xmlns:a16="http://schemas.microsoft.com/office/drawing/2014/main" id="{5EECD6C5-BF82-0690-F414-F2BE84FC5A1C}"/>
                </a:ext>
              </a:extLst>
            </p:cNvPr>
            <p:cNvSpPr/>
            <p:nvPr/>
          </p:nvSpPr>
          <p:spPr>
            <a:xfrm rot="-2700000">
              <a:off x="11134961" y="6473475"/>
              <a:ext cx="35167" cy="35167"/>
            </a:xfrm>
            <a:custGeom>
              <a:avLst/>
              <a:gdLst/>
              <a:ahLst/>
              <a:cxnLst/>
              <a:rect l="l" t="t" r="r" b="b"/>
              <a:pathLst>
                <a:path w="35147" h="35147" extrusionOk="0">
                  <a:moveTo>
                    <a:pt x="32044" y="0"/>
                  </a:moveTo>
                  <a:cubicBezTo>
                    <a:pt x="33758" y="0"/>
                    <a:pt x="35148" y="1389"/>
                    <a:pt x="35148" y="3103"/>
                  </a:cubicBezTo>
                  <a:lnTo>
                    <a:pt x="35148" y="32044"/>
                  </a:lnTo>
                  <a:cubicBezTo>
                    <a:pt x="35148" y="33758"/>
                    <a:pt x="33758" y="35148"/>
                    <a:pt x="32044" y="35148"/>
                  </a:cubicBezTo>
                  <a:lnTo>
                    <a:pt x="3103" y="35148"/>
                  </a:lnTo>
                  <a:cubicBezTo>
                    <a:pt x="1389" y="35148"/>
                    <a:pt x="0" y="33758"/>
                    <a:pt x="0" y="32044"/>
                  </a:cubicBezTo>
                  <a:lnTo>
                    <a:pt x="0" y="3103"/>
                  </a:lnTo>
                  <a:cubicBezTo>
                    <a:pt x="0" y="1389"/>
                    <a:pt x="1389" y="0"/>
                    <a:pt x="3103" y="0"/>
                  </a:cubicBezTo>
                  <a:close/>
                </a:path>
              </a:pathLst>
            </a:custGeom>
            <a:solidFill>
              <a:srgbClr val="00BD4D"/>
            </a:solidFill>
            <a:ln>
              <a:noFill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Lato Light"/>
                <a:buNone/>
              </a:pPr>
              <a:endParaRPr sz="1867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8" name="Google Shape;87;p16">
              <a:extLst>
                <a:ext uri="{FF2B5EF4-FFF2-40B4-BE49-F238E27FC236}">
                  <a16:creationId xmlns:a16="http://schemas.microsoft.com/office/drawing/2014/main" id="{55DBE29D-0CE1-FA1C-1B72-B70418CC2DA1}"/>
                </a:ext>
              </a:extLst>
            </p:cNvPr>
            <p:cNvGrpSpPr/>
            <p:nvPr/>
          </p:nvGrpSpPr>
          <p:grpSpPr>
            <a:xfrm>
              <a:off x="11122821" y="6472473"/>
              <a:ext cx="799629" cy="166100"/>
              <a:chOff x="11122821" y="6472473"/>
              <a:chExt cx="799629" cy="166100"/>
            </a:xfrm>
          </p:grpSpPr>
          <p:sp>
            <p:nvSpPr>
              <p:cNvPr id="9" name="Google Shape;88;p16">
                <a:extLst>
                  <a:ext uri="{FF2B5EF4-FFF2-40B4-BE49-F238E27FC236}">
                    <a16:creationId xmlns:a16="http://schemas.microsoft.com/office/drawing/2014/main" id="{4EC4F64B-9171-C537-0D25-F0E1EE8FF068}"/>
                  </a:ext>
                </a:extLst>
              </p:cNvPr>
              <p:cNvSpPr/>
              <p:nvPr/>
            </p:nvSpPr>
            <p:spPr>
              <a:xfrm>
                <a:off x="11774281" y="6519597"/>
                <a:ext cx="119385" cy="116611"/>
              </a:xfrm>
              <a:custGeom>
                <a:avLst/>
                <a:gdLst/>
                <a:ahLst/>
                <a:cxnLst/>
                <a:rect l="l" t="t" r="r" b="b"/>
                <a:pathLst>
                  <a:path w="119385" h="116611" extrusionOk="0">
                    <a:moveTo>
                      <a:pt x="82523" y="58306"/>
                    </a:moveTo>
                    <a:lnTo>
                      <a:pt x="118887" y="112265"/>
                    </a:lnTo>
                    <a:cubicBezTo>
                      <a:pt x="120199" y="114124"/>
                      <a:pt x="118764" y="116612"/>
                      <a:pt x="116385" y="116612"/>
                    </a:cubicBezTo>
                    <a:lnTo>
                      <a:pt x="85831" y="116612"/>
                    </a:lnTo>
                    <a:cubicBezTo>
                      <a:pt x="83794" y="116612"/>
                      <a:pt x="81880" y="115600"/>
                      <a:pt x="80718" y="113919"/>
                    </a:cubicBezTo>
                    <a:lnTo>
                      <a:pt x="59693" y="81751"/>
                    </a:lnTo>
                    <a:lnTo>
                      <a:pt x="38667" y="113919"/>
                    </a:lnTo>
                    <a:cubicBezTo>
                      <a:pt x="37505" y="115600"/>
                      <a:pt x="35605" y="116612"/>
                      <a:pt x="33554" y="116612"/>
                    </a:cubicBezTo>
                    <a:lnTo>
                      <a:pt x="3000" y="116612"/>
                    </a:lnTo>
                    <a:cubicBezTo>
                      <a:pt x="621" y="116612"/>
                      <a:pt x="-814" y="114138"/>
                      <a:pt x="498" y="112265"/>
                    </a:cubicBezTo>
                    <a:lnTo>
                      <a:pt x="36753" y="58306"/>
                    </a:lnTo>
                    <a:lnTo>
                      <a:pt x="498" y="4347"/>
                    </a:lnTo>
                    <a:cubicBezTo>
                      <a:pt x="-814" y="2488"/>
                      <a:pt x="621" y="0"/>
                      <a:pt x="3000" y="0"/>
                    </a:cubicBezTo>
                    <a:lnTo>
                      <a:pt x="34853" y="0"/>
                    </a:lnTo>
                    <a:cubicBezTo>
                      <a:pt x="36042" y="0"/>
                      <a:pt x="37149" y="547"/>
                      <a:pt x="37778" y="1449"/>
                    </a:cubicBezTo>
                    <a:lnTo>
                      <a:pt x="59679" y="34806"/>
                    </a:lnTo>
                    <a:lnTo>
                      <a:pt x="80240" y="1463"/>
                    </a:lnTo>
                    <a:cubicBezTo>
                      <a:pt x="80855" y="561"/>
                      <a:pt x="81976" y="0"/>
                      <a:pt x="83165" y="0"/>
                    </a:cubicBezTo>
                    <a:lnTo>
                      <a:pt x="115333" y="0"/>
                    </a:lnTo>
                    <a:cubicBezTo>
                      <a:pt x="117711" y="0"/>
                      <a:pt x="119133" y="2474"/>
                      <a:pt x="117834" y="4334"/>
                    </a:cubicBezTo>
                    <a:lnTo>
                      <a:pt x="82495" y="5830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" name="Google Shape;89;p16">
                <a:extLst>
                  <a:ext uri="{FF2B5EF4-FFF2-40B4-BE49-F238E27FC236}">
                    <a16:creationId xmlns:a16="http://schemas.microsoft.com/office/drawing/2014/main" id="{7B4C8695-8B81-EA4F-9F37-836D5FCF7E48}"/>
                  </a:ext>
                </a:extLst>
              </p:cNvPr>
              <p:cNvSpPr/>
              <p:nvPr/>
            </p:nvSpPr>
            <p:spPr>
              <a:xfrm>
                <a:off x="11284928" y="6472473"/>
                <a:ext cx="78825" cy="163762"/>
              </a:xfrm>
              <a:custGeom>
                <a:avLst/>
                <a:gdLst/>
                <a:ahLst/>
                <a:cxnLst/>
                <a:rect l="l" t="t" r="r" b="b"/>
                <a:pathLst>
                  <a:path w="78825" h="163762" extrusionOk="0">
                    <a:moveTo>
                      <a:pt x="75722" y="14"/>
                    </a:moveTo>
                    <a:lnTo>
                      <a:pt x="50377" y="14"/>
                    </a:lnTo>
                    <a:cubicBezTo>
                      <a:pt x="47916" y="14"/>
                      <a:pt x="45551" y="998"/>
                      <a:pt x="43801" y="2734"/>
                    </a:cubicBezTo>
                    <a:lnTo>
                      <a:pt x="19987" y="26549"/>
                    </a:lnTo>
                    <a:cubicBezTo>
                      <a:pt x="18237" y="28299"/>
                      <a:pt x="17266" y="30664"/>
                      <a:pt x="17266" y="33124"/>
                    </a:cubicBezTo>
                    <a:lnTo>
                      <a:pt x="17266" y="51867"/>
                    </a:lnTo>
                    <a:lnTo>
                      <a:pt x="3049" y="51867"/>
                    </a:lnTo>
                    <a:cubicBezTo>
                      <a:pt x="1367" y="51867"/>
                      <a:pt x="0" y="53234"/>
                      <a:pt x="0" y="54916"/>
                    </a:cubicBezTo>
                    <a:lnTo>
                      <a:pt x="0" y="75955"/>
                    </a:lnTo>
                    <a:cubicBezTo>
                      <a:pt x="0" y="77636"/>
                      <a:pt x="1367" y="79004"/>
                      <a:pt x="3049" y="79004"/>
                    </a:cubicBezTo>
                    <a:lnTo>
                      <a:pt x="17266" y="79004"/>
                    </a:lnTo>
                    <a:lnTo>
                      <a:pt x="17266" y="160659"/>
                    </a:lnTo>
                    <a:cubicBezTo>
                      <a:pt x="17266" y="162368"/>
                      <a:pt x="18661" y="163763"/>
                      <a:pt x="20369" y="163763"/>
                    </a:cubicBezTo>
                    <a:lnTo>
                      <a:pt x="47109" y="163763"/>
                    </a:lnTo>
                    <a:cubicBezTo>
                      <a:pt x="48818" y="163763"/>
                      <a:pt x="50213" y="162368"/>
                      <a:pt x="50213" y="160659"/>
                    </a:cubicBezTo>
                    <a:lnTo>
                      <a:pt x="50213" y="78990"/>
                    </a:lnTo>
                    <a:lnTo>
                      <a:pt x="71443" y="78990"/>
                    </a:lnTo>
                    <a:cubicBezTo>
                      <a:pt x="73125" y="78990"/>
                      <a:pt x="74492" y="77623"/>
                      <a:pt x="74492" y="75941"/>
                    </a:cubicBezTo>
                    <a:lnTo>
                      <a:pt x="74492" y="54902"/>
                    </a:lnTo>
                    <a:cubicBezTo>
                      <a:pt x="74492" y="53220"/>
                      <a:pt x="73125" y="51853"/>
                      <a:pt x="71443" y="51853"/>
                    </a:cubicBezTo>
                    <a:lnTo>
                      <a:pt x="50213" y="51853"/>
                    </a:lnTo>
                    <a:lnTo>
                      <a:pt x="50213" y="38565"/>
                    </a:lnTo>
                    <a:cubicBezTo>
                      <a:pt x="50213" y="33425"/>
                      <a:pt x="54382" y="29269"/>
                      <a:pt x="59509" y="29269"/>
                    </a:cubicBezTo>
                    <a:lnTo>
                      <a:pt x="75722" y="29269"/>
                    </a:lnTo>
                    <a:cubicBezTo>
                      <a:pt x="77431" y="29269"/>
                      <a:pt x="78826" y="27875"/>
                      <a:pt x="78826" y="26166"/>
                    </a:cubicBezTo>
                    <a:lnTo>
                      <a:pt x="78826" y="3103"/>
                    </a:lnTo>
                    <a:cubicBezTo>
                      <a:pt x="78826" y="1394"/>
                      <a:pt x="77431" y="0"/>
                      <a:pt x="75722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" name="Google Shape;90;p16">
                <a:extLst>
                  <a:ext uri="{FF2B5EF4-FFF2-40B4-BE49-F238E27FC236}">
                    <a16:creationId xmlns:a16="http://schemas.microsoft.com/office/drawing/2014/main" id="{17F75A91-F537-56C3-818B-76412B1E7D96}"/>
                  </a:ext>
                </a:extLst>
              </p:cNvPr>
              <p:cNvSpPr/>
              <p:nvPr/>
            </p:nvSpPr>
            <p:spPr>
              <a:xfrm>
                <a:off x="11896791" y="6612367"/>
                <a:ext cx="25659" cy="25660"/>
              </a:xfrm>
              <a:custGeom>
                <a:avLst/>
                <a:gdLst/>
                <a:ahLst/>
                <a:cxnLst/>
                <a:rect l="l" t="t" r="r" b="b"/>
                <a:pathLst>
                  <a:path w="25659" h="25660" extrusionOk="0">
                    <a:moveTo>
                      <a:pt x="25660" y="12810"/>
                    </a:moveTo>
                    <a:cubicBezTo>
                      <a:pt x="25660" y="19946"/>
                      <a:pt x="19946" y="25660"/>
                      <a:pt x="12782" y="25660"/>
                    </a:cubicBezTo>
                    <a:cubicBezTo>
                      <a:pt x="5619" y="25660"/>
                      <a:pt x="0" y="19891"/>
                      <a:pt x="0" y="12810"/>
                    </a:cubicBezTo>
                    <a:cubicBezTo>
                      <a:pt x="0" y="5728"/>
                      <a:pt x="5714" y="0"/>
                      <a:pt x="12823" y="0"/>
                    </a:cubicBezTo>
                    <a:cubicBezTo>
                      <a:pt x="19932" y="0"/>
                      <a:pt x="25646" y="5687"/>
                      <a:pt x="25646" y="12810"/>
                    </a:cubicBezTo>
                    <a:close/>
                    <a:moveTo>
                      <a:pt x="23691" y="12864"/>
                    </a:moveTo>
                    <a:cubicBezTo>
                      <a:pt x="23691" y="6712"/>
                      <a:pt x="18838" y="1832"/>
                      <a:pt x="12837" y="1832"/>
                    </a:cubicBezTo>
                    <a:cubicBezTo>
                      <a:pt x="6835" y="1832"/>
                      <a:pt x="1982" y="6658"/>
                      <a:pt x="1982" y="12851"/>
                    </a:cubicBezTo>
                    <a:cubicBezTo>
                      <a:pt x="1982" y="19043"/>
                      <a:pt x="6890" y="23856"/>
                      <a:pt x="12782" y="23856"/>
                    </a:cubicBezTo>
                    <a:cubicBezTo>
                      <a:pt x="18674" y="23856"/>
                      <a:pt x="23691" y="19002"/>
                      <a:pt x="23691" y="12864"/>
                    </a:cubicBezTo>
                    <a:close/>
                    <a:moveTo>
                      <a:pt x="15585" y="14888"/>
                    </a:moveTo>
                    <a:lnTo>
                      <a:pt x="18811" y="19905"/>
                    </a:lnTo>
                    <a:lnTo>
                      <a:pt x="16678" y="19905"/>
                    </a:lnTo>
                    <a:lnTo>
                      <a:pt x="13097" y="14218"/>
                    </a:lnTo>
                    <a:lnTo>
                      <a:pt x="9829" y="14218"/>
                    </a:lnTo>
                    <a:lnTo>
                      <a:pt x="9829" y="19905"/>
                    </a:lnTo>
                    <a:lnTo>
                      <a:pt x="8038" y="19905"/>
                    </a:lnTo>
                    <a:lnTo>
                      <a:pt x="8038" y="5523"/>
                    </a:lnTo>
                    <a:lnTo>
                      <a:pt x="13616" y="5523"/>
                    </a:lnTo>
                    <a:cubicBezTo>
                      <a:pt x="16364" y="5523"/>
                      <a:pt x="18155" y="6999"/>
                      <a:pt x="18155" y="9761"/>
                    </a:cubicBezTo>
                    <a:cubicBezTo>
                      <a:pt x="18155" y="11989"/>
                      <a:pt x="16801" y="13370"/>
                      <a:pt x="14887" y="13917"/>
                    </a:cubicBezTo>
                    <a:cubicBezTo>
                      <a:pt x="15147" y="14204"/>
                      <a:pt x="15407" y="14559"/>
                      <a:pt x="15585" y="14901"/>
                    </a:cubicBezTo>
                    <a:close/>
                    <a:moveTo>
                      <a:pt x="13015" y="12522"/>
                    </a:moveTo>
                    <a:cubicBezTo>
                      <a:pt x="15038" y="12522"/>
                      <a:pt x="16282" y="11565"/>
                      <a:pt x="16282" y="9870"/>
                    </a:cubicBezTo>
                    <a:cubicBezTo>
                      <a:pt x="16282" y="8175"/>
                      <a:pt x="15421" y="7191"/>
                      <a:pt x="13657" y="7191"/>
                    </a:cubicBezTo>
                    <a:lnTo>
                      <a:pt x="9816" y="7191"/>
                    </a:lnTo>
                    <a:lnTo>
                      <a:pt x="9816" y="12509"/>
                    </a:lnTo>
                    <a:lnTo>
                      <a:pt x="13015" y="12509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" name="Google Shape;91;p16">
                <a:extLst>
                  <a:ext uri="{FF2B5EF4-FFF2-40B4-BE49-F238E27FC236}">
                    <a16:creationId xmlns:a16="http://schemas.microsoft.com/office/drawing/2014/main" id="{843E16BC-64EE-3D5C-397B-559EDE8DFF96}"/>
                  </a:ext>
                </a:extLst>
              </p:cNvPr>
              <p:cNvSpPr/>
              <p:nvPr/>
            </p:nvSpPr>
            <p:spPr>
              <a:xfrm>
                <a:off x="11620956" y="6472487"/>
                <a:ext cx="32932" cy="163721"/>
              </a:xfrm>
              <a:custGeom>
                <a:avLst/>
                <a:gdLst/>
                <a:ahLst/>
                <a:cxnLst/>
                <a:rect l="l" t="t" r="r" b="b"/>
                <a:pathLst>
                  <a:path w="32932" h="163721" extrusionOk="0">
                    <a:moveTo>
                      <a:pt x="29830" y="0"/>
                    </a:moveTo>
                    <a:cubicBezTo>
                      <a:pt x="31544" y="0"/>
                      <a:pt x="32933" y="1389"/>
                      <a:pt x="32933" y="3103"/>
                    </a:cubicBezTo>
                    <a:lnTo>
                      <a:pt x="32933" y="160618"/>
                    </a:lnTo>
                    <a:cubicBezTo>
                      <a:pt x="32933" y="162332"/>
                      <a:pt x="31543" y="163722"/>
                      <a:pt x="29830" y="163722"/>
                    </a:cubicBezTo>
                    <a:lnTo>
                      <a:pt x="3103" y="163722"/>
                    </a:lnTo>
                    <a:cubicBezTo>
                      <a:pt x="1389" y="163722"/>
                      <a:pt x="0" y="162332"/>
                      <a:pt x="0" y="160618"/>
                    </a:cubicBezTo>
                    <a:lnTo>
                      <a:pt x="0" y="3103"/>
                    </a:lnTo>
                    <a:cubicBezTo>
                      <a:pt x="0" y="1389"/>
                      <a:pt x="1389" y="0"/>
                      <a:pt x="3103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" name="Google Shape;92;p16">
                <a:extLst>
                  <a:ext uri="{FF2B5EF4-FFF2-40B4-BE49-F238E27FC236}">
                    <a16:creationId xmlns:a16="http://schemas.microsoft.com/office/drawing/2014/main" id="{5FA54FE2-2C83-027C-98CC-BAFC3944527C}"/>
                  </a:ext>
                </a:extLst>
              </p:cNvPr>
              <p:cNvSpPr/>
              <p:nvPr/>
            </p:nvSpPr>
            <p:spPr>
              <a:xfrm>
                <a:off x="11488486" y="6472473"/>
                <a:ext cx="123638" cy="166086"/>
              </a:xfrm>
              <a:custGeom>
                <a:avLst/>
                <a:gdLst/>
                <a:ahLst/>
                <a:cxnLst/>
                <a:rect l="l" t="t" r="r" b="b"/>
                <a:pathLst>
                  <a:path w="123638" h="166086" extrusionOk="0">
                    <a:moveTo>
                      <a:pt x="68737" y="44663"/>
                    </a:moveTo>
                    <a:cubicBezTo>
                      <a:pt x="53535" y="44663"/>
                      <a:pt x="40889" y="51252"/>
                      <a:pt x="32947" y="62052"/>
                    </a:cubicBezTo>
                    <a:lnTo>
                      <a:pt x="32947" y="3103"/>
                    </a:lnTo>
                    <a:cubicBezTo>
                      <a:pt x="32947" y="1394"/>
                      <a:pt x="31552" y="0"/>
                      <a:pt x="29843" y="0"/>
                    </a:cubicBezTo>
                    <a:lnTo>
                      <a:pt x="3103" y="0"/>
                    </a:lnTo>
                    <a:cubicBezTo>
                      <a:pt x="1394" y="0"/>
                      <a:pt x="0" y="1394"/>
                      <a:pt x="0" y="3103"/>
                    </a:cubicBezTo>
                    <a:lnTo>
                      <a:pt x="0" y="160632"/>
                    </a:lnTo>
                    <a:cubicBezTo>
                      <a:pt x="0" y="162341"/>
                      <a:pt x="1394" y="163735"/>
                      <a:pt x="3103" y="163735"/>
                    </a:cubicBezTo>
                    <a:lnTo>
                      <a:pt x="29843" y="163735"/>
                    </a:lnTo>
                    <a:cubicBezTo>
                      <a:pt x="31552" y="163735"/>
                      <a:pt x="32947" y="162341"/>
                      <a:pt x="32947" y="160632"/>
                    </a:cubicBezTo>
                    <a:lnTo>
                      <a:pt x="32947" y="149025"/>
                    </a:lnTo>
                    <a:cubicBezTo>
                      <a:pt x="40903" y="159839"/>
                      <a:pt x="53535" y="166087"/>
                      <a:pt x="68983" y="166087"/>
                    </a:cubicBezTo>
                    <a:cubicBezTo>
                      <a:pt x="101505" y="166087"/>
                      <a:pt x="123638" y="139852"/>
                      <a:pt x="123638" y="105539"/>
                    </a:cubicBezTo>
                    <a:cubicBezTo>
                      <a:pt x="123638" y="71225"/>
                      <a:pt x="101505" y="44663"/>
                      <a:pt x="68750" y="44663"/>
                    </a:cubicBezTo>
                    <a:close/>
                    <a:moveTo>
                      <a:pt x="62188" y="135163"/>
                    </a:moveTo>
                    <a:cubicBezTo>
                      <a:pt x="45346" y="135163"/>
                      <a:pt x="32947" y="121533"/>
                      <a:pt x="32947" y="105552"/>
                    </a:cubicBezTo>
                    <a:cubicBezTo>
                      <a:pt x="32947" y="89571"/>
                      <a:pt x="45346" y="76174"/>
                      <a:pt x="62188" y="76174"/>
                    </a:cubicBezTo>
                    <a:cubicBezTo>
                      <a:pt x="79031" y="76174"/>
                      <a:pt x="90965" y="89571"/>
                      <a:pt x="90965" y="105552"/>
                    </a:cubicBezTo>
                    <a:cubicBezTo>
                      <a:pt x="90965" y="121533"/>
                      <a:pt x="78798" y="135163"/>
                      <a:pt x="62188" y="13516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" name="Google Shape;93;p16">
                <a:extLst>
                  <a:ext uri="{FF2B5EF4-FFF2-40B4-BE49-F238E27FC236}">
                    <a16:creationId xmlns:a16="http://schemas.microsoft.com/office/drawing/2014/main" id="{4A89734C-3F31-7BCF-B9C3-C3C392D31F37}"/>
                  </a:ext>
                </a:extLst>
              </p:cNvPr>
              <p:cNvSpPr/>
              <p:nvPr/>
            </p:nvSpPr>
            <p:spPr>
              <a:xfrm>
                <a:off x="11359421" y="6517136"/>
                <a:ext cx="120412" cy="121437"/>
              </a:xfrm>
              <a:custGeom>
                <a:avLst/>
                <a:gdLst/>
                <a:ahLst/>
                <a:cxnLst/>
                <a:rect l="l" t="t" r="r" b="b"/>
                <a:pathLst>
                  <a:path w="120412" h="121437" extrusionOk="0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" name="Google Shape;94;p16">
                <a:extLst>
                  <a:ext uri="{FF2B5EF4-FFF2-40B4-BE49-F238E27FC236}">
                    <a16:creationId xmlns:a16="http://schemas.microsoft.com/office/drawing/2014/main" id="{4860CFDC-B3C0-B006-8FC1-F4EE67218DD9}"/>
                  </a:ext>
                </a:extLst>
              </p:cNvPr>
              <p:cNvSpPr/>
              <p:nvPr/>
            </p:nvSpPr>
            <p:spPr>
              <a:xfrm>
                <a:off x="11662542" y="6517136"/>
                <a:ext cx="120412" cy="121437"/>
              </a:xfrm>
              <a:custGeom>
                <a:avLst/>
                <a:gdLst/>
                <a:ahLst/>
                <a:cxnLst/>
                <a:rect l="l" t="t" r="r" b="b"/>
                <a:pathLst>
                  <a:path w="120412" h="121437" extrusionOk="0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" name="Google Shape;95;p16">
                <a:extLst>
                  <a:ext uri="{FF2B5EF4-FFF2-40B4-BE49-F238E27FC236}">
                    <a16:creationId xmlns:a16="http://schemas.microsoft.com/office/drawing/2014/main" id="{1602A324-B5E2-0030-B964-EA4DDF3D1233}"/>
                  </a:ext>
                </a:extLst>
              </p:cNvPr>
              <p:cNvSpPr/>
              <p:nvPr/>
            </p:nvSpPr>
            <p:spPr>
              <a:xfrm>
                <a:off x="11122821" y="6519528"/>
                <a:ext cx="32932" cy="116680"/>
              </a:xfrm>
              <a:custGeom>
                <a:avLst/>
                <a:gdLst/>
                <a:ahLst/>
                <a:cxnLst/>
                <a:rect l="l" t="t" r="r" b="b"/>
                <a:pathLst>
                  <a:path w="32932" h="116680" extrusionOk="0">
                    <a:moveTo>
                      <a:pt x="29843" y="116680"/>
                    </a:moveTo>
                    <a:lnTo>
                      <a:pt x="3103" y="116680"/>
                    </a:lnTo>
                    <a:cubicBezTo>
                      <a:pt x="1394" y="116680"/>
                      <a:pt x="0" y="115286"/>
                      <a:pt x="0" y="113577"/>
                    </a:cubicBezTo>
                    <a:lnTo>
                      <a:pt x="0" y="30554"/>
                    </a:lnTo>
                    <a:cubicBezTo>
                      <a:pt x="0" y="28886"/>
                      <a:pt x="670" y="27287"/>
                      <a:pt x="1859" y="26125"/>
                    </a:cubicBezTo>
                    <a:lnTo>
                      <a:pt x="27670" y="888"/>
                    </a:lnTo>
                    <a:cubicBezTo>
                      <a:pt x="29638" y="-1026"/>
                      <a:pt x="32933" y="355"/>
                      <a:pt x="32933" y="3103"/>
                    </a:cubicBezTo>
                    <a:lnTo>
                      <a:pt x="32933" y="113577"/>
                    </a:lnTo>
                    <a:cubicBezTo>
                      <a:pt x="32933" y="115286"/>
                      <a:pt x="31538" y="116680"/>
                      <a:pt x="29830" y="11668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" name="Google Shape;96;p16">
                <a:extLst>
                  <a:ext uri="{FF2B5EF4-FFF2-40B4-BE49-F238E27FC236}">
                    <a16:creationId xmlns:a16="http://schemas.microsoft.com/office/drawing/2014/main" id="{82939D5B-E40D-0BC4-6B29-E8A70536A87B}"/>
                  </a:ext>
                </a:extLst>
              </p:cNvPr>
              <p:cNvSpPr/>
              <p:nvPr/>
            </p:nvSpPr>
            <p:spPr>
              <a:xfrm>
                <a:off x="11173074" y="6517105"/>
                <a:ext cx="107493" cy="119116"/>
              </a:xfrm>
              <a:custGeom>
                <a:avLst/>
                <a:gdLst/>
                <a:ahLst/>
                <a:cxnLst/>
                <a:rect l="l" t="t" r="r" b="b"/>
                <a:pathLst>
                  <a:path w="107493" h="119116" extrusionOk="0">
                    <a:moveTo>
                      <a:pt x="107480" y="41877"/>
                    </a:moveTo>
                    <a:cubicBezTo>
                      <a:pt x="107480" y="19252"/>
                      <a:pt x="88792" y="277"/>
                      <a:pt x="65237" y="3"/>
                    </a:cubicBezTo>
                    <a:cubicBezTo>
                      <a:pt x="49912" y="-175"/>
                      <a:pt x="39563" y="7331"/>
                      <a:pt x="32947" y="17474"/>
                    </a:cubicBezTo>
                    <a:lnTo>
                      <a:pt x="32947" y="5581"/>
                    </a:lnTo>
                    <a:cubicBezTo>
                      <a:pt x="32947" y="3872"/>
                      <a:pt x="31552" y="2478"/>
                      <a:pt x="29843" y="2478"/>
                    </a:cubicBezTo>
                    <a:lnTo>
                      <a:pt x="3103" y="2478"/>
                    </a:lnTo>
                    <a:cubicBezTo>
                      <a:pt x="1394" y="2478"/>
                      <a:pt x="0" y="3872"/>
                      <a:pt x="0" y="5581"/>
                    </a:cubicBezTo>
                    <a:lnTo>
                      <a:pt x="0" y="116000"/>
                    </a:lnTo>
                    <a:cubicBezTo>
                      <a:pt x="0" y="117709"/>
                      <a:pt x="1394" y="119103"/>
                      <a:pt x="3103" y="119103"/>
                    </a:cubicBezTo>
                    <a:lnTo>
                      <a:pt x="29843" y="119103"/>
                    </a:lnTo>
                    <a:cubicBezTo>
                      <a:pt x="31552" y="119103"/>
                      <a:pt x="32947" y="117709"/>
                      <a:pt x="32947" y="116000"/>
                    </a:cubicBezTo>
                    <a:lnTo>
                      <a:pt x="32947" y="51788"/>
                    </a:lnTo>
                    <a:cubicBezTo>
                      <a:pt x="33685" y="39430"/>
                      <a:pt x="41518" y="31747"/>
                      <a:pt x="53740" y="31747"/>
                    </a:cubicBezTo>
                    <a:cubicBezTo>
                      <a:pt x="65961" y="31747"/>
                      <a:pt x="74547" y="40373"/>
                      <a:pt x="74547" y="53210"/>
                    </a:cubicBezTo>
                    <a:lnTo>
                      <a:pt x="74547" y="116014"/>
                    </a:lnTo>
                    <a:cubicBezTo>
                      <a:pt x="74547" y="117722"/>
                      <a:pt x="75941" y="119117"/>
                      <a:pt x="77650" y="119117"/>
                    </a:cubicBezTo>
                    <a:lnTo>
                      <a:pt x="104390" y="119117"/>
                    </a:lnTo>
                    <a:cubicBezTo>
                      <a:pt x="106099" y="119117"/>
                      <a:pt x="107493" y="117722"/>
                      <a:pt x="107493" y="116014"/>
                    </a:cubicBezTo>
                    <a:lnTo>
                      <a:pt x="107493" y="4189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08848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ubtitle">
  <p:cSld name="Title and Subtitle">
    <p:spTree>
      <p:nvGrpSpPr>
        <p:cNvPr id="1" name="Shape 2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8" name="Google Shape;238;p50"/>
          <p:cNvGrpSpPr/>
          <p:nvPr/>
        </p:nvGrpSpPr>
        <p:grpSpPr>
          <a:xfrm>
            <a:off x="11122822" y="6466192"/>
            <a:ext cx="799629" cy="172381"/>
            <a:chOff x="11122821" y="6466192"/>
            <a:chExt cx="799629" cy="172381"/>
          </a:xfrm>
        </p:grpSpPr>
        <p:sp>
          <p:nvSpPr>
            <p:cNvPr id="239" name="Google Shape;239;p50"/>
            <p:cNvSpPr/>
            <p:nvPr/>
          </p:nvSpPr>
          <p:spPr>
            <a:xfrm rot="-2700000">
              <a:off x="11134961" y="6473475"/>
              <a:ext cx="35167" cy="35167"/>
            </a:xfrm>
            <a:custGeom>
              <a:avLst/>
              <a:gdLst/>
              <a:ahLst/>
              <a:cxnLst/>
              <a:rect l="l" t="t" r="r" b="b"/>
              <a:pathLst>
                <a:path w="35147" h="35147" extrusionOk="0">
                  <a:moveTo>
                    <a:pt x="32044" y="0"/>
                  </a:moveTo>
                  <a:cubicBezTo>
                    <a:pt x="33758" y="0"/>
                    <a:pt x="35148" y="1389"/>
                    <a:pt x="35148" y="3103"/>
                  </a:cubicBezTo>
                  <a:lnTo>
                    <a:pt x="35148" y="32044"/>
                  </a:lnTo>
                  <a:cubicBezTo>
                    <a:pt x="35148" y="33758"/>
                    <a:pt x="33758" y="35148"/>
                    <a:pt x="32044" y="35148"/>
                  </a:cubicBezTo>
                  <a:lnTo>
                    <a:pt x="3103" y="35148"/>
                  </a:lnTo>
                  <a:cubicBezTo>
                    <a:pt x="1389" y="35148"/>
                    <a:pt x="0" y="33758"/>
                    <a:pt x="0" y="32044"/>
                  </a:cubicBezTo>
                  <a:lnTo>
                    <a:pt x="0" y="3103"/>
                  </a:lnTo>
                  <a:cubicBezTo>
                    <a:pt x="0" y="1389"/>
                    <a:pt x="1389" y="0"/>
                    <a:pt x="3103" y="0"/>
                  </a:cubicBezTo>
                  <a:close/>
                </a:path>
              </a:pathLst>
            </a:custGeom>
            <a:solidFill>
              <a:srgbClr val="00BD4D"/>
            </a:solidFill>
            <a:ln>
              <a:noFill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Lato Light"/>
                <a:buNone/>
              </a:pPr>
              <a:endParaRPr sz="1867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40" name="Google Shape;240;p50"/>
            <p:cNvGrpSpPr/>
            <p:nvPr/>
          </p:nvGrpSpPr>
          <p:grpSpPr>
            <a:xfrm>
              <a:off x="11122821" y="6472473"/>
              <a:ext cx="799629" cy="166100"/>
              <a:chOff x="11122821" y="6472473"/>
              <a:chExt cx="799629" cy="166100"/>
            </a:xfrm>
          </p:grpSpPr>
          <p:sp>
            <p:nvSpPr>
              <p:cNvPr id="241" name="Google Shape;241;p50"/>
              <p:cNvSpPr/>
              <p:nvPr/>
            </p:nvSpPr>
            <p:spPr>
              <a:xfrm>
                <a:off x="11774281" y="6519597"/>
                <a:ext cx="119385" cy="116611"/>
              </a:xfrm>
              <a:custGeom>
                <a:avLst/>
                <a:gdLst/>
                <a:ahLst/>
                <a:cxnLst/>
                <a:rect l="l" t="t" r="r" b="b"/>
                <a:pathLst>
                  <a:path w="119385" h="116611" extrusionOk="0">
                    <a:moveTo>
                      <a:pt x="82523" y="58306"/>
                    </a:moveTo>
                    <a:lnTo>
                      <a:pt x="118887" y="112265"/>
                    </a:lnTo>
                    <a:cubicBezTo>
                      <a:pt x="120199" y="114124"/>
                      <a:pt x="118764" y="116612"/>
                      <a:pt x="116385" y="116612"/>
                    </a:cubicBezTo>
                    <a:lnTo>
                      <a:pt x="85831" y="116612"/>
                    </a:lnTo>
                    <a:cubicBezTo>
                      <a:pt x="83794" y="116612"/>
                      <a:pt x="81880" y="115600"/>
                      <a:pt x="80718" y="113919"/>
                    </a:cubicBezTo>
                    <a:lnTo>
                      <a:pt x="59693" y="81751"/>
                    </a:lnTo>
                    <a:lnTo>
                      <a:pt x="38667" y="113919"/>
                    </a:lnTo>
                    <a:cubicBezTo>
                      <a:pt x="37505" y="115600"/>
                      <a:pt x="35605" y="116612"/>
                      <a:pt x="33554" y="116612"/>
                    </a:cubicBezTo>
                    <a:lnTo>
                      <a:pt x="3000" y="116612"/>
                    </a:lnTo>
                    <a:cubicBezTo>
                      <a:pt x="621" y="116612"/>
                      <a:pt x="-814" y="114138"/>
                      <a:pt x="498" y="112265"/>
                    </a:cubicBezTo>
                    <a:lnTo>
                      <a:pt x="36753" y="58306"/>
                    </a:lnTo>
                    <a:lnTo>
                      <a:pt x="498" y="4347"/>
                    </a:lnTo>
                    <a:cubicBezTo>
                      <a:pt x="-814" y="2488"/>
                      <a:pt x="621" y="0"/>
                      <a:pt x="3000" y="0"/>
                    </a:cubicBezTo>
                    <a:lnTo>
                      <a:pt x="34853" y="0"/>
                    </a:lnTo>
                    <a:cubicBezTo>
                      <a:pt x="36042" y="0"/>
                      <a:pt x="37149" y="547"/>
                      <a:pt x="37778" y="1449"/>
                    </a:cubicBezTo>
                    <a:lnTo>
                      <a:pt x="59679" y="34806"/>
                    </a:lnTo>
                    <a:lnTo>
                      <a:pt x="80240" y="1463"/>
                    </a:lnTo>
                    <a:cubicBezTo>
                      <a:pt x="80855" y="561"/>
                      <a:pt x="81976" y="0"/>
                      <a:pt x="83165" y="0"/>
                    </a:cubicBezTo>
                    <a:lnTo>
                      <a:pt x="115333" y="0"/>
                    </a:lnTo>
                    <a:cubicBezTo>
                      <a:pt x="117711" y="0"/>
                      <a:pt x="119133" y="2474"/>
                      <a:pt x="117834" y="4334"/>
                    </a:cubicBezTo>
                    <a:lnTo>
                      <a:pt x="82495" y="5830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2" name="Google Shape;242;p50"/>
              <p:cNvSpPr/>
              <p:nvPr/>
            </p:nvSpPr>
            <p:spPr>
              <a:xfrm>
                <a:off x="11284928" y="6472473"/>
                <a:ext cx="78825" cy="163762"/>
              </a:xfrm>
              <a:custGeom>
                <a:avLst/>
                <a:gdLst/>
                <a:ahLst/>
                <a:cxnLst/>
                <a:rect l="l" t="t" r="r" b="b"/>
                <a:pathLst>
                  <a:path w="78825" h="163762" extrusionOk="0">
                    <a:moveTo>
                      <a:pt x="75722" y="14"/>
                    </a:moveTo>
                    <a:lnTo>
                      <a:pt x="50377" y="14"/>
                    </a:lnTo>
                    <a:cubicBezTo>
                      <a:pt x="47916" y="14"/>
                      <a:pt x="45551" y="998"/>
                      <a:pt x="43801" y="2734"/>
                    </a:cubicBezTo>
                    <a:lnTo>
                      <a:pt x="19987" y="26549"/>
                    </a:lnTo>
                    <a:cubicBezTo>
                      <a:pt x="18237" y="28299"/>
                      <a:pt x="17266" y="30664"/>
                      <a:pt x="17266" y="33124"/>
                    </a:cubicBezTo>
                    <a:lnTo>
                      <a:pt x="17266" y="51867"/>
                    </a:lnTo>
                    <a:lnTo>
                      <a:pt x="3049" y="51867"/>
                    </a:lnTo>
                    <a:cubicBezTo>
                      <a:pt x="1367" y="51867"/>
                      <a:pt x="0" y="53234"/>
                      <a:pt x="0" y="54916"/>
                    </a:cubicBezTo>
                    <a:lnTo>
                      <a:pt x="0" y="75955"/>
                    </a:lnTo>
                    <a:cubicBezTo>
                      <a:pt x="0" y="77636"/>
                      <a:pt x="1367" y="79004"/>
                      <a:pt x="3049" y="79004"/>
                    </a:cubicBezTo>
                    <a:lnTo>
                      <a:pt x="17266" y="79004"/>
                    </a:lnTo>
                    <a:lnTo>
                      <a:pt x="17266" y="160659"/>
                    </a:lnTo>
                    <a:cubicBezTo>
                      <a:pt x="17266" y="162368"/>
                      <a:pt x="18661" y="163763"/>
                      <a:pt x="20369" y="163763"/>
                    </a:cubicBezTo>
                    <a:lnTo>
                      <a:pt x="47109" y="163763"/>
                    </a:lnTo>
                    <a:cubicBezTo>
                      <a:pt x="48818" y="163763"/>
                      <a:pt x="50213" y="162368"/>
                      <a:pt x="50213" y="160659"/>
                    </a:cubicBezTo>
                    <a:lnTo>
                      <a:pt x="50213" y="78990"/>
                    </a:lnTo>
                    <a:lnTo>
                      <a:pt x="71443" y="78990"/>
                    </a:lnTo>
                    <a:cubicBezTo>
                      <a:pt x="73125" y="78990"/>
                      <a:pt x="74492" y="77623"/>
                      <a:pt x="74492" y="75941"/>
                    </a:cubicBezTo>
                    <a:lnTo>
                      <a:pt x="74492" y="54902"/>
                    </a:lnTo>
                    <a:cubicBezTo>
                      <a:pt x="74492" y="53220"/>
                      <a:pt x="73125" y="51853"/>
                      <a:pt x="71443" y="51853"/>
                    </a:cubicBezTo>
                    <a:lnTo>
                      <a:pt x="50213" y="51853"/>
                    </a:lnTo>
                    <a:lnTo>
                      <a:pt x="50213" y="38565"/>
                    </a:lnTo>
                    <a:cubicBezTo>
                      <a:pt x="50213" y="33425"/>
                      <a:pt x="54382" y="29269"/>
                      <a:pt x="59509" y="29269"/>
                    </a:cubicBezTo>
                    <a:lnTo>
                      <a:pt x="75722" y="29269"/>
                    </a:lnTo>
                    <a:cubicBezTo>
                      <a:pt x="77431" y="29269"/>
                      <a:pt x="78826" y="27875"/>
                      <a:pt x="78826" y="26166"/>
                    </a:cubicBezTo>
                    <a:lnTo>
                      <a:pt x="78826" y="3103"/>
                    </a:lnTo>
                    <a:cubicBezTo>
                      <a:pt x="78826" y="1394"/>
                      <a:pt x="77431" y="0"/>
                      <a:pt x="75722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3" name="Google Shape;243;p50"/>
              <p:cNvSpPr/>
              <p:nvPr/>
            </p:nvSpPr>
            <p:spPr>
              <a:xfrm>
                <a:off x="11896791" y="6612367"/>
                <a:ext cx="25659" cy="25660"/>
              </a:xfrm>
              <a:custGeom>
                <a:avLst/>
                <a:gdLst/>
                <a:ahLst/>
                <a:cxnLst/>
                <a:rect l="l" t="t" r="r" b="b"/>
                <a:pathLst>
                  <a:path w="25659" h="25660" extrusionOk="0">
                    <a:moveTo>
                      <a:pt x="25660" y="12810"/>
                    </a:moveTo>
                    <a:cubicBezTo>
                      <a:pt x="25660" y="19946"/>
                      <a:pt x="19946" y="25660"/>
                      <a:pt x="12782" y="25660"/>
                    </a:cubicBezTo>
                    <a:cubicBezTo>
                      <a:pt x="5619" y="25660"/>
                      <a:pt x="0" y="19891"/>
                      <a:pt x="0" y="12810"/>
                    </a:cubicBezTo>
                    <a:cubicBezTo>
                      <a:pt x="0" y="5728"/>
                      <a:pt x="5714" y="0"/>
                      <a:pt x="12823" y="0"/>
                    </a:cubicBezTo>
                    <a:cubicBezTo>
                      <a:pt x="19932" y="0"/>
                      <a:pt x="25646" y="5687"/>
                      <a:pt x="25646" y="12810"/>
                    </a:cubicBezTo>
                    <a:close/>
                    <a:moveTo>
                      <a:pt x="23691" y="12864"/>
                    </a:moveTo>
                    <a:cubicBezTo>
                      <a:pt x="23691" y="6712"/>
                      <a:pt x="18838" y="1832"/>
                      <a:pt x="12837" y="1832"/>
                    </a:cubicBezTo>
                    <a:cubicBezTo>
                      <a:pt x="6835" y="1832"/>
                      <a:pt x="1982" y="6658"/>
                      <a:pt x="1982" y="12851"/>
                    </a:cubicBezTo>
                    <a:cubicBezTo>
                      <a:pt x="1982" y="19043"/>
                      <a:pt x="6890" y="23856"/>
                      <a:pt x="12782" y="23856"/>
                    </a:cubicBezTo>
                    <a:cubicBezTo>
                      <a:pt x="18674" y="23856"/>
                      <a:pt x="23691" y="19002"/>
                      <a:pt x="23691" y="12864"/>
                    </a:cubicBezTo>
                    <a:close/>
                    <a:moveTo>
                      <a:pt x="15585" y="14888"/>
                    </a:moveTo>
                    <a:lnTo>
                      <a:pt x="18811" y="19905"/>
                    </a:lnTo>
                    <a:lnTo>
                      <a:pt x="16678" y="19905"/>
                    </a:lnTo>
                    <a:lnTo>
                      <a:pt x="13097" y="14218"/>
                    </a:lnTo>
                    <a:lnTo>
                      <a:pt x="9829" y="14218"/>
                    </a:lnTo>
                    <a:lnTo>
                      <a:pt x="9829" y="19905"/>
                    </a:lnTo>
                    <a:lnTo>
                      <a:pt x="8038" y="19905"/>
                    </a:lnTo>
                    <a:lnTo>
                      <a:pt x="8038" y="5523"/>
                    </a:lnTo>
                    <a:lnTo>
                      <a:pt x="13616" y="5523"/>
                    </a:lnTo>
                    <a:cubicBezTo>
                      <a:pt x="16364" y="5523"/>
                      <a:pt x="18155" y="6999"/>
                      <a:pt x="18155" y="9761"/>
                    </a:cubicBezTo>
                    <a:cubicBezTo>
                      <a:pt x="18155" y="11989"/>
                      <a:pt x="16801" y="13370"/>
                      <a:pt x="14887" y="13917"/>
                    </a:cubicBezTo>
                    <a:cubicBezTo>
                      <a:pt x="15147" y="14204"/>
                      <a:pt x="15407" y="14559"/>
                      <a:pt x="15585" y="14901"/>
                    </a:cubicBezTo>
                    <a:close/>
                    <a:moveTo>
                      <a:pt x="13015" y="12522"/>
                    </a:moveTo>
                    <a:cubicBezTo>
                      <a:pt x="15038" y="12522"/>
                      <a:pt x="16282" y="11565"/>
                      <a:pt x="16282" y="9870"/>
                    </a:cubicBezTo>
                    <a:cubicBezTo>
                      <a:pt x="16282" y="8175"/>
                      <a:pt x="15421" y="7191"/>
                      <a:pt x="13657" y="7191"/>
                    </a:cubicBezTo>
                    <a:lnTo>
                      <a:pt x="9816" y="7191"/>
                    </a:lnTo>
                    <a:lnTo>
                      <a:pt x="9816" y="12509"/>
                    </a:lnTo>
                    <a:lnTo>
                      <a:pt x="13015" y="12509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4" name="Google Shape;244;p50"/>
              <p:cNvSpPr/>
              <p:nvPr/>
            </p:nvSpPr>
            <p:spPr>
              <a:xfrm>
                <a:off x="11620956" y="6472487"/>
                <a:ext cx="32932" cy="163721"/>
              </a:xfrm>
              <a:custGeom>
                <a:avLst/>
                <a:gdLst/>
                <a:ahLst/>
                <a:cxnLst/>
                <a:rect l="l" t="t" r="r" b="b"/>
                <a:pathLst>
                  <a:path w="32932" h="163721" extrusionOk="0">
                    <a:moveTo>
                      <a:pt x="29830" y="0"/>
                    </a:moveTo>
                    <a:cubicBezTo>
                      <a:pt x="31544" y="0"/>
                      <a:pt x="32933" y="1389"/>
                      <a:pt x="32933" y="3103"/>
                    </a:cubicBezTo>
                    <a:lnTo>
                      <a:pt x="32933" y="160618"/>
                    </a:lnTo>
                    <a:cubicBezTo>
                      <a:pt x="32933" y="162332"/>
                      <a:pt x="31543" y="163722"/>
                      <a:pt x="29830" y="163722"/>
                    </a:cubicBezTo>
                    <a:lnTo>
                      <a:pt x="3103" y="163722"/>
                    </a:lnTo>
                    <a:cubicBezTo>
                      <a:pt x="1389" y="163722"/>
                      <a:pt x="0" y="162332"/>
                      <a:pt x="0" y="160618"/>
                    </a:cubicBezTo>
                    <a:lnTo>
                      <a:pt x="0" y="3103"/>
                    </a:lnTo>
                    <a:cubicBezTo>
                      <a:pt x="0" y="1389"/>
                      <a:pt x="1389" y="0"/>
                      <a:pt x="3103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5" name="Google Shape;245;p50"/>
              <p:cNvSpPr/>
              <p:nvPr/>
            </p:nvSpPr>
            <p:spPr>
              <a:xfrm>
                <a:off x="11488486" y="6472473"/>
                <a:ext cx="123638" cy="166086"/>
              </a:xfrm>
              <a:custGeom>
                <a:avLst/>
                <a:gdLst/>
                <a:ahLst/>
                <a:cxnLst/>
                <a:rect l="l" t="t" r="r" b="b"/>
                <a:pathLst>
                  <a:path w="123638" h="166086" extrusionOk="0">
                    <a:moveTo>
                      <a:pt x="68737" y="44663"/>
                    </a:moveTo>
                    <a:cubicBezTo>
                      <a:pt x="53535" y="44663"/>
                      <a:pt x="40889" y="51252"/>
                      <a:pt x="32947" y="62052"/>
                    </a:cubicBezTo>
                    <a:lnTo>
                      <a:pt x="32947" y="3103"/>
                    </a:lnTo>
                    <a:cubicBezTo>
                      <a:pt x="32947" y="1394"/>
                      <a:pt x="31552" y="0"/>
                      <a:pt x="29843" y="0"/>
                    </a:cubicBezTo>
                    <a:lnTo>
                      <a:pt x="3103" y="0"/>
                    </a:lnTo>
                    <a:cubicBezTo>
                      <a:pt x="1394" y="0"/>
                      <a:pt x="0" y="1394"/>
                      <a:pt x="0" y="3103"/>
                    </a:cubicBezTo>
                    <a:lnTo>
                      <a:pt x="0" y="160632"/>
                    </a:lnTo>
                    <a:cubicBezTo>
                      <a:pt x="0" y="162341"/>
                      <a:pt x="1394" y="163735"/>
                      <a:pt x="3103" y="163735"/>
                    </a:cubicBezTo>
                    <a:lnTo>
                      <a:pt x="29843" y="163735"/>
                    </a:lnTo>
                    <a:cubicBezTo>
                      <a:pt x="31552" y="163735"/>
                      <a:pt x="32947" y="162341"/>
                      <a:pt x="32947" y="160632"/>
                    </a:cubicBezTo>
                    <a:lnTo>
                      <a:pt x="32947" y="149025"/>
                    </a:lnTo>
                    <a:cubicBezTo>
                      <a:pt x="40903" y="159839"/>
                      <a:pt x="53535" y="166087"/>
                      <a:pt x="68983" y="166087"/>
                    </a:cubicBezTo>
                    <a:cubicBezTo>
                      <a:pt x="101505" y="166087"/>
                      <a:pt x="123638" y="139852"/>
                      <a:pt x="123638" y="105539"/>
                    </a:cubicBezTo>
                    <a:cubicBezTo>
                      <a:pt x="123638" y="71225"/>
                      <a:pt x="101505" y="44663"/>
                      <a:pt x="68750" y="44663"/>
                    </a:cubicBezTo>
                    <a:close/>
                    <a:moveTo>
                      <a:pt x="62188" y="135163"/>
                    </a:moveTo>
                    <a:cubicBezTo>
                      <a:pt x="45346" y="135163"/>
                      <a:pt x="32947" y="121533"/>
                      <a:pt x="32947" y="105552"/>
                    </a:cubicBezTo>
                    <a:cubicBezTo>
                      <a:pt x="32947" y="89571"/>
                      <a:pt x="45346" y="76174"/>
                      <a:pt x="62188" y="76174"/>
                    </a:cubicBezTo>
                    <a:cubicBezTo>
                      <a:pt x="79031" y="76174"/>
                      <a:pt x="90965" y="89571"/>
                      <a:pt x="90965" y="105552"/>
                    </a:cubicBezTo>
                    <a:cubicBezTo>
                      <a:pt x="90965" y="121533"/>
                      <a:pt x="78798" y="135163"/>
                      <a:pt x="62188" y="13516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6" name="Google Shape;246;p50"/>
              <p:cNvSpPr/>
              <p:nvPr/>
            </p:nvSpPr>
            <p:spPr>
              <a:xfrm>
                <a:off x="11359421" y="6517136"/>
                <a:ext cx="120412" cy="121437"/>
              </a:xfrm>
              <a:custGeom>
                <a:avLst/>
                <a:gdLst/>
                <a:ahLst/>
                <a:cxnLst/>
                <a:rect l="l" t="t" r="r" b="b"/>
                <a:pathLst>
                  <a:path w="120412" h="121437" extrusionOk="0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7" name="Google Shape;247;p50"/>
              <p:cNvSpPr/>
              <p:nvPr/>
            </p:nvSpPr>
            <p:spPr>
              <a:xfrm>
                <a:off x="11662542" y="6517136"/>
                <a:ext cx="120412" cy="121437"/>
              </a:xfrm>
              <a:custGeom>
                <a:avLst/>
                <a:gdLst/>
                <a:ahLst/>
                <a:cxnLst/>
                <a:rect l="l" t="t" r="r" b="b"/>
                <a:pathLst>
                  <a:path w="120412" h="121437" extrusionOk="0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8" name="Google Shape;248;p50"/>
              <p:cNvSpPr/>
              <p:nvPr/>
            </p:nvSpPr>
            <p:spPr>
              <a:xfrm>
                <a:off x="11122821" y="6519528"/>
                <a:ext cx="32932" cy="116680"/>
              </a:xfrm>
              <a:custGeom>
                <a:avLst/>
                <a:gdLst/>
                <a:ahLst/>
                <a:cxnLst/>
                <a:rect l="l" t="t" r="r" b="b"/>
                <a:pathLst>
                  <a:path w="32932" h="116680" extrusionOk="0">
                    <a:moveTo>
                      <a:pt x="29843" y="116680"/>
                    </a:moveTo>
                    <a:lnTo>
                      <a:pt x="3103" y="116680"/>
                    </a:lnTo>
                    <a:cubicBezTo>
                      <a:pt x="1394" y="116680"/>
                      <a:pt x="0" y="115286"/>
                      <a:pt x="0" y="113577"/>
                    </a:cubicBezTo>
                    <a:lnTo>
                      <a:pt x="0" y="30554"/>
                    </a:lnTo>
                    <a:cubicBezTo>
                      <a:pt x="0" y="28886"/>
                      <a:pt x="670" y="27287"/>
                      <a:pt x="1859" y="26125"/>
                    </a:cubicBezTo>
                    <a:lnTo>
                      <a:pt x="27670" y="888"/>
                    </a:lnTo>
                    <a:cubicBezTo>
                      <a:pt x="29638" y="-1026"/>
                      <a:pt x="32933" y="355"/>
                      <a:pt x="32933" y="3103"/>
                    </a:cubicBezTo>
                    <a:lnTo>
                      <a:pt x="32933" y="113577"/>
                    </a:lnTo>
                    <a:cubicBezTo>
                      <a:pt x="32933" y="115286"/>
                      <a:pt x="31538" y="116680"/>
                      <a:pt x="29830" y="11668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9" name="Google Shape;249;p50"/>
              <p:cNvSpPr/>
              <p:nvPr/>
            </p:nvSpPr>
            <p:spPr>
              <a:xfrm>
                <a:off x="11173074" y="6517105"/>
                <a:ext cx="107493" cy="119116"/>
              </a:xfrm>
              <a:custGeom>
                <a:avLst/>
                <a:gdLst/>
                <a:ahLst/>
                <a:cxnLst/>
                <a:rect l="l" t="t" r="r" b="b"/>
                <a:pathLst>
                  <a:path w="107493" h="119116" extrusionOk="0">
                    <a:moveTo>
                      <a:pt x="107480" y="41877"/>
                    </a:moveTo>
                    <a:cubicBezTo>
                      <a:pt x="107480" y="19252"/>
                      <a:pt x="88792" y="277"/>
                      <a:pt x="65237" y="3"/>
                    </a:cubicBezTo>
                    <a:cubicBezTo>
                      <a:pt x="49912" y="-175"/>
                      <a:pt x="39563" y="7331"/>
                      <a:pt x="32947" y="17474"/>
                    </a:cubicBezTo>
                    <a:lnTo>
                      <a:pt x="32947" y="5581"/>
                    </a:lnTo>
                    <a:cubicBezTo>
                      <a:pt x="32947" y="3872"/>
                      <a:pt x="31552" y="2478"/>
                      <a:pt x="29843" y="2478"/>
                    </a:cubicBezTo>
                    <a:lnTo>
                      <a:pt x="3103" y="2478"/>
                    </a:lnTo>
                    <a:cubicBezTo>
                      <a:pt x="1394" y="2478"/>
                      <a:pt x="0" y="3872"/>
                      <a:pt x="0" y="5581"/>
                    </a:cubicBezTo>
                    <a:lnTo>
                      <a:pt x="0" y="116000"/>
                    </a:lnTo>
                    <a:cubicBezTo>
                      <a:pt x="0" y="117709"/>
                      <a:pt x="1394" y="119103"/>
                      <a:pt x="3103" y="119103"/>
                    </a:cubicBezTo>
                    <a:lnTo>
                      <a:pt x="29843" y="119103"/>
                    </a:lnTo>
                    <a:cubicBezTo>
                      <a:pt x="31552" y="119103"/>
                      <a:pt x="32947" y="117709"/>
                      <a:pt x="32947" y="116000"/>
                    </a:cubicBezTo>
                    <a:lnTo>
                      <a:pt x="32947" y="51788"/>
                    </a:lnTo>
                    <a:cubicBezTo>
                      <a:pt x="33685" y="39430"/>
                      <a:pt x="41518" y="31747"/>
                      <a:pt x="53740" y="31747"/>
                    </a:cubicBezTo>
                    <a:cubicBezTo>
                      <a:pt x="65961" y="31747"/>
                      <a:pt x="74547" y="40373"/>
                      <a:pt x="74547" y="53210"/>
                    </a:cubicBezTo>
                    <a:lnTo>
                      <a:pt x="74547" y="116014"/>
                    </a:lnTo>
                    <a:cubicBezTo>
                      <a:pt x="74547" y="117722"/>
                      <a:pt x="75941" y="119117"/>
                      <a:pt x="77650" y="119117"/>
                    </a:cubicBezTo>
                    <a:lnTo>
                      <a:pt x="104390" y="119117"/>
                    </a:lnTo>
                    <a:cubicBezTo>
                      <a:pt x="106099" y="119117"/>
                      <a:pt x="107493" y="117722"/>
                      <a:pt x="107493" y="116014"/>
                    </a:cubicBezTo>
                    <a:lnTo>
                      <a:pt x="107493" y="4189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50" name="Google Shape;250;p50"/>
          <p:cNvSpPr txBox="1">
            <a:spLocks noGrp="1"/>
          </p:cNvSpPr>
          <p:nvPr>
            <p:ph type="title"/>
          </p:nvPr>
        </p:nvSpPr>
        <p:spPr>
          <a:xfrm>
            <a:off x="501977" y="317771"/>
            <a:ext cx="11118400" cy="63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600"/>
              <a:buFont typeface="Lato"/>
              <a:buNone/>
              <a:defRPr sz="3467" b="1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51" name="Google Shape;251;p50"/>
          <p:cNvSpPr txBox="1">
            <a:spLocks noGrp="1"/>
          </p:cNvSpPr>
          <p:nvPr>
            <p:ph type="body" idx="1"/>
          </p:nvPr>
        </p:nvSpPr>
        <p:spPr>
          <a:xfrm>
            <a:off x="501983" y="1109316"/>
            <a:ext cx="11118400" cy="524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1700"/>
              <a:buFont typeface="Arial"/>
              <a:buNone/>
              <a:defRPr sz="2267" b="0" i="0" u="none" strike="noStrike" cap="none">
                <a:solidFill>
                  <a:schemeClr val="lt1"/>
                </a:solidFill>
                <a:latin typeface="Lato Light"/>
                <a:ea typeface="Lato Light"/>
                <a:cs typeface="Lato Light"/>
                <a:sym typeface="Lato Light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3pPr>
            <a:lvl4pPr marL="2438339" marR="0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4pPr>
            <a:lvl5pPr marL="3047924" marR="0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5pPr>
            <a:lvl6pPr marL="3657509" marR="0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6pPr>
            <a:lvl7pPr marL="4267093" marR="0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7pPr>
            <a:lvl8pPr marL="4876678" marR="0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8pPr>
            <a:lvl9pPr marL="5486263" marR="0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93838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8BFF4E4-4577-883B-00F2-77F70720246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6942" r="3101" b="2975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grpSp>
        <p:nvGrpSpPr>
          <p:cNvPr id="5" name="Google Shape;55;p14">
            <a:extLst>
              <a:ext uri="{FF2B5EF4-FFF2-40B4-BE49-F238E27FC236}">
                <a16:creationId xmlns:a16="http://schemas.microsoft.com/office/drawing/2014/main" id="{B438EDE1-0948-D621-9E8E-54A0FB8E2F41}"/>
              </a:ext>
            </a:extLst>
          </p:cNvPr>
          <p:cNvGrpSpPr/>
          <p:nvPr userDrawn="1"/>
        </p:nvGrpSpPr>
        <p:grpSpPr>
          <a:xfrm>
            <a:off x="733015" y="525261"/>
            <a:ext cx="2455531" cy="529351"/>
            <a:chOff x="9242171" y="2998561"/>
            <a:chExt cx="1672097" cy="360462"/>
          </a:xfrm>
        </p:grpSpPr>
        <p:sp>
          <p:nvSpPr>
            <p:cNvPr id="6" name="Google Shape;56;p14">
              <a:extLst>
                <a:ext uri="{FF2B5EF4-FFF2-40B4-BE49-F238E27FC236}">
                  <a16:creationId xmlns:a16="http://schemas.microsoft.com/office/drawing/2014/main" id="{9A917793-A21B-2D45-4E5B-4256F4D739A1}"/>
                </a:ext>
              </a:extLst>
            </p:cNvPr>
            <p:cNvSpPr/>
            <p:nvPr/>
          </p:nvSpPr>
          <p:spPr>
            <a:xfrm rot="-2700000">
              <a:off x="9267558" y="3013791"/>
              <a:ext cx="73537" cy="73537"/>
            </a:xfrm>
            <a:custGeom>
              <a:avLst/>
              <a:gdLst/>
              <a:ahLst/>
              <a:cxnLst/>
              <a:rect l="l" t="t" r="r" b="b"/>
              <a:pathLst>
                <a:path w="73496" h="73496" extrusionOk="0">
                  <a:moveTo>
                    <a:pt x="67007" y="0"/>
                  </a:moveTo>
                  <a:cubicBezTo>
                    <a:pt x="70591" y="0"/>
                    <a:pt x="73497" y="2905"/>
                    <a:pt x="73497" y="6489"/>
                  </a:cubicBezTo>
                  <a:lnTo>
                    <a:pt x="73497" y="67007"/>
                  </a:lnTo>
                  <a:cubicBezTo>
                    <a:pt x="73497" y="70591"/>
                    <a:pt x="70591" y="73496"/>
                    <a:pt x="67007" y="73496"/>
                  </a:cubicBezTo>
                  <a:lnTo>
                    <a:pt x="6489" y="73496"/>
                  </a:lnTo>
                  <a:cubicBezTo>
                    <a:pt x="2905" y="73496"/>
                    <a:pt x="0" y="70591"/>
                    <a:pt x="0" y="67007"/>
                  </a:cubicBezTo>
                  <a:lnTo>
                    <a:pt x="0" y="6489"/>
                  </a:lnTo>
                  <a:cubicBezTo>
                    <a:pt x="0" y="2905"/>
                    <a:pt x="2905" y="0"/>
                    <a:pt x="6489" y="0"/>
                  </a:cubicBezTo>
                  <a:close/>
                </a:path>
              </a:pathLst>
            </a:custGeom>
            <a:solidFill>
              <a:srgbClr val="00BD4D"/>
            </a:solidFill>
            <a:ln>
              <a:noFill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6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endParaRPr>
            </a:p>
          </p:txBody>
        </p:sp>
        <p:grpSp>
          <p:nvGrpSpPr>
            <p:cNvPr id="20" name="Google Shape;57;p14">
              <a:extLst>
                <a:ext uri="{FF2B5EF4-FFF2-40B4-BE49-F238E27FC236}">
                  <a16:creationId xmlns:a16="http://schemas.microsoft.com/office/drawing/2014/main" id="{14D2F158-739C-67BB-474D-8238E8768F89}"/>
                </a:ext>
              </a:extLst>
            </p:cNvPr>
            <p:cNvGrpSpPr/>
            <p:nvPr/>
          </p:nvGrpSpPr>
          <p:grpSpPr>
            <a:xfrm>
              <a:off x="9242171" y="3011696"/>
              <a:ext cx="1672097" cy="347327"/>
              <a:chOff x="9242171" y="3011696"/>
              <a:chExt cx="1672097" cy="347327"/>
            </a:xfrm>
          </p:grpSpPr>
          <p:sp>
            <p:nvSpPr>
              <p:cNvPr id="21" name="Google Shape;58;p14">
                <a:extLst>
                  <a:ext uri="{FF2B5EF4-FFF2-40B4-BE49-F238E27FC236}">
                    <a16:creationId xmlns:a16="http://schemas.microsoft.com/office/drawing/2014/main" id="{47437C89-D1D4-BE01-7C4B-4BDF596958FA}"/>
                  </a:ext>
                </a:extLst>
              </p:cNvPr>
              <p:cNvSpPr/>
              <p:nvPr/>
            </p:nvSpPr>
            <p:spPr>
              <a:xfrm>
                <a:off x="10604432" y="3110234"/>
                <a:ext cx="249644" cy="243844"/>
              </a:xfrm>
              <a:custGeom>
                <a:avLst/>
                <a:gdLst/>
                <a:ahLst/>
                <a:cxnLst/>
                <a:rect l="l" t="t" r="r" b="b"/>
                <a:pathLst>
                  <a:path w="249644" h="243844" extrusionOk="0">
                    <a:moveTo>
                      <a:pt x="172562" y="121922"/>
                    </a:moveTo>
                    <a:lnTo>
                      <a:pt x="248603" y="234754"/>
                    </a:lnTo>
                    <a:cubicBezTo>
                      <a:pt x="251347" y="238642"/>
                      <a:pt x="248346" y="243845"/>
                      <a:pt x="243372" y="243845"/>
                    </a:cubicBezTo>
                    <a:lnTo>
                      <a:pt x="179480" y="243845"/>
                    </a:lnTo>
                    <a:cubicBezTo>
                      <a:pt x="175221" y="243845"/>
                      <a:pt x="171219" y="241729"/>
                      <a:pt x="168789" y="238213"/>
                    </a:cubicBezTo>
                    <a:lnTo>
                      <a:pt x="124822" y="170949"/>
                    </a:lnTo>
                    <a:lnTo>
                      <a:pt x="80856" y="238213"/>
                    </a:lnTo>
                    <a:cubicBezTo>
                      <a:pt x="78426" y="241729"/>
                      <a:pt x="74452" y="243845"/>
                      <a:pt x="70164" y="243845"/>
                    </a:cubicBezTo>
                    <a:lnTo>
                      <a:pt x="6273" y="243845"/>
                    </a:lnTo>
                    <a:cubicBezTo>
                      <a:pt x="1299" y="243845"/>
                      <a:pt x="-1703" y="238671"/>
                      <a:pt x="1042" y="234754"/>
                    </a:cubicBezTo>
                    <a:lnTo>
                      <a:pt x="76854" y="121922"/>
                    </a:lnTo>
                    <a:lnTo>
                      <a:pt x="1042" y="9091"/>
                    </a:lnTo>
                    <a:cubicBezTo>
                      <a:pt x="-1703" y="5203"/>
                      <a:pt x="1299" y="0"/>
                      <a:pt x="6273" y="0"/>
                    </a:cubicBezTo>
                    <a:lnTo>
                      <a:pt x="72880" y="0"/>
                    </a:lnTo>
                    <a:cubicBezTo>
                      <a:pt x="75367" y="0"/>
                      <a:pt x="77683" y="1143"/>
                      <a:pt x="78998" y="3030"/>
                    </a:cubicBezTo>
                    <a:lnTo>
                      <a:pt x="124794" y="72782"/>
                    </a:lnTo>
                    <a:lnTo>
                      <a:pt x="167788" y="3059"/>
                    </a:lnTo>
                    <a:cubicBezTo>
                      <a:pt x="169075" y="1172"/>
                      <a:pt x="171419" y="0"/>
                      <a:pt x="173906" y="0"/>
                    </a:cubicBezTo>
                    <a:lnTo>
                      <a:pt x="241171" y="0"/>
                    </a:lnTo>
                    <a:cubicBezTo>
                      <a:pt x="246145" y="0"/>
                      <a:pt x="249118" y="5174"/>
                      <a:pt x="246402" y="9062"/>
                    </a:cubicBezTo>
                    <a:lnTo>
                      <a:pt x="172505" y="121922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866" b="0" i="0" u="none" strike="noStrike" cap="none">
                  <a:solidFill>
                    <a:schemeClr val="dk1"/>
                  </a:solidFill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  <p:sp>
            <p:nvSpPr>
              <p:cNvPr id="22" name="Google Shape;59;p14">
                <a:extLst>
                  <a:ext uri="{FF2B5EF4-FFF2-40B4-BE49-F238E27FC236}">
                    <a16:creationId xmlns:a16="http://schemas.microsoft.com/office/drawing/2014/main" id="{0421241D-84AA-08AE-B34F-7188A247A1E8}"/>
                  </a:ext>
                </a:extLst>
              </p:cNvPr>
              <p:cNvSpPr/>
              <p:nvPr/>
            </p:nvSpPr>
            <p:spPr>
              <a:xfrm>
                <a:off x="9581152" y="3011696"/>
                <a:ext cx="164831" cy="342440"/>
              </a:xfrm>
              <a:custGeom>
                <a:avLst/>
                <a:gdLst/>
                <a:ahLst/>
                <a:cxnLst/>
                <a:rect l="l" t="t" r="r" b="b"/>
                <a:pathLst>
                  <a:path w="164831" h="342440" extrusionOk="0">
                    <a:moveTo>
                      <a:pt x="158342" y="29"/>
                    </a:moveTo>
                    <a:lnTo>
                      <a:pt x="105342" y="29"/>
                    </a:lnTo>
                    <a:cubicBezTo>
                      <a:pt x="100197" y="29"/>
                      <a:pt x="95251" y="2087"/>
                      <a:pt x="91592" y="5717"/>
                    </a:cubicBezTo>
                    <a:lnTo>
                      <a:pt x="41794" y="55515"/>
                    </a:lnTo>
                    <a:cubicBezTo>
                      <a:pt x="38135" y="59175"/>
                      <a:pt x="36105" y="64120"/>
                      <a:pt x="36105" y="69266"/>
                    </a:cubicBezTo>
                    <a:lnTo>
                      <a:pt x="36105" y="108458"/>
                    </a:lnTo>
                    <a:lnTo>
                      <a:pt x="6375" y="108458"/>
                    </a:lnTo>
                    <a:cubicBezTo>
                      <a:pt x="2859" y="108458"/>
                      <a:pt x="0" y="111317"/>
                      <a:pt x="0" y="114833"/>
                    </a:cubicBezTo>
                    <a:lnTo>
                      <a:pt x="0" y="158828"/>
                    </a:lnTo>
                    <a:cubicBezTo>
                      <a:pt x="0" y="162344"/>
                      <a:pt x="2859" y="165203"/>
                      <a:pt x="6375" y="165203"/>
                    </a:cubicBezTo>
                    <a:lnTo>
                      <a:pt x="36105" y="165203"/>
                    </a:lnTo>
                    <a:lnTo>
                      <a:pt x="36105" y="335951"/>
                    </a:lnTo>
                    <a:cubicBezTo>
                      <a:pt x="36105" y="339524"/>
                      <a:pt x="39021" y="342440"/>
                      <a:pt x="42594" y="342440"/>
                    </a:cubicBezTo>
                    <a:lnTo>
                      <a:pt x="98510" y="342440"/>
                    </a:lnTo>
                    <a:cubicBezTo>
                      <a:pt x="102083" y="342440"/>
                      <a:pt x="104999" y="339524"/>
                      <a:pt x="104999" y="335951"/>
                    </a:cubicBezTo>
                    <a:lnTo>
                      <a:pt x="104999" y="165174"/>
                    </a:lnTo>
                    <a:lnTo>
                      <a:pt x="149394" y="165174"/>
                    </a:lnTo>
                    <a:cubicBezTo>
                      <a:pt x="152911" y="165174"/>
                      <a:pt x="155769" y="162315"/>
                      <a:pt x="155769" y="158799"/>
                    </a:cubicBezTo>
                    <a:lnTo>
                      <a:pt x="155769" y="114804"/>
                    </a:lnTo>
                    <a:cubicBezTo>
                      <a:pt x="155769" y="111288"/>
                      <a:pt x="152911" y="108429"/>
                      <a:pt x="149394" y="108429"/>
                    </a:cubicBezTo>
                    <a:lnTo>
                      <a:pt x="104999" y="108429"/>
                    </a:lnTo>
                    <a:lnTo>
                      <a:pt x="104999" y="80643"/>
                    </a:lnTo>
                    <a:cubicBezTo>
                      <a:pt x="104999" y="69895"/>
                      <a:pt x="113718" y="61204"/>
                      <a:pt x="124438" y="61204"/>
                    </a:cubicBezTo>
                    <a:lnTo>
                      <a:pt x="158342" y="61204"/>
                    </a:lnTo>
                    <a:cubicBezTo>
                      <a:pt x="161915" y="61204"/>
                      <a:pt x="164831" y="58288"/>
                      <a:pt x="164831" y="54715"/>
                    </a:cubicBezTo>
                    <a:lnTo>
                      <a:pt x="164831" y="6489"/>
                    </a:lnTo>
                    <a:cubicBezTo>
                      <a:pt x="164831" y="2916"/>
                      <a:pt x="161915" y="0"/>
                      <a:pt x="158342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866" b="0" i="0" u="none" strike="noStrike" cap="none">
                  <a:solidFill>
                    <a:schemeClr val="dk1"/>
                  </a:solidFill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  <p:sp>
            <p:nvSpPr>
              <p:cNvPr id="23" name="Google Shape;60;p14">
                <a:extLst>
                  <a:ext uri="{FF2B5EF4-FFF2-40B4-BE49-F238E27FC236}">
                    <a16:creationId xmlns:a16="http://schemas.microsoft.com/office/drawing/2014/main" id="{44BD85D0-36F1-AC81-5E6D-D1F3340BE75F}"/>
                  </a:ext>
                </a:extLst>
              </p:cNvPr>
              <p:cNvSpPr/>
              <p:nvPr/>
            </p:nvSpPr>
            <p:spPr>
              <a:xfrm>
                <a:off x="10860611" y="3304224"/>
                <a:ext cx="53657" cy="53657"/>
              </a:xfrm>
              <a:custGeom>
                <a:avLst/>
                <a:gdLst/>
                <a:ahLst/>
                <a:cxnLst/>
                <a:rect l="l" t="t" r="r" b="b"/>
                <a:pathLst>
                  <a:path w="53657" h="53657" extrusionOk="0">
                    <a:moveTo>
                      <a:pt x="53657" y="26786"/>
                    </a:moveTo>
                    <a:cubicBezTo>
                      <a:pt x="53657" y="41708"/>
                      <a:pt x="41708" y="53657"/>
                      <a:pt x="26729" y="53657"/>
                    </a:cubicBezTo>
                    <a:cubicBezTo>
                      <a:pt x="11749" y="53657"/>
                      <a:pt x="0" y="41594"/>
                      <a:pt x="0" y="26786"/>
                    </a:cubicBezTo>
                    <a:cubicBezTo>
                      <a:pt x="0" y="11978"/>
                      <a:pt x="11949" y="0"/>
                      <a:pt x="26814" y="0"/>
                    </a:cubicBezTo>
                    <a:cubicBezTo>
                      <a:pt x="41679" y="0"/>
                      <a:pt x="53629" y="11892"/>
                      <a:pt x="53629" y="26786"/>
                    </a:cubicBezTo>
                    <a:close/>
                    <a:moveTo>
                      <a:pt x="49541" y="26900"/>
                    </a:moveTo>
                    <a:cubicBezTo>
                      <a:pt x="49541" y="14036"/>
                      <a:pt x="39392" y="3831"/>
                      <a:pt x="26843" y="3831"/>
                    </a:cubicBezTo>
                    <a:cubicBezTo>
                      <a:pt x="14293" y="3831"/>
                      <a:pt x="4145" y="13922"/>
                      <a:pt x="4145" y="26872"/>
                    </a:cubicBezTo>
                    <a:cubicBezTo>
                      <a:pt x="4145" y="39821"/>
                      <a:pt x="14408" y="49884"/>
                      <a:pt x="26729" y="49884"/>
                    </a:cubicBezTo>
                    <a:cubicBezTo>
                      <a:pt x="39049" y="49884"/>
                      <a:pt x="49541" y="39736"/>
                      <a:pt x="49541" y="26900"/>
                    </a:cubicBezTo>
                    <a:close/>
                    <a:moveTo>
                      <a:pt x="32589" y="31131"/>
                    </a:moveTo>
                    <a:lnTo>
                      <a:pt x="39335" y="41622"/>
                    </a:lnTo>
                    <a:lnTo>
                      <a:pt x="34876" y="41622"/>
                    </a:lnTo>
                    <a:lnTo>
                      <a:pt x="27386" y="29730"/>
                    </a:lnTo>
                    <a:lnTo>
                      <a:pt x="20554" y="29730"/>
                    </a:lnTo>
                    <a:lnTo>
                      <a:pt x="20554" y="41622"/>
                    </a:lnTo>
                    <a:lnTo>
                      <a:pt x="16809" y="41622"/>
                    </a:lnTo>
                    <a:lnTo>
                      <a:pt x="16809" y="11549"/>
                    </a:lnTo>
                    <a:lnTo>
                      <a:pt x="28472" y="11549"/>
                    </a:lnTo>
                    <a:cubicBezTo>
                      <a:pt x="34218" y="11549"/>
                      <a:pt x="37963" y="14636"/>
                      <a:pt x="37963" y="20411"/>
                    </a:cubicBezTo>
                    <a:cubicBezTo>
                      <a:pt x="37963" y="25071"/>
                      <a:pt x="35133" y="27958"/>
                      <a:pt x="31131" y="29101"/>
                    </a:cubicBezTo>
                    <a:cubicBezTo>
                      <a:pt x="31674" y="29702"/>
                      <a:pt x="32217" y="30445"/>
                      <a:pt x="32589" y="31160"/>
                    </a:cubicBezTo>
                    <a:close/>
                    <a:moveTo>
                      <a:pt x="27214" y="26185"/>
                    </a:moveTo>
                    <a:cubicBezTo>
                      <a:pt x="31445" y="26185"/>
                      <a:pt x="34047" y="24184"/>
                      <a:pt x="34047" y="20640"/>
                    </a:cubicBezTo>
                    <a:cubicBezTo>
                      <a:pt x="34047" y="17095"/>
                      <a:pt x="32246" y="15037"/>
                      <a:pt x="28558" y="15037"/>
                    </a:cubicBezTo>
                    <a:lnTo>
                      <a:pt x="20525" y="15037"/>
                    </a:lnTo>
                    <a:lnTo>
                      <a:pt x="20525" y="26157"/>
                    </a:lnTo>
                    <a:lnTo>
                      <a:pt x="27214" y="26157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866" b="0" i="0" u="none" strike="noStrike" cap="none">
                  <a:solidFill>
                    <a:schemeClr val="dk1"/>
                  </a:solidFill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  <p:sp>
            <p:nvSpPr>
              <p:cNvPr id="24" name="Google Shape;61;p14">
                <a:extLst>
                  <a:ext uri="{FF2B5EF4-FFF2-40B4-BE49-F238E27FC236}">
                    <a16:creationId xmlns:a16="http://schemas.microsoft.com/office/drawing/2014/main" id="{3CE60FDD-51DD-5655-E5BD-C3CEC7A44146}"/>
                  </a:ext>
                </a:extLst>
              </p:cNvPr>
              <p:cNvSpPr/>
              <p:nvPr/>
            </p:nvSpPr>
            <p:spPr>
              <a:xfrm>
                <a:off x="10283815" y="3011724"/>
                <a:ext cx="68865" cy="342354"/>
              </a:xfrm>
              <a:custGeom>
                <a:avLst/>
                <a:gdLst/>
                <a:ahLst/>
                <a:cxnLst/>
                <a:rect l="l" t="t" r="r" b="b"/>
                <a:pathLst>
                  <a:path w="68865" h="342354" extrusionOk="0">
                    <a:moveTo>
                      <a:pt x="62376" y="0"/>
                    </a:moveTo>
                    <a:cubicBezTo>
                      <a:pt x="65960" y="0"/>
                      <a:pt x="68866" y="2905"/>
                      <a:pt x="68866" y="6489"/>
                    </a:cubicBezTo>
                    <a:lnTo>
                      <a:pt x="68866" y="335865"/>
                    </a:lnTo>
                    <a:cubicBezTo>
                      <a:pt x="68866" y="339449"/>
                      <a:pt x="65960" y="342355"/>
                      <a:pt x="62376" y="342355"/>
                    </a:cubicBezTo>
                    <a:lnTo>
                      <a:pt x="6489" y="342355"/>
                    </a:lnTo>
                    <a:cubicBezTo>
                      <a:pt x="2905" y="342355"/>
                      <a:pt x="0" y="339449"/>
                      <a:pt x="0" y="335865"/>
                    </a:cubicBezTo>
                    <a:lnTo>
                      <a:pt x="0" y="6489"/>
                    </a:lnTo>
                    <a:cubicBezTo>
                      <a:pt x="0" y="2905"/>
                      <a:pt x="2905" y="0"/>
                      <a:pt x="6489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866" b="0" i="0" u="none" strike="noStrike" cap="none">
                  <a:solidFill>
                    <a:schemeClr val="dk1"/>
                  </a:solidFill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  <p:sp>
            <p:nvSpPr>
              <p:cNvPr id="25" name="Google Shape;62;p14">
                <a:extLst>
                  <a:ext uri="{FF2B5EF4-FFF2-40B4-BE49-F238E27FC236}">
                    <a16:creationId xmlns:a16="http://schemas.microsoft.com/office/drawing/2014/main" id="{D3897E8C-5258-6ECA-7987-2F17A59A5D62}"/>
                  </a:ext>
                </a:extLst>
              </p:cNvPr>
              <p:cNvSpPr/>
              <p:nvPr/>
            </p:nvSpPr>
            <p:spPr>
              <a:xfrm>
                <a:off x="10006809" y="3011696"/>
                <a:ext cx="258538" cy="347300"/>
              </a:xfrm>
              <a:custGeom>
                <a:avLst/>
                <a:gdLst/>
                <a:ahLst/>
                <a:cxnLst/>
                <a:rect l="l" t="t" r="r" b="b"/>
                <a:pathLst>
                  <a:path w="258538" h="347300" extrusionOk="0">
                    <a:moveTo>
                      <a:pt x="143734" y="93393"/>
                    </a:moveTo>
                    <a:cubicBezTo>
                      <a:pt x="111946" y="93393"/>
                      <a:pt x="85503" y="107172"/>
                      <a:pt x="68894" y="129755"/>
                    </a:cubicBezTo>
                    <a:lnTo>
                      <a:pt x="68894" y="6489"/>
                    </a:lnTo>
                    <a:cubicBezTo>
                      <a:pt x="68894" y="2916"/>
                      <a:pt x="65978" y="0"/>
                      <a:pt x="62405" y="0"/>
                    </a:cubicBezTo>
                    <a:lnTo>
                      <a:pt x="6489" y="0"/>
                    </a:lnTo>
                    <a:cubicBezTo>
                      <a:pt x="2916" y="0"/>
                      <a:pt x="0" y="2916"/>
                      <a:pt x="0" y="6489"/>
                    </a:cubicBezTo>
                    <a:lnTo>
                      <a:pt x="0" y="335894"/>
                    </a:lnTo>
                    <a:cubicBezTo>
                      <a:pt x="0" y="339467"/>
                      <a:pt x="2916" y="342383"/>
                      <a:pt x="6489" y="342383"/>
                    </a:cubicBezTo>
                    <a:lnTo>
                      <a:pt x="62405" y="342383"/>
                    </a:lnTo>
                    <a:cubicBezTo>
                      <a:pt x="65978" y="342383"/>
                      <a:pt x="68894" y="339467"/>
                      <a:pt x="68894" y="335894"/>
                    </a:cubicBezTo>
                    <a:lnTo>
                      <a:pt x="68894" y="311624"/>
                    </a:lnTo>
                    <a:cubicBezTo>
                      <a:pt x="85532" y="334236"/>
                      <a:pt x="111946" y="347300"/>
                      <a:pt x="144249" y="347300"/>
                    </a:cubicBezTo>
                    <a:cubicBezTo>
                      <a:pt x="212257" y="347300"/>
                      <a:pt x="258539" y="292442"/>
                      <a:pt x="258539" y="220689"/>
                    </a:cubicBezTo>
                    <a:cubicBezTo>
                      <a:pt x="258539" y="148937"/>
                      <a:pt x="212257" y="93393"/>
                      <a:pt x="143763" y="93393"/>
                    </a:cubicBezTo>
                    <a:close/>
                    <a:moveTo>
                      <a:pt x="130041" y="282637"/>
                    </a:moveTo>
                    <a:cubicBezTo>
                      <a:pt x="94822" y="282637"/>
                      <a:pt x="68894" y="254136"/>
                      <a:pt x="68894" y="220718"/>
                    </a:cubicBezTo>
                    <a:cubicBezTo>
                      <a:pt x="68894" y="187300"/>
                      <a:pt x="94822" y="159285"/>
                      <a:pt x="130041" y="159285"/>
                    </a:cubicBezTo>
                    <a:cubicBezTo>
                      <a:pt x="165260" y="159285"/>
                      <a:pt x="190216" y="187300"/>
                      <a:pt x="190216" y="220718"/>
                    </a:cubicBezTo>
                    <a:cubicBezTo>
                      <a:pt x="190216" y="254136"/>
                      <a:pt x="164774" y="282637"/>
                      <a:pt x="130041" y="282637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866" b="0" i="0" u="none" strike="noStrike" cap="none">
                  <a:solidFill>
                    <a:schemeClr val="dk1"/>
                  </a:solidFill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  <p:sp>
            <p:nvSpPr>
              <p:cNvPr id="26" name="Google Shape;63;p14">
                <a:extLst>
                  <a:ext uri="{FF2B5EF4-FFF2-40B4-BE49-F238E27FC236}">
                    <a16:creationId xmlns:a16="http://schemas.microsoft.com/office/drawing/2014/main" id="{4F8A0CF7-61B2-B8C5-EA08-FFD519EDCD68}"/>
                  </a:ext>
                </a:extLst>
              </p:cNvPr>
              <p:cNvSpPr/>
              <p:nvPr/>
            </p:nvSpPr>
            <p:spPr>
              <a:xfrm>
                <a:off x="9736922" y="3105088"/>
                <a:ext cx="251792" cy="253935"/>
              </a:xfrm>
              <a:custGeom>
                <a:avLst/>
                <a:gdLst/>
                <a:ahLst/>
                <a:cxnLst/>
                <a:rect l="l" t="t" r="r" b="b"/>
                <a:pathLst>
                  <a:path w="251792" h="253935" extrusionOk="0">
                    <a:moveTo>
                      <a:pt x="125896" y="0"/>
                    </a:moveTo>
                    <a:cubicBezTo>
                      <a:pt x="54944" y="0"/>
                      <a:pt x="0" y="55287"/>
                      <a:pt x="0" y="126725"/>
                    </a:cubicBezTo>
                    <a:cubicBezTo>
                      <a:pt x="0" y="198163"/>
                      <a:pt x="54915" y="253936"/>
                      <a:pt x="125896" y="253936"/>
                    </a:cubicBezTo>
                    <a:cubicBezTo>
                      <a:pt x="196877" y="253936"/>
                      <a:pt x="251792" y="198163"/>
                      <a:pt x="251792" y="126725"/>
                    </a:cubicBezTo>
                    <a:cubicBezTo>
                      <a:pt x="251792" y="55287"/>
                      <a:pt x="196877" y="0"/>
                      <a:pt x="125896" y="0"/>
                    </a:cubicBezTo>
                    <a:close/>
                    <a:moveTo>
                      <a:pt x="126153" y="188558"/>
                    </a:moveTo>
                    <a:cubicBezTo>
                      <a:pt x="91506" y="188558"/>
                      <a:pt x="65378" y="160314"/>
                      <a:pt x="65378" y="126725"/>
                    </a:cubicBezTo>
                    <a:cubicBezTo>
                      <a:pt x="65378" y="93136"/>
                      <a:pt x="91506" y="65378"/>
                      <a:pt x="126153" y="65378"/>
                    </a:cubicBezTo>
                    <a:cubicBezTo>
                      <a:pt x="160801" y="65378"/>
                      <a:pt x="186443" y="93136"/>
                      <a:pt x="186443" y="126725"/>
                    </a:cubicBezTo>
                    <a:cubicBezTo>
                      <a:pt x="186443" y="160314"/>
                      <a:pt x="161315" y="188558"/>
                      <a:pt x="126153" y="188558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866" b="0" i="0" u="none" strike="noStrike" cap="none">
                  <a:solidFill>
                    <a:schemeClr val="dk1"/>
                  </a:solidFill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  <p:sp>
            <p:nvSpPr>
              <p:cNvPr id="27" name="Google Shape;64;p14">
                <a:extLst>
                  <a:ext uri="{FF2B5EF4-FFF2-40B4-BE49-F238E27FC236}">
                    <a16:creationId xmlns:a16="http://schemas.microsoft.com/office/drawing/2014/main" id="{19A7B324-DF41-23AA-CE0F-C764D483B8D9}"/>
                  </a:ext>
                </a:extLst>
              </p:cNvPr>
              <p:cNvSpPr/>
              <p:nvPr/>
            </p:nvSpPr>
            <p:spPr>
              <a:xfrm>
                <a:off x="10370776" y="3105088"/>
                <a:ext cx="251792" cy="253935"/>
              </a:xfrm>
              <a:custGeom>
                <a:avLst/>
                <a:gdLst/>
                <a:ahLst/>
                <a:cxnLst/>
                <a:rect l="l" t="t" r="r" b="b"/>
                <a:pathLst>
                  <a:path w="251792" h="253935" extrusionOk="0">
                    <a:moveTo>
                      <a:pt x="125896" y="0"/>
                    </a:moveTo>
                    <a:cubicBezTo>
                      <a:pt x="54944" y="0"/>
                      <a:pt x="0" y="55287"/>
                      <a:pt x="0" y="126725"/>
                    </a:cubicBezTo>
                    <a:cubicBezTo>
                      <a:pt x="0" y="198163"/>
                      <a:pt x="54915" y="253936"/>
                      <a:pt x="125896" y="253936"/>
                    </a:cubicBezTo>
                    <a:cubicBezTo>
                      <a:pt x="196877" y="253936"/>
                      <a:pt x="251792" y="198163"/>
                      <a:pt x="251792" y="126725"/>
                    </a:cubicBezTo>
                    <a:cubicBezTo>
                      <a:pt x="251792" y="55287"/>
                      <a:pt x="196877" y="0"/>
                      <a:pt x="125896" y="0"/>
                    </a:cubicBezTo>
                    <a:close/>
                    <a:moveTo>
                      <a:pt x="126153" y="188558"/>
                    </a:moveTo>
                    <a:cubicBezTo>
                      <a:pt x="91506" y="188558"/>
                      <a:pt x="65378" y="160314"/>
                      <a:pt x="65378" y="126725"/>
                    </a:cubicBezTo>
                    <a:cubicBezTo>
                      <a:pt x="65378" y="93136"/>
                      <a:pt x="91506" y="65378"/>
                      <a:pt x="126153" y="65378"/>
                    </a:cubicBezTo>
                    <a:cubicBezTo>
                      <a:pt x="160801" y="65378"/>
                      <a:pt x="186443" y="93136"/>
                      <a:pt x="186443" y="126725"/>
                    </a:cubicBezTo>
                    <a:cubicBezTo>
                      <a:pt x="186443" y="160314"/>
                      <a:pt x="161315" y="188558"/>
                      <a:pt x="126153" y="188558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866" b="0" i="0" u="none" strike="noStrike" cap="none">
                  <a:solidFill>
                    <a:schemeClr val="dk1"/>
                  </a:solidFill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  <p:sp>
            <p:nvSpPr>
              <p:cNvPr id="28" name="Google Shape;65;p14">
                <a:extLst>
                  <a:ext uri="{FF2B5EF4-FFF2-40B4-BE49-F238E27FC236}">
                    <a16:creationId xmlns:a16="http://schemas.microsoft.com/office/drawing/2014/main" id="{8C4CE64D-E5FD-591E-C0D0-F26DA93FB827}"/>
                  </a:ext>
                </a:extLst>
              </p:cNvPr>
              <p:cNvSpPr/>
              <p:nvPr/>
            </p:nvSpPr>
            <p:spPr>
              <a:xfrm>
                <a:off x="9242171" y="3110092"/>
                <a:ext cx="68865" cy="243987"/>
              </a:xfrm>
              <a:custGeom>
                <a:avLst/>
                <a:gdLst/>
                <a:ahLst/>
                <a:cxnLst/>
                <a:rect l="l" t="t" r="r" b="b"/>
                <a:pathLst>
                  <a:path w="68865" h="243987" extrusionOk="0">
                    <a:moveTo>
                      <a:pt x="62405" y="243987"/>
                    </a:moveTo>
                    <a:lnTo>
                      <a:pt x="6489" y="243987"/>
                    </a:lnTo>
                    <a:cubicBezTo>
                      <a:pt x="2916" y="243987"/>
                      <a:pt x="0" y="241071"/>
                      <a:pt x="0" y="237498"/>
                    </a:cubicBezTo>
                    <a:lnTo>
                      <a:pt x="0" y="63891"/>
                    </a:lnTo>
                    <a:cubicBezTo>
                      <a:pt x="0" y="60403"/>
                      <a:pt x="1401" y="57059"/>
                      <a:pt x="3888" y="54629"/>
                    </a:cubicBezTo>
                    <a:lnTo>
                      <a:pt x="57860" y="1858"/>
                    </a:lnTo>
                    <a:cubicBezTo>
                      <a:pt x="61976" y="-2144"/>
                      <a:pt x="68866" y="743"/>
                      <a:pt x="68866" y="6489"/>
                    </a:cubicBezTo>
                    <a:lnTo>
                      <a:pt x="68866" y="237498"/>
                    </a:lnTo>
                    <a:cubicBezTo>
                      <a:pt x="68866" y="241071"/>
                      <a:pt x="65950" y="243987"/>
                      <a:pt x="62376" y="243987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866" b="0" i="0" u="none" strike="noStrike" cap="none">
                  <a:solidFill>
                    <a:schemeClr val="dk1"/>
                  </a:solidFill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  <p:sp>
            <p:nvSpPr>
              <p:cNvPr id="29" name="Google Shape;66;p14">
                <a:extLst>
                  <a:ext uri="{FF2B5EF4-FFF2-40B4-BE49-F238E27FC236}">
                    <a16:creationId xmlns:a16="http://schemas.microsoft.com/office/drawing/2014/main" id="{A7B0FFD4-921C-F5DD-16D6-F73EC8E1302E}"/>
                  </a:ext>
                </a:extLst>
              </p:cNvPr>
              <p:cNvSpPr/>
              <p:nvPr/>
            </p:nvSpPr>
            <p:spPr>
              <a:xfrm>
                <a:off x="9347255" y="3105025"/>
                <a:ext cx="224777" cy="249082"/>
              </a:xfrm>
              <a:custGeom>
                <a:avLst/>
                <a:gdLst/>
                <a:ahLst/>
                <a:cxnLst/>
                <a:rect l="l" t="t" r="r" b="b"/>
                <a:pathLst>
                  <a:path w="224777" h="249082" extrusionOk="0">
                    <a:moveTo>
                      <a:pt x="224749" y="87568"/>
                    </a:moveTo>
                    <a:cubicBezTo>
                      <a:pt x="224749" y="40257"/>
                      <a:pt x="185671" y="578"/>
                      <a:pt x="136416" y="6"/>
                    </a:cubicBezTo>
                    <a:cubicBezTo>
                      <a:pt x="104370" y="-365"/>
                      <a:pt x="82730" y="15329"/>
                      <a:pt x="68894" y="36540"/>
                    </a:cubicBezTo>
                    <a:lnTo>
                      <a:pt x="68894" y="11670"/>
                    </a:lnTo>
                    <a:cubicBezTo>
                      <a:pt x="68894" y="8097"/>
                      <a:pt x="65978" y="5181"/>
                      <a:pt x="62405" y="5181"/>
                    </a:cubicBezTo>
                    <a:lnTo>
                      <a:pt x="6489" y="5181"/>
                    </a:lnTo>
                    <a:cubicBezTo>
                      <a:pt x="2916" y="5181"/>
                      <a:pt x="0" y="8097"/>
                      <a:pt x="0" y="11670"/>
                    </a:cubicBezTo>
                    <a:lnTo>
                      <a:pt x="0" y="242565"/>
                    </a:lnTo>
                    <a:cubicBezTo>
                      <a:pt x="0" y="246138"/>
                      <a:pt x="2916" y="249054"/>
                      <a:pt x="6489" y="249054"/>
                    </a:cubicBezTo>
                    <a:lnTo>
                      <a:pt x="62405" y="249054"/>
                    </a:lnTo>
                    <a:cubicBezTo>
                      <a:pt x="65978" y="249054"/>
                      <a:pt x="68894" y="246138"/>
                      <a:pt x="68894" y="242565"/>
                    </a:cubicBezTo>
                    <a:lnTo>
                      <a:pt x="68894" y="108293"/>
                    </a:lnTo>
                    <a:cubicBezTo>
                      <a:pt x="70438" y="82451"/>
                      <a:pt x="86818" y="66385"/>
                      <a:pt x="112375" y="66385"/>
                    </a:cubicBezTo>
                    <a:cubicBezTo>
                      <a:pt x="137931" y="66385"/>
                      <a:pt x="155884" y="84423"/>
                      <a:pt x="155884" y="111266"/>
                    </a:cubicBezTo>
                    <a:lnTo>
                      <a:pt x="155884" y="242593"/>
                    </a:lnTo>
                    <a:cubicBezTo>
                      <a:pt x="155884" y="246167"/>
                      <a:pt x="158800" y="249083"/>
                      <a:pt x="162373" y="249083"/>
                    </a:cubicBezTo>
                    <a:lnTo>
                      <a:pt x="218289" y="249083"/>
                    </a:lnTo>
                    <a:cubicBezTo>
                      <a:pt x="221862" y="249083"/>
                      <a:pt x="224778" y="246167"/>
                      <a:pt x="224778" y="242593"/>
                    </a:cubicBezTo>
                    <a:lnTo>
                      <a:pt x="224778" y="8759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866" b="0" i="0" u="none" strike="noStrike" cap="none">
                  <a:solidFill>
                    <a:schemeClr val="dk1"/>
                  </a:solidFill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27359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1F953592-F21F-66D4-A75C-D9776651FE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1039" y="2877441"/>
            <a:ext cx="6009144" cy="81670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defRPr sz="3800" b="0" i="0" cap="all" baseline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r>
              <a:rPr lang="en-US" dirty="0"/>
              <a:t>Section header sty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1F4CDB8B-E351-1A92-6C2C-BF0E70D5B4C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7184" y="3966402"/>
            <a:ext cx="5496526" cy="5834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200" b="0" i="0" cap="all" baseline="0">
                <a:solidFill>
                  <a:schemeClr val="tx1"/>
                </a:solidFill>
                <a:latin typeface="Lato" panose="020F0502020204030203" pitchFamily="34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12B7494C-D706-908E-8237-4E647C5B27DF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794240" y="518032"/>
            <a:ext cx="1513013" cy="323294"/>
          </a:xfrm>
          <a:prstGeom prst="rect">
            <a:avLst/>
          </a:prstGeom>
        </p:spPr>
      </p:pic>
      <p:sp>
        <p:nvSpPr>
          <p:cNvPr id="3" name="Freeform: Shape 3">
            <a:extLst>
              <a:ext uri="{FF2B5EF4-FFF2-40B4-BE49-F238E27FC236}">
                <a16:creationId xmlns:a16="http://schemas.microsoft.com/office/drawing/2014/main" id="{F359ACE8-6062-0001-5938-B4974C49A67F}"/>
              </a:ext>
            </a:extLst>
          </p:cNvPr>
          <p:cNvSpPr/>
          <p:nvPr userDrawn="1"/>
        </p:nvSpPr>
        <p:spPr>
          <a:xfrm flipH="1">
            <a:off x="5873555" y="2558776"/>
            <a:ext cx="6318445" cy="4299224"/>
          </a:xfrm>
          <a:custGeom>
            <a:avLst/>
            <a:gdLst>
              <a:gd name="connsiteX0" fmla="*/ 3806797 w 8096250"/>
              <a:gd name="connsiteY0" fmla="*/ 4490477 h 5508884"/>
              <a:gd name="connsiteX1" fmla="*/ 3994523 w 8096250"/>
              <a:gd name="connsiteY1" fmla="*/ 4568227 h 5508884"/>
              <a:gd name="connsiteX2" fmla="*/ 4935180 w 8096250"/>
              <a:gd name="connsiteY2" fmla="*/ 5508884 h 5508884"/>
              <a:gd name="connsiteX3" fmla="*/ 2678414 w 8096250"/>
              <a:gd name="connsiteY3" fmla="*/ 5508884 h 5508884"/>
              <a:gd name="connsiteX4" fmla="*/ 3619072 w 8096250"/>
              <a:gd name="connsiteY4" fmla="*/ 4568227 h 5508884"/>
              <a:gd name="connsiteX5" fmla="*/ 3806797 w 8096250"/>
              <a:gd name="connsiteY5" fmla="*/ 4490477 h 5508884"/>
              <a:gd name="connsiteX6" fmla="*/ 1562206 w 8096250"/>
              <a:gd name="connsiteY6" fmla="*/ 2245886 h 5508884"/>
              <a:gd name="connsiteX7" fmla="*/ 1749932 w 8096250"/>
              <a:gd name="connsiteY7" fmla="*/ 2323635 h 5508884"/>
              <a:gd name="connsiteX8" fmla="*/ 3528018 w 8096250"/>
              <a:gd name="connsiteY8" fmla="*/ 4101721 h 5508884"/>
              <a:gd name="connsiteX9" fmla="*/ 3528018 w 8096250"/>
              <a:gd name="connsiteY9" fmla="*/ 4477174 h 5508884"/>
              <a:gd name="connsiteX10" fmla="*/ 2496307 w 8096250"/>
              <a:gd name="connsiteY10" fmla="*/ 5508884 h 5508884"/>
              <a:gd name="connsiteX11" fmla="*/ 628105 w 8096250"/>
              <a:gd name="connsiteY11" fmla="*/ 5508884 h 5508884"/>
              <a:gd name="connsiteX12" fmla="*/ 0 w 8096250"/>
              <a:gd name="connsiteY12" fmla="*/ 4880780 h 5508884"/>
              <a:gd name="connsiteX13" fmla="*/ 0 w 8096250"/>
              <a:gd name="connsiteY13" fmla="*/ 3698115 h 5508884"/>
              <a:gd name="connsiteX14" fmla="*/ 1374480 w 8096250"/>
              <a:gd name="connsiteY14" fmla="*/ 2323635 h 5508884"/>
              <a:gd name="connsiteX15" fmla="*/ 1562206 w 8096250"/>
              <a:gd name="connsiteY15" fmla="*/ 2245886 h 5508884"/>
              <a:gd name="connsiteX16" fmla="*/ 6052690 w 8096250"/>
              <a:gd name="connsiteY16" fmla="*/ 2244592 h 5508884"/>
              <a:gd name="connsiteX17" fmla="*/ 6240416 w 8096250"/>
              <a:gd name="connsiteY17" fmla="*/ 2322342 h 5508884"/>
              <a:gd name="connsiteX18" fmla="*/ 8018501 w 8096250"/>
              <a:gd name="connsiteY18" fmla="*/ 4100428 h 5508884"/>
              <a:gd name="connsiteX19" fmla="*/ 8018501 w 8096250"/>
              <a:gd name="connsiteY19" fmla="*/ 4475880 h 5508884"/>
              <a:gd name="connsiteX20" fmla="*/ 6985497 w 8096250"/>
              <a:gd name="connsiteY20" fmla="*/ 5508884 h 5508884"/>
              <a:gd name="connsiteX21" fmla="*/ 5119883 w 8096250"/>
              <a:gd name="connsiteY21" fmla="*/ 5508884 h 5508884"/>
              <a:gd name="connsiteX22" fmla="*/ 4086878 w 8096250"/>
              <a:gd name="connsiteY22" fmla="*/ 4475880 h 5508884"/>
              <a:gd name="connsiteX23" fmla="*/ 4009128 w 8096250"/>
              <a:gd name="connsiteY23" fmla="*/ 4288153 h 5508884"/>
              <a:gd name="connsiteX24" fmla="*/ 4086878 w 8096250"/>
              <a:gd name="connsiteY24" fmla="*/ 4100428 h 5508884"/>
              <a:gd name="connsiteX25" fmla="*/ 5864964 w 8096250"/>
              <a:gd name="connsiteY25" fmla="*/ 2322342 h 5508884"/>
              <a:gd name="connsiteX26" fmla="*/ 6052690 w 8096250"/>
              <a:gd name="connsiteY26" fmla="*/ 2244592 h 5508884"/>
              <a:gd name="connsiteX27" fmla="*/ 3808098 w 8096250"/>
              <a:gd name="connsiteY27" fmla="*/ 0 h 5508884"/>
              <a:gd name="connsiteX28" fmla="*/ 3995825 w 8096250"/>
              <a:gd name="connsiteY28" fmla="*/ 77749 h 5508884"/>
              <a:gd name="connsiteX29" fmla="*/ 5773910 w 8096250"/>
              <a:gd name="connsiteY29" fmla="*/ 1855836 h 5508884"/>
              <a:gd name="connsiteX30" fmla="*/ 5773910 w 8096250"/>
              <a:gd name="connsiteY30" fmla="*/ 2231289 h 5508884"/>
              <a:gd name="connsiteX31" fmla="*/ 3995825 w 8096250"/>
              <a:gd name="connsiteY31" fmla="*/ 4009373 h 5508884"/>
              <a:gd name="connsiteX32" fmla="*/ 3620373 w 8096250"/>
              <a:gd name="connsiteY32" fmla="*/ 4009373 h 5508884"/>
              <a:gd name="connsiteX33" fmla="*/ 1842286 w 8096250"/>
              <a:gd name="connsiteY33" fmla="*/ 2231289 h 5508884"/>
              <a:gd name="connsiteX34" fmla="*/ 1764537 w 8096250"/>
              <a:gd name="connsiteY34" fmla="*/ 2043562 h 5508884"/>
              <a:gd name="connsiteX35" fmla="*/ 1842286 w 8096250"/>
              <a:gd name="connsiteY35" fmla="*/ 1855836 h 5508884"/>
              <a:gd name="connsiteX36" fmla="*/ 3620373 w 8096250"/>
              <a:gd name="connsiteY36" fmla="*/ 77749 h 5508884"/>
              <a:gd name="connsiteX37" fmla="*/ 3808098 w 8096250"/>
              <a:gd name="connsiteY37" fmla="*/ 0 h 5508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8096250" h="5508884">
                <a:moveTo>
                  <a:pt x="3806797" y="4490477"/>
                </a:moveTo>
                <a:cubicBezTo>
                  <a:pt x="3874743" y="4490477"/>
                  <a:pt x="3942690" y="4516394"/>
                  <a:pt x="3994523" y="4568227"/>
                </a:cubicBezTo>
                <a:lnTo>
                  <a:pt x="4935180" y="5508884"/>
                </a:lnTo>
                <a:lnTo>
                  <a:pt x="2678414" y="5508884"/>
                </a:lnTo>
                <a:lnTo>
                  <a:pt x="3619072" y="4568227"/>
                </a:lnTo>
                <a:cubicBezTo>
                  <a:pt x="3670904" y="4516394"/>
                  <a:pt x="3738851" y="4490477"/>
                  <a:pt x="3806797" y="4490477"/>
                </a:cubicBezTo>
                <a:close/>
                <a:moveTo>
                  <a:pt x="1562206" y="2245886"/>
                </a:moveTo>
                <a:cubicBezTo>
                  <a:pt x="1630153" y="2245886"/>
                  <a:pt x="1698099" y="2271802"/>
                  <a:pt x="1749932" y="2323635"/>
                </a:cubicBezTo>
                <a:lnTo>
                  <a:pt x="3528018" y="4101721"/>
                </a:lnTo>
                <a:cubicBezTo>
                  <a:pt x="3631684" y="4205387"/>
                  <a:pt x="3631684" y="4373507"/>
                  <a:pt x="3528018" y="4477174"/>
                </a:cubicBezTo>
                <a:lnTo>
                  <a:pt x="2496307" y="5508884"/>
                </a:lnTo>
                <a:lnTo>
                  <a:pt x="628105" y="5508884"/>
                </a:lnTo>
                <a:lnTo>
                  <a:pt x="0" y="4880780"/>
                </a:lnTo>
                <a:lnTo>
                  <a:pt x="0" y="3698115"/>
                </a:lnTo>
                <a:lnTo>
                  <a:pt x="1374480" y="2323635"/>
                </a:lnTo>
                <a:cubicBezTo>
                  <a:pt x="1426313" y="2271802"/>
                  <a:pt x="1494260" y="2245886"/>
                  <a:pt x="1562206" y="2245886"/>
                </a:cubicBezTo>
                <a:close/>
                <a:moveTo>
                  <a:pt x="6052690" y="2244592"/>
                </a:moveTo>
                <a:cubicBezTo>
                  <a:pt x="6120636" y="2244592"/>
                  <a:pt x="6188583" y="2270509"/>
                  <a:pt x="6240416" y="2322342"/>
                </a:cubicBezTo>
                <a:lnTo>
                  <a:pt x="8018501" y="4100428"/>
                </a:lnTo>
                <a:cubicBezTo>
                  <a:pt x="8122167" y="4204093"/>
                  <a:pt x="8122167" y="4372213"/>
                  <a:pt x="8018501" y="4475880"/>
                </a:cubicBezTo>
                <a:lnTo>
                  <a:pt x="6985497" y="5508884"/>
                </a:lnTo>
                <a:lnTo>
                  <a:pt x="5119883" y="5508884"/>
                </a:lnTo>
                <a:lnTo>
                  <a:pt x="4086878" y="4475880"/>
                </a:lnTo>
                <a:cubicBezTo>
                  <a:pt x="4035044" y="4424046"/>
                  <a:pt x="4009128" y="4356100"/>
                  <a:pt x="4009128" y="4288153"/>
                </a:cubicBezTo>
                <a:cubicBezTo>
                  <a:pt x="4009128" y="4220207"/>
                  <a:pt x="4035044" y="4152260"/>
                  <a:pt x="4086878" y="4100428"/>
                </a:cubicBezTo>
                <a:lnTo>
                  <a:pt x="5864964" y="2322342"/>
                </a:lnTo>
                <a:cubicBezTo>
                  <a:pt x="5916797" y="2270509"/>
                  <a:pt x="5984743" y="2244592"/>
                  <a:pt x="6052690" y="2244592"/>
                </a:cubicBezTo>
                <a:close/>
                <a:moveTo>
                  <a:pt x="3808098" y="0"/>
                </a:moveTo>
                <a:cubicBezTo>
                  <a:pt x="3876045" y="0"/>
                  <a:pt x="3943991" y="25916"/>
                  <a:pt x="3995825" y="77749"/>
                </a:cubicBezTo>
                <a:lnTo>
                  <a:pt x="5773910" y="1855836"/>
                </a:lnTo>
                <a:cubicBezTo>
                  <a:pt x="5877576" y="1959501"/>
                  <a:pt x="5877576" y="2127621"/>
                  <a:pt x="5773910" y="2231289"/>
                </a:cubicBezTo>
                <a:lnTo>
                  <a:pt x="3995825" y="4009373"/>
                </a:lnTo>
                <a:cubicBezTo>
                  <a:pt x="3892158" y="4113040"/>
                  <a:pt x="3724039" y="4113040"/>
                  <a:pt x="3620373" y="4009373"/>
                </a:cubicBezTo>
                <a:lnTo>
                  <a:pt x="1842286" y="2231289"/>
                </a:lnTo>
                <a:cubicBezTo>
                  <a:pt x="1790454" y="2179455"/>
                  <a:pt x="1764537" y="2111508"/>
                  <a:pt x="1764537" y="2043562"/>
                </a:cubicBezTo>
                <a:cubicBezTo>
                  <a:pt x="1764537" y="1975615"/>
                  <a:pt x="1790454" y="1907669"/>
                  <a:pt x="1842286" y="1855836"/>
                </a:cubicBezTo>
                <a:lnTo>
                  <a:pt x="3620373" y="77749"/>
                </a:lnTo>
                <a:cubicBezTo>
                  <a:pt x="3672206" y="25916"/>
                  <a:pt x="3740152" y="0"/>
                  <a:pt x="3808098" y="0"/>
                </a:cubicBezTo>
                <a:close/>
              </a:path>
            </a:pathLst>
          </a:custGeom>
          <a:solidFill>
            <a:schemeClr val="bg1"/>
          </a:solidFill>
          <a:ln w="317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b="0" i="0" dirty="0">
              <a:latin typeface="Lato" panose="020F0502020204030203" pitchFamily="34" charset="77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8B91A98-BD03-3B75-6CD3-439FBCC7C639}"/>
              </a:ext>
            </a:extLst>
          </p:cNvPr>
          <p:cNvCxnSpPr>
            <a:cxnSpLocks/>
          </p:cNvCxnSpPr>
          <p:nvPr userDrawn="1"/>
        </p:nvCxnSpPr>
        <p:spPr>
          <a:xfrm>
            <a:off x="719528" y="3814703"/>
            <a:ext cx="576439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Oval 4">
            <a:extLst>
              <a:ext uri="{FF2B5EF4-FFF2-40B4-BE49-F238E27FC236}">
                <a16:creationId xmlns:a16="http://schemas.microsoft.com/office/drawing/2014/main" id="{2C4F7A7E-A36A-343E-80D5-CB8A29D8B3CE}"/>
              </a:ext>
            </a:extLst>
          </p:cNvPr>
          <p:cNvSpPr/>
          <p:nvPr userDrawn="1"/>
        </p:nvSpPr>
        <p:spPr>
          <a:xfrm>
            <a:off x="116081" y="6291072"/>
            <a:ext cx="493776" cy="49377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rgbClr val="10182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0329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lank" userDrawn="1">
  <p:cSld name="3_Blank">
    <p:spTree>
      <p:nvGrpSpPr>
        <p:cNvPr id="1" name="Shape 1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7" name="Google Shape;167;p81"/>
          <p:cNvGrpSpPr/>
          <p:nvPr/>
        </p:nvGrpSpPr>
        <p:grpSpPr>
          <a:xfrm>
            <a:off x="11122822" y="6466207"/>
            <a:ext cx="799629" cy="172367"/>
            <a:chOff x="11122821" y="6466206"/>
            <a:chExt cx="799629" cy="172367"/>
          </a:xfrm>
        </p:grpSpPr>
        <p:sp>
          <p:nvSpPr>
            <p:cNvPr id="168" name="Google Shape;168;p81"/>
            <p:cNvSpPr/>
            <p:nvPr/>
          </p:nvSpPr>
          <p:spPr>
            <a:xfrm rot="-2700000">
              <a:off x="11134957" y="6473485"/>
              <a:ext cx="35147" cy="35147"/>
            </a:xfrm>
            <a:custGeom>
              <a:avLst/>
              <a:gdLst/>
              <a:ahLst/>
              <a:cxnLst/>
              <a:rect l="l" t="t" r="r" b="b"/>
              <a:pathLst>
                <a:path w="35147" h="35147" extrusionOk="0">
                  <a:moveTo>
                    <a:pt x="32044" y="0"/>
                  </a:moveTo>
                  <a:cubicBezTo>
                    <a:pt x="33758" y="0"/>
                    <a:pt x="35148" y="1389"/>
                    <a:pt x="35148" y="3103"/>
                  </a:cubicBezTo>
                  <a:lnTo>
                    <a:pt x="35148" y="32044"/>
                  </a:lnTo>
                  <a:cubicBezTo>
                    <a:pt x="35148" y="33758"/>
                    <a:pt x="33758" y="35148"/>
                    <a:pt x="32044" y="35148"/>
                  </a:cubicBezTo>
                  <a:lnTo>
                    <a:pt x="3103" y="35148"/>
                  </a:lnTo>
                  <a:cubicBezTo>
                    <a:pt x="1389" y="35148"/>
                    <a:pt x="0" y="33758"/>
                    <a:pt x="0" y="32044"/>
                  </a:cubicBezTo>
                  <a:lnTo>
                    <a:pt x="0" y="3103"/>
                  </a:lnTo>
                  <a:cubicBezTo>
                    <a:pt x="0" y="1389"/>
                    <a:pt x="1389" y="0"/>
                    <a:pt x="3103" y="0"/>
                  </a:cubicBezTo>
                  <a:close/>
                </a:path>
              </a:pathLst>
            </a:custGeom>
            <a:solidFill>
              <a:srgbClr val="00B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799"/>
                <a:buFont typeface="Lato Light"/>
                <a:buNone/>
              </a:pPr>
              <a:endParaRPr sz="1799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69" name="Google Shape;169;p81"/>
            <p:cNvGrpSpPr/>
            <p:nvPr/>
          </p:nvGrpSpPr>
          <p:grpSpPr>
            <a:xfrm>
              <a:off x="11122821" y="6472473"/>
              <a:ext cx="799629" cy="166100"/>
              <a:chOff x="11122821" y="6472473"/>
              <a:chExt cx="799629" cy="166100"/>
            </a:xfrm>
          </p:grpSpPr>
          <p:sp>
            <p:nvSpPr>
              <p:cNvPr id="170" name="Google Shape;170;p81"/>
              <p:cNvSpPr/>
              <p:nvPr/>
            </p:nvSpPr>
            <p:spPr>
              <a:xfrm>
                <a:off x="11774281" y="6519597"/>
                <a:ext cx="119385" cy="116611"/>
              </a:xfrm>
              <a:custGeom>
                <a:avLst/>
                <a:gdLst/>
                <a:ahLst/>
                <a:cxnLst/>
                <a:rect l="l" t="t" r="r" b="b"/>
                <a:pathLst>
                  <a:path w="119385" h="116611" extrusionOk="0">
                    <a:moveTo>
                      <a:pt x="82523" y="58306"/>
                    </a:moveTo>
                    <a:lnTo>
                      <a:pt x="118887" y="112265"/>
                    </a:lnTo>
                    <a:cubicBezTo>
                      <a:pt x="120199" y="114124"/>
                      <a:pt x="118764" y="116612"/>
                      <a:pt x="116385" y="116612"/>
                    </a:cubicBezTo>
                    <a:lnTo>
                      <a:pt x="85831" y="116612"/>
                    </a:lnTo>
                    <a:cubicBezTo>
                      <a:pt x="83794" y="116612"/>
                      <a:pt x="81880" y="115600"/>
                      <a:pt x="80718" y="113919"/>
                    </a:cubicBezTo>
                    <a:lnTo>
                      <a:pt x="59693" y="81751"/>
                    </a:lnTo>
                    <a:lnTo>
                      <a:pt x="38667" y="113919"/>
                    </a:lnTo>
                    <a:cubicBezTo>
                      <a:pt x="37505" y="115600"/>
                      <a:pt x="35605" y="116612"/>
                      <a:pt x="33554" y="116612"/>
                    </a:cubicBezTo>
                    <a:lnTo>
                      <a:pt x="3000" y="116612"/>
                    </a:lnTo>
                    <a:cubicBezTo>
                      <a:pt x="621" y="116612"/>
                      <a:pt x="-814" y="114138"/>
                      <a:pt x="498" y="112265"/>
                    </a:cubicBezTo>
                    <a:lnTo>
                      <a:pt x="36753" y="58306"/>
                    </a:lnTo>
                    <a:lnTo>
                      <a:pt x="498" y="4347"/>
                    </a:lnTo>
                    <a:cubicBezTo>
                      <a:pt x="-814" y="2488"/>
                      <a:pt x="621" y="0"/>
                      <a:pt x="3000" y="0"/>
                    </a:cubicBezTo>
                    <a:lnTo>
                      <a:pt x="34853" y="0"/>
                    </a:lnTo>
                    <a:cubicBezTo>
                      <a:pt x="36042" y="0"/>
                      <a:pt x="37149" y="547"/>
                      <a:pt x="37778" y="1449"/>
                    </a:cubicBezTo>
                    <a:lnTo>
                      <a:pt x="59679" y="34806"/>
                    </a:lnTo>
                    <a:lnTo>
                      <a:pt x="80240" y="1463"/>
                    </a:lnTo>
                    <a:cubicBezTo>
                      <a:pt x="80855" y="561"/>
                      <a:pt x="81976" y="0"/>
                      <a:pt x="83165" y="0"/>
                    </a:cubicBezTo>
                    <a:lnTo>
                      <a:pt x="115333" y="0"/>
                    </a:lnTo>
                    <a:cubicBezTo>
                      <a:pt x="117711" y="0"/>
                      <a:pt x="119133" y="2474"/>
                      <a:pt x="117834" y="4334"/>
                    </a:cubicBezTo>
                    <a:lnTo>
                      <a:pt x="82495" y="5830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799"/>
                  <a:buFont typeface="Lato Light"/>
                  <a:buNone/>
                </a:pPr>
                <a:endParaRPr sz="1799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1" name="Google Shape;171;p81"/>
              <p:cNvSpPr/>
              <p:nvPr/>
            </p:nvSpPr>
            <p:spPr>
              <a:xfrm>
                <a:off x="11284928" y="6472473"/>
                <a:ext cx="78825" cy="163762"/>
              </a:xfrm>
              <a:custGeom>
                <a:avLst/>
                <a:gdLst/>
                <a:ahLst/>
                <a:cxnLst/>
                <a:rect l="l" t="t" r="r" b="b"/>
                <a:pathLst>
                  <a:path w="78825" h="163762" extrusionOk="0">
                    <a:moveTo>
                      <a:pt x="75722" y="14"/>
                    </a:moveTo>
                    <a:lnTo>
                      <a:pt x="50377" y="14"/>
                    </a:lnTo>
                    <a:cubicBezTo>
                      <a:pt x="47916" y="14"/>
                      <a:pt x="45551" y="998"/>
                      <a:pt x="43801" y="2734"/>
                    </a:cubicBezTo>
                    <a:lnTo>
                      <a:pt x="19987" y="26549"/>
                    </a:lnTo>
                    <a:cubicBezTo>
                      <a:pt x="18237" y="28299"/>
                      <a:pt x="17266" y="30664"/>
                      <a:pt x="17266" y="33124"/>
                    </a:cubicBezTo>
                    <a:lnTo>
                      <a:pt x="17266" y="51867"/>
                    </a:lnTo>
                    <a:lnTo>
                      <a:pt x="3049" y="51867"/>
                    </a:lnTo>
                    <a:cubicBezTo>
                      <a:pt x="1367" y="51867"/>
                      <a:pt x="0" y="53234"/>
                      <a:pt x="0" y="54916"/>
                    </a:cubicBezTo>
                    <a:lnTo>
                      <a:pt x="0" y="75955"/>
                    </a:lnTo>
                    <a:cubicBezTo>
                      <a:pt x="0" y="77636"/>
                      <a:pt x="1367" y="79004"/>
                      <a:pt x="3049" y="79004"/>
                    </a:cubicBezTo>
                    <a:lnTo>
                      <a:pt x="17266" y="79004"/>
                    </a:lnTo>
                    <a:lnTo>
                      <a:pt x="17266" y="160659"/>
                    </a:lnTo>
                    <a:cubicBezTo>
                      <a:pt x="17266" y="162368"/>
                      <a:pt x="18661" y="163763"/>
                      <a:pt x="20369" y="163763"/>
                    </a:cubicBezTo>
                    <a:lnTo>
                      <a:pt x="47109" y="163763"/>
                    </a:lnTo>
                    <a:cubicBezTo>
                      <a:pt x="48818" y="163763"/>
                      <a:pt x="50213" y="162368"/>
                      <a:pt x="50213" y="160659"/>
                    </a:cubicBezTo>
                    <a:lnTo>
                      <a:pt x="50213" y="78990"/>
                    </a:lnTo>
                    <a:lnTo>
                      <a:pt x="71443" y="78990"/>
                    </a:lnTo>
                    <a:cubicBezTo>
                      <a:pt x="73125" y="78990"/>
                      <a:pt x="74492" y="77623"/>
                      <a:pt x="74492" y="75941"/>
                    </a:cubicBezTo>
                    <a:lnTo>
                      <a:pt x="74492" y="54902"/>
                    </a:lnTo>
                    <a:cubicBezTo>
                      <a:pt x="74492" y="53220"/>
                      <a:pt x="73125" y="51853"/>
                      <a:pt x="71443" y="51853"/>
                    </a:cubicBezTo>
                    <a:lnTo>
                      <a:pt x="50213" y="51853"/>
                    </a:lnTo>
                    <a:lnTo>
                      <a:pt x="50213" y="38565"/>
                    </a:lnTo>
                    <a:cubicBezTo>
                      <a:pt x="50213" y="33425"/>
                      <a:pt x="54382" y="29269"/>
                      <a:pt x="59509" y="29269"/>
                    </a:cubicBezTo>
                    <a:lnTo>
                      <a:pt x="75722" y="29269"/>
                    </a:lnTo>
                    <a:cubicBezTo>
                      <a:pt x="77431" y="29269"/>
                      <a:pt x="78826" y="27875"/>
                      <a:pt x="78826" y="26166"/>
                    </a:cubicBezTo>
                    <a:lnTo>
                      <a:pt x="78826" y="3103"/>
                    </a:lnTo>
                    <a:cubicBezTo>
                      <a:pt x="78826" y="1394"/>
                      <a:pt x="77431" y="0"/>
                      <a:pt x="75722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799"/>
                  <a:buFont typeface="Lato Light"/>
                  <a:buNone/>
                </a:pPr>
                <a:endParaRPr sz="1799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2" name="Google Shape;172;p81"/>
              <p:cNvSpPr/>
              <p:nvPr/>
            </p:nvSpPr>
            <p:spPr>
              <a:xfrm>
                <a:off x="11896791" y="6612367"/>
                <a:ext cx="25659" cy="25660"/>
              </a:xfrm>
              <a:custGeom>
                <a:avLst/>
                <a:gdLst/>
                <a:ahLst/>
                <a:cxnLst/>
                <a:rect l="l" t="t" r="r" b="b"/>
                <a:pathLst>
                  <a:path w="25659" h="25660" extrusionOk="0">
                    <a:moveTo>
                      <a:pt x="25660" y="12810"/>
                    </a:moveTo>
                    <a:cubicBezTo>
                      <a:pt x="25660" y="19946"/>
                      <a:pt x="19946" y="25660"/>
                      <a:pt x="12782" y="25660"/>
                    </a:cubicBezTo>
                    <a:cubicBezTo>
                      <a:pt x="5619" y="25660"/>
                      <a:pt x="0" y="19891"/>
                      <a:pt x="0" y="12810"/>
                    </a:cubicBezTo>
                    <a:cubicBezTo>
                      <a:pt x="0" y="5728"/>
                      <a:pt x="5714" y="0"/>
                      <a:pt x="12823" y="0"/>
                    </a:cubicBezTo>
                    <a:cubicBezTo>
                      <a:pt x="19932" y="0"/>
                      <a:pt x="25646" y="5687"/>
                      <a:pt x="25646" y="12810"/>
                    </a:cubicBezTo>
                    <a:close/>
                    <a:moveTo>
                      <a:pt x="23691" y="12864"/>
                    </a:moveTo>
                    <a:cubicBezTo>
                      <a:pt x="23691" y="6712"/>
                      <a:pt x="18838" y="1832"/>
                      <a:pt x="12837" y="1832"/>
                    </a:cubicBezTo>
                    <a:cubicBezTo>
                      <a:pt x="6835" y="1832"/>
                      <a:pt x="1982" y="6658"/>
                      <a:pt x="1982" y="12851"/>
                    </a:cubicBezTo>
                    <a:cubicBezTo>
                      <a:pt x="1982" y="19043"/>
                      <a:pt x="6890" y="23856"/>
                      <a:pt x="12782" y="23856"/>
                    </a:cubicBezTo>
                    <a:cubicBezTo>
                      <a:pt x="18674" y="23856"/>
                      <a:pt x="23691" y="19002"/>
                      <a:pt x="23691" y="12864"/>
                    </a:cubicBezTo>
                    <a:close/>
                    <a:moveTo>
                      <a:pt x="15585" y="14888"/>
                    </a:moveTo>
                    <a:lnTo>
                      <a:pt x="18811" y="19905"/>
                    </a:lnTo>
                    <a:lnTo>
                      <a:pt x="16678" y="19905"/>
                    </a:lnTo>
                    <a:lnTo>
                      <a:pt x="13097" y="14218"/>
                    </a:lnTo>
                    <a:lnTo>
                      <a:pt x="9829" y="14218"/>
                    </a:lnTo>
                    <a:lnTo>
                      <a:pt x="9829" y="19905"/>
                    </a:lnTo>
                    <a:lnTo>
                      <a:pt x="8038" y="19905"/>
                    </a:lnTo>
                    <a:lnTo>
                      <a:pt x="8038" y="5523"/>
                    </a:lnTo>
                    <a:lnTo>
                      <a:pt x="13616" y="5523"/>
                    </a:lnTo>
                    <a:cubicBezTo>
                      <a:pt x="16364" y="5523"/>
                      <a:pt x="18155" y="6999"/>
                      <a:pt x="18155" y="9761"/>
                    </a:cubicBezTo>
                    <a:cubicBezTo>
                      <a:pt x="18155" y="11989"/>
                      <a:pt x="16801" y="13370"/>
                      <a:pt x="14887" y="13917"/>
                    </a:cubicBezTo>
                    <a:cubicBezTo>
                      <a:pt x="15147" y="14204"/>
                      <a:pt x="15407" y="14559"/>
                      <a:pt x="15585" y="14901"/>
                    </a:cubicBezTo>
                    <a:close/>
                    <a:moveTo>
                      <a:pt x="13015" y="12522"/>
                    </a:moveTo>
                    <a:cubicBezTo>
                      <a:pt x="15038" y="12522"/>
                      <a:pt x="16282" y="11565"/>
                      <a:pt x="16282" y="9870"/>
                    </a:cubicBezTo>
                    <a:cubicBezTo>
                      <a:pt x="16282" y="8175"/>
                      <a:pt x="15421" y="7191"/>
                      <a:pt x="13657" y="7191"/>
                    </a:cubicBezTo>
                    <a:lnTo>
                      <a:pt x="9816" y="7191"/>
                    </a:lnTo>
                    <a:lnTo>
                      <a:pt x="9816" y="12509"/>
                    </a:lnTo>
                    <a:lnTo>
                      <a:pt x="13015" y="12509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799"/>
                  <a:buFont typeface="Lato Light"/>
                  <a:buNone/>
                </a:pPr>
                <a:endParaRPr sz="1799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3" name="Google Shape;173;p81"/>
              <p:cNvSpPr/>
              <p:nvPr/>
            </p:nvSpPr>
            <p:spPr>
              <a:xfrm>
                <a:off x="11620956" y="6472487"/>
                <a:ext cx="32932" cy="163721"/>
              </a:xfrm>
              <a:custGeom>
                <a:avLst/>
                <a:gdLst/>
                <a:ahLst/>
                <a:cxnLst/>
                <a:rect l="l" t="t" r="r" b="b"/>
                <a:pathLst>
                  <a:path w="32932" h="163721" extrusionOk="0">
                    <a:moveTo>
                      <a:pt x="29830" y="0"/>
                    </a:moveTo>
                    <a:cubicBezTo>
                      <a:pt x="31544" y="0"/>
                      <a:pt x="32933" y="1389"/>
                      <a:pt x="32933" y="3103"/>
                    </a:cubicBezTo>
                    <a:lnTo>
                      <a:pt x="32933" y="160618"/>
                    </a:lnTo>
                    <a:cubicBezTo>
                      <a:pt x="32933" y="162332"/>
                      <a:pt x="31543" y="163722"/>
                      <a:pt x="29830" y="163722"/>
                    </a:cubicBezTo>
                    <a:lnTo>
                      <a:pt x="3103" y="163722"/>
                    </a:lnTo>
                    <a:cubicBezTo>
                      <a:pt x="1389" y="163722"/>
                      <a:pt x="0" y="162332"/>
                      <a:pt x="0" y="160618"/>
                    </a:cubicBezTo>
                    <a:lnTo>
                      <a:pt x="0" y="3103"/>
                    </a:lnTo>
                    <a:cubicBezTo>
                      <a:pt x="0" y="1389"/>
                      <a:pt x="1389" y="0"/>
                      <a:pt x="3103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799"/>
                  <a:buFont typeface="Lato Light"/>
                  <a:buNone/>
                </a:pPr>
                <a:endParaRPr sz="1799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4" name="Google Shape;174;p81"/>
              <p:cNvSpPr/>
              <p:nvPr/>
            </p:nvSpPr>
            <p:spPr>
              <a:xfrm>
                <a:off x="11488486" y="6472473"/>
                <a:ext cx="123638" cy="166086"/>
              </a:xfrm>
              <a:custGeom>
                <a:avLst/>
                <a:gdLst/>
                <a:ahLst/>
                <a:cxnLst/>
                <a:rect l="l" t="t" r="r" b="b"/>
                <a:pathLst>
                  <a:path w="123638" h="166086" extrusionOk="0">
                    <a:moveTo>
                      <a:pt x="68737" y="44663"/>
                    </a:moveTo>
                    <a:cubicBezTo>
                      <a:pt x="53535" y="44663"/>
                      <a:pt x="40889" y="51252"/>
                      <a:pt x="32947" y="62052"/>
                    </a:cubicBezTo>
                    <a:lnTo>
                      <a:pt x="32947" y="3103"/>
                    </a:lnTo>
                    <a:cubicBezTo>
                      <a:pt x="32947" y="1394"/>
                      <a:pt x="31552" y="0"/>
                      <a:pt x="29843" y="0"/>
                    </a:cubicBezTo>
                    <a:lnTo>
                      <a:pt x="3103" y="0"/>
                    </a:lnTo>
                    <a:cubicBezTo>
                      <a:pt x="1394" y="0"/>
                      <a:pt x="0" y="1394"/>
                      <a:pt x="0" y="3103"/>
                    </a:cubicBezTo>
                    <a:lnTo>
                      <a:pt x="0" y="160632"/>
                    </a:lnTo>
                    <a:cubicBezTo>
                      <a:pt x="0" y="162341"/>
                      <a:pt x="1394" y="163735"/>
                      <a:pt x="3103" y="163735"/>
                    </a:cubicBezTo>
                    <a:lnTo>
                      <a:pt x="29843" y="163735"/>
                    </a:lnTo>
                    <a:cubicBezTo>
                      <a:pt x="31552" y="163735"/>
                      <a:pt x="32947" y="162341"/>
                      <a:pt x="32947" y="160632"/>
                    </a:cubicBezTo>
                    <a:lnTo>
                      <a:pt x="32947" y="149025"/>
                    </a:lnTo>
                    <a:cubicBezTo>
                      <a:pt x="40903" y="159839"/>
                      <a:pt x="53535" y="166087"/>
                      <a:pt x="68983" y="166087"/>
                    </a:cubicBezTo>
                    <a:cubicBezTo>
                      <a:pt x="101505" y="166087"/>
                      <a:pt x="123638" y="139852"/>
                      <a:pt x="123638" y="105539"/>
                    </a:cubicBezTo>
                    <a:cubicBezTo>
                      <a:pt x="123638" y="71225"/>
                      <a:pt x="101505" y="44663"/>
                      <a:pt x="68750" y="44663"/>
                    </a:cubicBezTo>
                    <a:close/>
                    <a:moveTo>
                      <a:pt x="62188" y="135163"/>
                    </a:moveTo>
                    <a:cubicBezTo>
                      <a:pt x="45346" y="135163"/>
                      <a:pt x="32947" y="121533"/>
                      <a:pt x="32947" y="105552"/>
                    </a:cubicBezTo>
                    <a:cubicBezTo>
                      <a:pt x="32947" y="89571"/>
                      <a:pt x="45346" y="76174"/>
                      <a:pt x="62188" y="76174"/>
                    </a:cubicBezTo>
                    <a:cubicBezTo>
                      <a:pt x="79031" y="76174"/>
                      <a:pt x="90965" y="89571"/>
                      <a:pt x="90965" y="105552"/>
                    </a:cubicBezTo>
                    <a:cubicBezTo>
                      <a:pt x="90965" y="121533"/>
                      <a:pt x="78798" y="135163"/>
                      <a:pt x="62188" y="13516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799"/>
                  <a:buFont typeface="Lato Light"/>
                  <a:buNone/>
                </a:pPr>
                <a:endParaRPr sz="1799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5" name="Google Shape;175;p81"/>
              <p:cNvSpPr/>
              <p:nvPr/>
            </p:nvSpPr>
            <p:spPr>
              <a:xfrm>
                <a:off x="11359421" y="6517136"/>
                <a:ext cx="120412" cy="121437"/>
              </a:xfrm>
              <a:custGeom>
                <a:avLst/>
                <a:gdLst/>
                <a:ahLst/>
                <a:cxnLst/>
                <a:rect l="l" t="t" r="r" b="b"/>
                <a:pathLst>
                  <a:path w="120412" h="121437" extrusionOk="0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799"/>
                  <a:buFont typeface="Lato Light"/>
                  <a:buNone/>
                </a:pPr>
                <a:endParaRPr sz="1799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6" name="Google Shape;176;p81"/>
              <p:cNvSpPr/>
              <p:nvPr/>
            </p:nvSpPr>
            <p:spPr>
              <a:xfrm>
                <a:off x="11662542" y="6517136"/>
                <a:ext cx="120412" cy="121437"/>
              </a:xfrm>
              <a:custGeom>
                <a:avLst/>
                <a:gdLst/>
                <a:ahLst/>
                <a:cxnLst/>
                <a:rect l="l" t="t" r="r" b="b"/>
                <a:pathLst>
                  <a:path w="120412" h="121437" extrusionOk="0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799"/>
                  <a:buFont typeface="Lato Light"/>
                  <a:buNone/>
                </a:pPr>
                <a:endParaRPr sz="1799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7" name="Google Shape;177;p81"/>
              <p:cNvSpPr/>
              <p:nvPr/>
            </p:nvSpPr>
            <p:spPr>
              <a:xfrm>
                <a:off x="11122821" y="6519528"/>
                <a:ext cx="32932" cy="116680"/>
              </a:xfrm>
              <a:custGeom>
                <a:avLst/>
                <a:gdLst/>
                <a:ahLst/>
                <a:cxnLst/>
                <a:rect l="l" t="t" r="r" b="b"/>
                <a:pathLst>
                  <a:path w="32932" h="116680" extrusionOk="0">
                    <a:moveTo>
                      <a:pt x="29843" y="116680"/>
                    </a:moveTo>
                    <a:lnTo>
                      <a:pt x="3103" y="116680"/>
                    </a:lnTo>
                    <a:cubicBezTo>
                      <a:pt x="1394" y="116680"/>
                      <a:pt x="0" y="115286"/>
                      <a:pt x="0" y="113577"/>
                    </a:cubicBezTo>
                    <a:lnTo>
                      <a:pt x="0" y="30554"/>
                    </a:lnTo>
                    <a:cubicBezTo>
                      <a:pt x="0" y="28886"/>
                      <a:pt x="670" y="27287"/>
                      <a:pt x="1859" y="26125"/>
                    </a:cubicBezTo>
                    <a:lnTo>
                      <a:pt x="27670" y="888"/>
                    </a:lnTo>
                    <a:cubicBezTo>
                      <a:pt x="29638" y="-1026"/>
                      <a:pt x="32933" y="355"/>
                      <a:pt x="32933" y="3103"/>
                    </a:cubicBezTo>
                    <a:lnTo>
                      <a:pt x="32933" y="113577"/>
                    </a:lnTo>
                    <a:cubicBezTo>
                      <a:pt x="32933" y="115286"/>
                      <a:pt x="31538" y="116680"/>
                      <a:pt x="29830" y="11668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799"/>
                  <a:buFont typeface="Lato Light"/>
                  <a:buNone/>
                </a:pPr>
                <a:endParaRPr sz="1799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8" name="Google Shape;178;p81"/>
              <p:cNvSpPr/>
              <p:nvPr/>
            </p:nvSpPr>
            <p:spPr>
              <a:xfrm>
                <a:off x="11173074" y="6517105"/>
                <a:ext cx="107493" cy="119116"/>
              </a:xfrm>
              <a:custGeom>
                <a:avLst/>
                <a:gdLst/>
                <a:ahLst/>
                <a:cxnLst/>
                <a:rect l="l" t="t" r="r" b="b"/>
                <a:pathLst>
                  <a:path w="107493" h="119116" extrusionOk="0">
                    <a:moveTo>
                      <a:pt x="107480" y="41877"/>
                    </a:moveTo>
                    <a:cubicBezTo>
                      <a:pt x="107480" y="19252"/>
                      <a:pt x="88792" y="277"/>
                      <a:pt x="65237" y="3"/>
                    </a:cubicBezTo>
                    <a:cubicBezTo>
                      <a:pt x="49912" y="-175"/>
                      <a:pt x="39563" y="7331"/>
                      <a:pt x="32947" y="17474"/>
                    </a:cubicBezTo>
                    <a:lnTo>
                      <a:pt x="32947" y="5581"/>
                    </a:lnTo>
                    <a:cubicBezTo>
                      <a:pt x="32947" y="3872"/>
                      <a:pt x="31552" y="2478"/>
                      <a:pt x="29843" y="2478"/>
                    </a:cubicBezTo>
                    <a:lnTo>
                      <a:pt x="3103" y="2478"/>
                    </a:lnTo>
                    <a:cubicBezTo>
                      <a:pt x="1394" y="2478"/>
                      <a:pt x="0" y="3872"/>
                      <a:pt x="0" y="5581"/>
                    </a:cubicBezTo>
                    <a:lnTo>
                      <a:pt x="0" y="116000"/>
                    </a:lnTo>
                    <a:cubicBezTo>
                      <a:pt x="0" y="117709"/>
                      <a:pt x="1394" y="119103"/>
                      <a:pt x="3103" y="119103"/>
                    </a:cubicBezTo>
                    <a:lnTo>
                      <a:pt x="29843" y="119103"/>
                    </a:lnTo>
                    <a:cubicBezTo>
                      <a:pt x="31552" y="119103"/>
                      <a:pt x="32947" y="117709"/>
                      <a:pt x="32947" y="116000"/>
                    </a:cubicBezTo>
                    <a:lnTo>
                      <a:pt x="32947" y="51788"/>
                    </a:lnTo>
                    <a:cubicBezTo>
                      <a:pt x="33685" y="39430"/>
                      <a:pt x="41518" y="31747"/>
                      <a:pt x="53740" y="31747"/>
                    </a:cubicBezTo>
                    <a:cubicBezTo>
                      <a:pt x="65961" y="31747"/>
                      <a:pt x="74547" y="40373"/>
                      <a:pt x="74547" y="53210"/>
                    </a:cubicBezTo>
                    <a:lnTo>
                      <a:pt x="74547" y="116014"/>
                    </a:lnTo>
                    <a:cubicBezTo>
                      <a:pt x="74547" y="117722"/>
                      <a:pt x="75941" y="119117"/>
                      <a:pt x="77650" y="119117"/>
                    </a:cubicBezTo>
                    <a:lnTo>
                      <a:pt x="104390" y="119117"/>
                    </a:lnTo>
                    <a:cubicBezTo>
                      <a:pt x="106099" y="119117"/>
                      <a:pt x="107493" y="117722"/>
                      <a:pt x="107493" y="116014"/>
                    </a:cubicBezTo>
                    <a:lnTo>
                      <a:pt x="107493" y="4189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799"/>
                  <a:buFont typeface="Lato Light"/>
                  <a:buNone/>
                </a:pPr>
                <a:endParaRPr sz="1799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" name="Google Shape;492;p105">
            <a:extLst>
              <a:ext uri="{FF2B5EF4-FFF2-40B4-BE49-F238E27FC236}">
                <a16:creationId xmlns:a16="http://schemas.microsoft.com/office/drawing/2014/main" id="{2145F469-36A0-C9B9-C4BC-1B4DC7364BA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01978" y="297453"/>
            <a:ext cx="11118522" cy="8150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399"/>
              <a:buFont typeface="Lato"/>
              <a:buNone/>
              <a:defRPr sz="3399" b="1" i="0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pic>
        <p:nvPicPr>
          <p:cNvPr id="3" name="Google Shape;495;p105">
            <a:extLst>
              <a:ext uri="{FF2B5EF4-FFF2-40B4-BE49-F238E27FC236}">
                <a16:creationId xmlns:a16="http://schemas.microsoft.com/office/drawing/2014/main" id="{AEA81357-87D2-CD16-9C45-8A1C74003B77}"/>
              </a:ext>
            </a:extLst>
          </p:cNvPr>
          <p:cNvPicPr preferRelativeResize="0"/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 flipH="1">
            <a:off x="546582" y="1135122"/>
            <a:ext cx="5943600" cy="2743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63166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Only">
  <p:cSld name="1_Title_Only">
    <p:spTree>
      <p:nvGrpSpPr>
        <p:cNvPr id="1" name="Shape 4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" name="Google Shape;419;p44"/>
          <p:cNvSpPr txBox="1">
            <a:spLocks noGrp="1"/>
          </p:cNvSpPr>
          <p:nvPr>
            <p:ph type="title"/>
          </p:nvPr>
        </p:nvSpPr>
        <p:spPr>
          <a:xfrm>
            <a:off x="414867" y="384241"/>
            <a:ext cx="11358800" cy="97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600"/>
              <a:buFont typeface="Lato"/>
              <a:buNone/>
              <a:defRPr sz="3467" b="1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grpSp>
        <p:nvGrpSpPr>
          <p:cNvPr id="420" name="Google Shape;420;p44"/>
          <p:cNvGrpSpPr/>
          <p:nvPr/>
        </p:nvGrpSpPr>
        <p:grpSpPr>
          <a:xfrm>
            <a:off x="10973911" y="6466180"/>
            <a:ext cx="799629" cy="172381"/>
            <a:chOff x="11122821" y="6466192"/>
            <a:chExt cx="799629" cy="172381"/>
          </a:xfrm>
        </p:grpSpPr>
        <p:sp>
          <p:nvSpPr>
            <p:cNvPr id="421" name="Google Shape;421;p44"/>
            <p:cNvSpPr/>
            <p:nvPr/>
          </p:nvSpPr>
          <p:spPr>
            <a:xfrm rot="-2700000">
              <a:off x="11134961" y="6473475"/>
              <a:ext cx="35167" cy="35167"/>
            </a:xfrm>
            <a:custGeom>
              <a:avLst/>
              <a:gdLst/>
              <a:ahLst/>
              <a:cxnLst/>
              <a:rect l="l" t="t" r="r" b="b"/>
              <a:pathLst>
                <a:path w="35147" h="35147" extrusionOk="0">
                  <a:moveTo>
                    <a:pt x="32044" y="0"/>
                  </a:moveTo>
                  <a:cubicBezTo>
                    <a:pt x="33758" y="0"/>
                    <a:pt x="35148" y="1389"/>
                    <a:pt x="35148" y="3103"/>
                  </a:cubicBezTo>
                  <a:lnTo>
                    <a:pt x="35148" y="32044"/>
                  </a:lnTo>
                  <a:cubicBezTo>
                    <a:pt x="35148" y="33758"/>
                    <a:pt x="33758" y="35148"/>
                    <a:pt x="32044" y="35148"/>
                  </a:cubicBezTo>
                  <a:lnTo>
                    <a:pt x="3103" y="35148"/>
                  </a:lnTo>
                  <a:cubicBezTo>
                    <a:pt x="1389" y="35148"/>
                    <a:pt x="0" y="33758"/>
                    <a:pt x="0" y="32044"/>
                  </a:cubicBezTo>
                  <a:lnTo>
                    <a:pt x="0" y="3103"/>
                  </a:lnTo>
                  <a:cubicBezTo>
                    <a:pt x="0" y="1389"/>
                    <a:pt x="1389" y="0"/>
                    <a:pt x="3103" y="0"/>
                  </a:cubicBezTo>
                  <a:close/>
                </a:path>
              </a:pathLst>
            </a:custGeom>
            <a:solidFill>
              <a:srgbClr val="00BD4D"/>
            </a:solidFill>
            <a:ln>
              <a:noFill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Lato Light"/>
                <a:buNone/>
              </a:pPr>
              <a:endParaRPr sz="1867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422" name="Google Shape;422;p44"/>
            <p:cNvGrpSpPr/>
            <p:nvPr/>
          </p:nvGrpSpPr>
          <p:grpSpPr>
            <a:xfrm>
              <a:off x="11122821" y="6472473"/>
              <a:ext cx="799629" cy="166100"/>
              <a:chOff x="11122821" y="6472473"/>
              <a:chExt cx="799629" cy="166100"/>
            </a:xfrm>
          </p:grpSpPr>
          <p:sp>
            <p:nvSpPr>
              <p:cNvPr id="423" name="Google Shape;423;p44"/>
              <p:cNvSpPr/>
              <p:nvPr/>
            </p:nvSpPr>
            <p:spPr>
              <a:xfrm>
                <a:off x="11774281" y="6519597"/>
                <a:ext cx="119385" cy="116611"/>
              </a:xfrm>
              <a:custGeom>
                <a:avLst/>
                <a:gdLst/>
                <a:ahLst/>
                <a:cxnLst/>
                <a:rect l="l" t="t" r="r" b="b"/>
                <a:pathLst>
                  <a:path w="119385" h="116611" extrusionOk="0">
                    <a:moveTo>
                      <a:pt x="82523" y="58306"/>
                    </a:moveTo>
                    <a:lnTo>
                      <a:pt x="118887" y="112265"/>
                    </a:lnTo>
                    <a:cubicBezTo>
                      <a:pt x="120199" y="114124"/>
                      <a:pt x="118764" y="116612"/>
                      <a:pt x="116385" y="116612"/>
                    </a:cubicBezTo>
                    <a:lnTo>
                      <a:pt x="85831" y="116612"/>
                    </a:lnTo>
                    <a:cubicBezTo>
                      <a:pt x="83794" y="116612"/>
                      <a:pt x="81880" y="115600"/>
                      <a:pt x="80718" y="113919"/>
                    </a:cubicBezTo>
                    <a:lnTo>
                      <a:pt x="59693" y="81751"/>
                    </a:lnTo>
                    <a:lnTo>
                      <a:pt x="38667" y="113919"/>
                    </a:lnTo>
                    <a:cubicBezTo>
                      <a:pt x="37505" y="115600"/>
                      <a:pt x="35605" y="116612"/>
                      <a:pt x="33554" y="116612"/>
                    </a:cubicBezTo>
                    <a:lnTo>
                      <a:pt x="3000" y="116612"/>
                    </a:lnTo>
                    <a:cubicBezTo>
                      <a:pt x="621" y="116612"/>
                      <a:pt x="-814" y="114138"/>
                      <a:pt x="498" y="112265"/>
                    </a:cubicBezTo>
                    <a:lnTo>
                      <a:pt x="36753" y="58306"/>
                    </a:lnTo>
                    <a:lnTo>
                      <a:pt x="498" y="4347"/>
                    </a:lnTo>
                    <a:cubicBezTo>
                      <a:pt x="-814" y="2488"/>
                      <a:pt x="621" y="0"/>
                      <a:pt x="3000" y="0"/>
                    </a:cubicBezTo>
                    <a:lnTo>
                      <a:pt x="34853" y="0"/>
                    </a:lnTo>
                    <a:cubicBezTo>
                      <a:pt x="36042" y="0"/>
                      <a:pt x="37149" y="547"/>
                      <a:pt x="37778" y="1449"/>
                    </a:cubicBezTo>
                    <a:lnTo>
                      <a:pt x="59679" y="34806"/>
                    </a:lnTo>
                    <a:lnTo>
                      <a:pt x="80240" y="1463"/>
                    </a:lnTo>
                    <a:cubicBezTo>
                      <a:pt x="80855" y="561"/>
                      <a:pt x="81976" y="0"/>
                      <a:pt x="83165" y="0"/>
                    </a:cubicBezTo>
                    <a:lnTo>
                      <a:pt x="115333" y="0"/>
                    </a:lnTo>
                    <a:cubicBezTo>
                      <a:pt x="117711" y="0"/>
                      <a:pt x="119133" y="2474"/>
                      <a:pt x="117834" y="4334"/>
                    </a:cubicBezTo>
                    <a:lnTo>
                      <a:pt x="82495" y="5830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4" name="Google Shape;424;p44"/>
              <p:cNvSpPr/>
              <p:nvPr/>
            </p:nvSpPr>
            <p:spPr>
              <a:xfrm>
                <a:off x="11284928" y="6472473"/>
                <a:ext cx="78825" cy="163762"/>
              </a:xfrm>
              <a:custGeom>
                <a:avLst/>
                <a:gdLst/>
                <a:ahLst/>
                <a:cxnLst/>
                <a:rect l="l" t="t" r="r" b="b"/>
                <a:pathLst>
                  <a:path w="78825" h="163762" extrusionOk="0">
                    <a:moveTo>
                      <a:pt x="75722" y="14"/>
                    </a:moveTo>
                    <a:lnTo>
                      <a:pt x="50377" y="14"/>
                    </a:lnTo>
                    <a:cubicBezTo>
                      <a:pt x="47916" y="14"/>
                      <a:pt x="45551" y="998"/>
                      <a:pt x="43801" y="2734"/>
                    </a:cubicBezTo>
                    <a:lnTo>
                      <a:pt x="19987" y="26549"/>
                    </a:lnTo>
                    <a:cubicBezTo>
                      <a:pt x="18237" y="28299"/>
                      <a:pt x="17266" y="30664"/>
                      <a:pt x="17266" y="33124"/>
                    </a:cubicBezTo>
                    <a:lnTo>
                      <a:pt x="17266" y="51867"/>
                    </a:lnTo>
                    <a:lnTo>
                      <a:pt x="3049" y="51867"/>
                    </a:lnTo>
                    <a:cubicBezTo>
                      <a:pt x="1367" y="51867"/>
                      <a:pt x="0" y="53234"/>
                      <a:pt x="0" y="54916"/>
                    </a:cubicBezTo>
                    <a:lnTo>
                      <a:pt x="0" y="75955"/>
                    </a:lnTo>
                    <a:cubicBezTo>
                      <a:pt x="0" y="77636"/>
                      <a:pt x="1367" y="79004"/>
                      <a:pt x="3049" y="79004"/>
                    </a:cubicBezTo>
                    <a:lnTo>
                      <a:pt x="17266" y="79004"/>
                    </a:lnTo>
                    <a:lnTo>
                      <a:pt x="17266" y="160659"/>
                    </a:lnTo>
                    <a:cubicBezTo>
                      <a:pt x="17266" y="162368"/>
                      <a:pt x="18661" y="163763"/>
                      <a:pt x="20369" y="163763"/>
                    </a:cubicBezTo>
                    <a:lnTo>
                      <a:pt x="47109" y="163763"/>
                    </a:lnTo>
                    <a:cubicBezTo>
                      <a:pt x="48818" y="163763"/>
                      <a:pt x="50213" y="162368"/>
                      <a:pt x="50213" y="160659"/>
                    </a:cubicBezTo>
                    <a:lnTo>
                      <a:pt x="50213" y="78990"/>
                    </a:lnTo>
                    <a:lnTo>
                      <a:pt x="71443" y="78990"/>
                    </a:lnTo>
                    <a:cubicBezTo>
                      <a:pt x="73125" y="78990"/>
                      <a:pt x="74492" y="77623"/>
                      <a:pt x="74492" y="75941"/>
                    </a:cubicBezTo>
                    <a:lnTo>
                      <a:pt x="74492" y="54902"/>
                    </a:lnTo>
                    <a:cubicBezTo>
                      <a:pt x="74492" y="53220"/>
                      <a:pt x="73125" y="51853"/>
                      <a:pt x="71443" y="51853"/>
                    </a:cubicBezTo>
                    <a:lnTo>
                      <a:pt x="50213" y="51853"/>
                    </a:lnTo>
                    <a:lnTo>
                      <a:pt x="50213" y="38565"/>
                    </a:lnTo>
                    <a:cubicBezTo>
                      <a:pt x="50213" y="33425"/>
                      <a:pt x="54382" y="29269"/>
                      <a:pt x="59509" y="29269"/>
                    </a:cubicBezTo>
                    <a:lnTo>
                      <a:pt x="75722" y="29269"/>
                    </a:lnTo>
                    <a:cubicBezTo>
                      <a:pt x="77431" y="29269"/>
                      <a:pt x="78826" y="27875"/>
                      <a:pt x="78826" y="26166"/>
                    </a:cubicBezTo>
                    <a:lnTo>
                      <a:pt x="78826" y="3103"/>
                    </a:lnTo>
                    <a:cubicBezTo>
                      <a:pt x="78826" y="1394"/>
                      <a:pt x="77431" y="0"/>
                      <a:pt x="75722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5" name="Google Shape;425;p44"/>
              <p:cNvSpPr/>
              <p:nvPr/>
            </p:nvSpPr>
            <p:spPr>
              <a:xfrm>
                <a:off x="11896791" y="6612367"/>
                <a:ext cx="25659" cy="25660"/>
              </a:xfrm>
              <a:custGeom>
                <a:avLst/>
                <a:gdLst/>
                <a:ahLst/>
                <a:cxnLst/>
                <a:rect l="l" t="t" r="r" b="b"/>
                <a:pathLst>
                  <a:path w="25659" h="25660" extrusionOk="0">
                    <a:moveTo>
                      <a:pt x="25660" y="12810"/>
                    </a:moveTo>
                    <a:cubicBezTo>
                      <a:pt x="25660" y="19946"/>
                      <a:pt x="19946" y="25660"/>
                      <a:pt x="12782" y="25660"/>
                    </a:cubicBezTo>
                    <a:cubicBezTo>
                      <a:pt x="5619" y="25660"/>
                      <a:pt x="0" y="19891"/>
                      <a:pt x="0" y="12810"/>
                    </a:cubicBezTo>
                    <a:cubicBezTo>
                      <a:pt x="0" y="5728"/>
                      <a:pt x="5714" y="0"/>
                      <a:pt x="12823" y="0"/>
                    </a:cubicBezTo>
                    <a:cubicBezTo>
                      <a:pt x="19932" y="0"/>
                      <a:pt x="25646" y="5687"/>
                      <a:pt x="25646" y="12810"/>
                    </a:cubicBezTo>
                    <a:close/>
                    <a:moveTo>
                      <a:pt x="23691" y="12864"/>
                    </a:moveTo>
                    <a:cubicBezTo>
                      <a:pt x="23691" y="6712"/>
                      <a:pt x="18838" y="1832"/>
                      <a:pt x="12837" y="1832"/>
                    </a:cubicBezTo>
                    <a:cubicBezTo>
                      <a:pt x="6835" y="1832"/>
                      <a:pt x="1982" y="6658"/>
                      <a:pt x="1982" y="12851"/>
                    </a:cubicBezTo>
                    <a:cubicBezTo>
                      <a:pt x="1982" y="19043"/>
                      <a:pt x="6890" y="23856"/>
                      <a:pt x="12782" y="23856"/>
                    </a:cubicBezTo>
                    <a:cubicBezTo>
                      <a:pt x="18674" y="23856"/>
                      <a:pt x="23691" y="19002"/>
                      <a:pt x="23691" y="12864"/>
                    </a:cubicBezTo>
                    <a:close/>
                    <a:moveTo>
                      <a:pt x="15585" y="14888"/>
                    </a:moveTo>
                    <a:lnTo>
                      <a:pt x="18811" y="19905"/>
                    </a:lnTo>
                    <a:lnTo>
                      <a:pt x="16678" y="19905"/>
                    </a:lnTo>
                    <a:lnTo>
                      <a:pt x="13097" y="14218"/>
                    </a:lnTo>
                    <a:lnTo>
                      <a:pt x="9829" y="14218"/>
                    </a:lnTo>
                    <a:lnTo>
                      <a:pt x="9829" y="19905"/>
                    </a:lnTo>
                    <a:lnTo>
                      <a:pt x="8038" y="19905"/>
                    </a:lnTo>
                    <a:lnTo>
                      <a:pt x="8038" y="5523"/>
                    </a:lnTo>
                    <a:lnTo>
                      <a:pt x="13616" y="5523"/>
                    </a:lnTo>
                    <a:cubicBezTo>
                      <a:pt x="16364" y="5523"/>
                      <a:pt x="18155" y="6999"/>
                      <a:pt x="18155" y="9761"/>
                    </a:cubicBezTo>
                    <a:cubicBezTo>
                      <a:pt x="18155" y="11989"/>
                      <a:pt x="16801" y="13370"/>
                      <a:pt x="14887" y="13917"/>
                    </a:cubicBezTo>
                    <a:cubicBezTo>
                      <a:pt x="15147" y="14204"/>
                      <a:pt x="15407" y="14559"/>
                      <a:pt x="15585" y="14901"/>
                    </a:cubicBezTo>
                    <a:close/>
                    <a:moveTo>
                      <a:pt x="13015" y="12522"/>
                    </a:moveTo>
                    <a:cubicBezTo>
                      <a:pt x="15038" y="12522"/>
                      <a:pt x="16282" y="11565"/>
                      <a:pt x="16282" y="9870"/>
                    </a:cubicBezTo>
                    <a:cubicBezTo>
                      <a:pt x="16282" y="8175"/>
                      <a:pt x="15421" y="7191"/>
                      <a:pt x="13657" y="7191"/>
                    </a:cubicBezTo>
                    <a:lnTo>
                      <a:pt x="9816" y="7191"/>
                    </a:lnTo>
                    <a:lnTo>
                      <a:pt x="9816" y="12509"/>
                    </a:lnTo>
                    <a:lnTo>
                      <a:pt x="13015" y="12509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6" name="Google Shape;426;p44"/>
              <p:cNvSpPr/>
              <p:nvPr/>
            </p:nvSpPr>
            <p:spPr>
              <a:xfrm>
                <a:off x="11620956" y="6472487"/>
                <a:ext cx="32932" cy="163721"/>
              </a:xfrm>
              <a:custGeom>
                <a:avLst/>
                <a:gdLst/>
                <a:ahLst/>
                <a:cxnLst/>
                <a:rect l="l" t="t" r="r" b="b"/>
                <a:pathLst>
                  <a:path w="32932" h="163721" extrusionOk="0">
                    <a:moveTo>
                      <a:pt x="29830" y="0"/>
                    </a:moveTo>
                    <a:cubicBezTo>
                      <a:pt x="31544" y="0"/>
                      <a:pt x="32933" y="1389"/>
                      <a:pt x="32933" y="3103"/>
                    </a:cubicBezTo>
                    <a:lnTo>
                      <a:pt x="32933" y="160618"/>
                    </a:lnTo>
                    <a:cubicBezTo>
                      <a:pt x="32933" y="162332"/>
                      <a:pt x="31543" y="163722"/>
                      <a:pt x="29830" y="163722"/>
                    </a:cubicBezTo>
                    <a:lnTo>
                      <a:pt x="3103" y="163722"/>
                    </a:lnTo>
                    <a:cubicBezTo>
                      <a:pt x="1389" y="163722"/>
                      <a:pt x="0" y="162332"/>
                      <a:pt x="0" y="160618"/>
                    </a:cubicBezTo>
                    <a:lnTo>
                      <a:pt x="0" y="3103"/>
                    </a:lnTo>
                    <a:cubicBezTo>
                      <a:pt x="0" y="1389"/>
                      <a:pt x="1389" y="0"/>
                      <a:pt x="3103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7" name="Google Shape;427;p44"/>
              <p:cNvSpPr/>
              <p:nvPr/>
            </p:nvSpPr>
            <p:spPr>
              <a:xfrm>
                <a:off x="11488486" y="6472473"/>
                <a:ext cx="123638" cy="166086"/>
              </a:xfrm>
              <a:custGeom>
                <a:avLst/>
                <a:gdLst/>
                <a:ahLst/>
                <a:cxnLst/>
                <a:rect l="l" t="t" r="r" b="b"/>
                <a:pathLst>
                  <a:path w="123638" h="166086" extrusionOk="0">
                    <a:moveTo>
                      <a:pt x="68737" y="44663"/>
                    </a:moveTo>
                    <a:cubicBezTo>
                      <a:pt x="53535" y="44663"/>
                      <a:pt x="40889" y="51252"/>
                      <a:pt x="32947" y="62052"/>
                    </a:cubicBezTo>
                    <a:lnTo>
                      <a:pt x="32947" y="3103"/>
                    </a:lnTo>
                    <a:cubicBezTo>
                      <a:pt x="32947" y="1394"/>
                      <a:pt x="31552" y="0"/>
                      <a:pt x="29843" y="0"/>
                    </a:cubicBezTo>
                    <a:lnTo>
                      <a:pt x="3103" y="0"/>
                    </a:lnTo>
                    <a:cubicBezTo>
                      <a:pt x="1394" y="0"/>
                      <a:pt x="0" y="1394"/>
                      <a:pt x="0" y="3103"/>
                    </a:cubicBezTo>
                    <a:lnTo>
                      <a:pt x="0" y="160632"/>
                    </a:lnTo>
                    <a:cubicBezTo>
                      <a:pt x="0" y="162341"/>
                      <a:pt x="1394" y="163735"/>
                      <a:pt x="3103" y="163735"/>
                    </a:cubicBezTo>
                    <a:lnTo>
                      <a:pt x="29843" y="163735"/>
                    </a:lnTo>
                    <a:cubicBezTo>
                      <a:pt x="31552" y="163735"/>
                      <a:pt x="32947" y="162341"/>
                      <a:pt x="32947" y="160632"/>
                    </a:cubicBezTo>
                    <a:lnTo>
                      <a:pt x="32947" y="149025"/>
                    </a:lnTo>
                    <a:cubicBezTo>
                      <a:pt x="40903" y="159839"/>
                      <a:pt x="53535" y="166087"/>
                      <a:pt x="68983" y="166087"/>
                    </a:cubicBezTo>
                    <a:cubicBezTo>
                      <a:pt x="101505" y="166087"/>
                      <a:pt x="123638" y="139852"/>
                      <a:pt x="123638" y="105539"/>
                    </a:cubicBezTo>
                    <a:cubicBezTo>
                      <a:pt x="123638" y="71225"/>
                      <a:pt x="101505" y="44663"/>
                      <a:pt x="68750" y="44663"/>
                    </a:cubicBezTo>
                    <a:close/>
                    <a:moveTo>
                      <a:pt x="62188" y="135163"/>
                    </a:moveTo>
                    <a:cubicBezTo>
                      <a:pt x="45346" y="135163"/>
                      <a:pt x="32947" y="121533"/>
                      <a:pt x="32947" y="105552"/>
                    </a:cubicBezTo>
                    <a:cubicBezTo>
                      <a:pt x="32947" y="89571"/>
                      <a:pt x="45346" y="76174"/>
                      <a:pt x="62188" y="76174"/>
                    </a:cubicBezTo>
                    <a:cubicBezTo>
                      <a:pt x="79031" y="76174"/>
                      <a:pt x="90965" y="89571"/>
                      <a:pt x="90965" y="105552"/>
                    </a:cubicBezTo>
                    <a:cubicBezTo>
                      <a:pt x="90965" y="121533"/>
                      <a:pt x="78798" y="135163"/>
                      <a:pt x="62188" y="13516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8" name="Google Shape;428;p44"/>
              <p:cNvSpPr/>
              <p:nvPr/>
            </p:nvSpPr>
            <p:spPr>
              <a:xfrm>
                <a:off x="11359421" y="6517136"/>
                <a:ext cx="120412" cy="121437"/>
              </a:xfrm>
              <a:custGeom>
                <a:avLst/>
                <a:gdLst/>
                <a:ahLst/>
                <a:cxnLst/>
                <a:rect l="l" t="t" r="r" b="b"/>
                <a:pathLst>
                  <a:path w="120412" h="121437" extrusionOk="0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9" name="Google Shape;429;p44"/>
              <p:cNvSpPr/>
              <p:nvPr/>
            </p:nvSpPr>
            <p:spPr>
              <a:xfrm>
                <a:off x="11662542" y="6517136"/>
                <a:ext cx="120412" cy="121437"/>
              </a:xfrm>
              <a:custGeom>
                <a:avLst/>
                <a:gdLst/>
                <a:ahLst/>
                <a:cxnLst/>
                <a:rect l="l" t="t" r="r" b="b"/>
                <a:pathLst>
                  <a:path w="120412" h="121437" extrusionOk="0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0" name="Google Shape;430;p44"/>
              <p:cNvSpPr/>
              <p:nvPr/>
            </p:nvSpPr>
            <p:spPr>
              <a:xfrm>
                <a:off x="11122821" y="6519528"/>
                <a:ext cx="32932" cy="116680"/>
              </a:xfrm>
              <a:custGeom>
                <a:avLst/>
                <a:gdLst/>
                <a:ahLst/>
                <a:cxnLst/>
                <a:rect l="l" t="t" r="r" b="b"/>
                <a:pathLst>
                  <a:path w="32932" h="116680" extrusionOk="0">
                    <a:moveTo>
                      <a:pt x="29843" y="116680"/>
                    </a:moveTo>
                    <a:lnTo>
                      <a:pt x="3103" y="116680"/>
                    </a:lnTo>
                    <a:cubicBezTo>
                      <a:pt x="1394" y="116680"/>
                      <a:pt x="0" y="115286"/>
                      <a:pt x="0" y="113577"/>
                    </a:cubicBezTo>
                    <a:lnTo>
                      <a:pt x="0" y="30554"/>
                    </a:lnTo>
                    <a:cubicBezTo>
                      <a:pt x="0" y="28886"/>
                      <a:pt x="670" y="27287"/>
                      <a:pt x="1859" y="26125"/>
                    </a:cubicBezTo>
                    <a:lnTo>
                      <a:pt x="27670" y="888"/>
                    </a:lnTo>
                    <a:cubicBezTo>
                      <a:pt x="29638" y="-1026"/>
                      <a:pt x="32933" y="355"/>
                      <a:pt x="32933" y="3103"/>
                    </a:cubicBezTo>
                    <a:lnTo>
                      <a:pt x="32933" y="113577"/>
                    </a:lnTo>
                    <a:cubicBezTo>
                      <a:pt x="32933" y="115286"/>
                      <a:pt x="31538" y="116680"/>
                      <a:pt x="29830" y="11668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1" name="Google Shape;431;p44"/>
              <p:cNvSpPr/>
              <p:nvPr/>
            </p:nvSpPr>
            <p:spPr>
              <a:xfrm>
                <a:off x="11173074" y="6517105"/>
                <a:ext cx="107493" cy="119116"/>
              </a:xfrm>
              <a:custGeom>
                <a:avLst/>
                <a:gdLst/>
                <a:ahLst/>
                <a:cxnLst/>
                <a:rect l="l" t="t" r="r" b="b"/>
                <a:pathLst>
                  <a:path w="107493" h="119116" extrusionOk="0">
                    <a:moveTo>
                      <a:pt x="107480" y="41877"/>
                    </a:moveTo>
                    <a:cubicBezTo>
                      <a:pt x="107480" y="19252"/>
                      <a:pt x="88792" y="277"/>
                      <a:pt x="65237" y="3"/>
                    </a:cubicBezTo>
                    <a:cubicBezTo>
                      <a:pt x="49912" y="-175"/>
                      <a:pt x="39563" y="7331"/>
                      <a:pt x="32947" y="17474"/>
                    </a:cubicBezTo>
                    <a:lnTo>
                      <a:pt x="32947" y="5581"/>
                    </a:lnTo>
                    <a:cubicBezTo>
                      <a:pt x="32947" y="3872"/>
                      <a:pt x="31552" y="2478"/>
                      <a:pt x="29843" y="2478"/>
                    </a:cubicBezTo>
                    <a:lnTo>
                      <a:pt x="3103" y="2478"/>
                    </a:lnTo>
                    <a:cubicBezTo>
                      <a:pt x="1394" y="2478"/>
                      <a:pt x="0" y="3872"/>
                      <a:pt x="0" y="5581"/>
                    </a:cubicBezTo>
                    <a:lnTo>
                      <a:pt x="0" y="116000"/>
                    </a:lnTo>
                    <a:cubicBezTo>
                      <a:pt x="0" y="117709"/>
                      <a:pt x="1394" y="119103"/>
                      <a:pt x="3103" y="119103"/>
                    </a:cubicBezTo>
                    <a:lnTo>
                      <a:pt x="29843" y="119103"/>
                    </a:lnTo>
                    <a:cubicBezTo>
                      <a:pt x="31552" y="119103"/>
                      <a:pt x="32947" y="117709"/>
                      <a:pt x="32947" y="116000"/>
                    </a:cubicBezTo>
                    <a:lnTo>
                      <a:pt x="32947" y="51788"/>
                    </a:lnTo>
                    <a:cubicBezTo>
                      <a:pt x="33685" y="39430"/>
                      <a:pt x="41518" y="31747"/>
                      <a:pt x="53740" y="31747"/>
                    </a:cubicBezTo>
                    <a:cubicBezTo>
                      <a:pt x="65961" y="31747"/>
                      <a:pt x="74547" y="40373"/>
                      <a:pt x="74547" y="53210"/>
                    </a:cubicBezTo>
                    <a:lnTo>
                      <a:pt x="74547" y="116014"/>
                    </a:lnTo>
                    <a:cubicBezTo>
                      <a:pt x="74547" y="117722"/>
                      <a:pt x="75941" y="119117"/>
                      <a:pt x="77650" y="119117"/>
                    </a:cubicBezTo>
                    <a:lnTo>
                      <a:pt x="104390" y="119117"/>
                    </a:lnTo>
                    <a:cubicBezTo>
                      <a:pt x="106099" y="119117"/>
                      <a:pt x="107493" y="117722"/>
                      <a:pt x="107493" y="116014"/>
                    </a:cubicBezTo>
                    <a:lnTo>
                      <a:pt x="107493" y="4189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23566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ubtitle and Content" userDrawn="1">
  <p:cSld name="2_Title Subtitle and Content">
    <p:bg>
      <p:bgRef idx="1001">
        <a:schemeClr val="bg1"/>
      </p:bgRef>
    </p:bg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ack background with white dots&#10;&#10;Description automatically generated">
            <a:extLst>
              <a:ext uri="{FF2B5EF4-FFF2-40B4-BE49-F238E27FC236}">
                <a16:creationId xmlns:a16="http://schemas.microsoft.com/office/drawing/2014/main" id="{D8841F23-B981-F01D-9BB9-71AF85E81D6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3CB278E4-8641-911A-7662-F5A1B38B232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84398" y="6435289"/>
            <a:ext cx="702176" cy="149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29935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4ECD1B5-5034-BCD2-3A2E-203B54F3433D}"/>
              </a:ext>
            </a:extLst>
          </p:cNvPr>
          <p:cNvSpPr/>
          <p:nvPr userDrawn="1"/>
        </p:nvSpPr>
        <p:spPr>
          <a:xfrm>
            <a:off x="-13077" y="-37244"/>
            <a:ext cx="12205077" cy="6895244"/>
          </a:xfrm>
          <a:prstGeom prst="rect">
            <a:avLst/>
          </a:prstGeom>
          <a:solidFill>
            <a:srgbClr val="D9E1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 err="1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6B308C1-44FD-CE71-2B04-958E07F185A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281162" y="-35051"/>
            <a:ext cx="11922561" cy="6907213"/>
          </a:xfrm>
          <a:prstGeom prst="rect">
            <a:avLst/>
          </a:prstGeom>
        </p:spPr>
      </p:pic>
      <p:sp>
        <p:nvSpPr>
          <p:cNvPr id="32" name="Title 1">
            <a:extLst>
              <a:ext uri="{FF2B5EF4-FFF2-40B4-BE49-F238E27FC236}">
                <a16:creationId xmlns:a16="http://schemas.microsoft.com/office/drawing/2014/main" id="{D8781330-EA5B-8C83-A54A-C1B82CE78F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8777" y="849285"/>
            <a:ext cx="5070024" cy="573115"/>
          </a:xfrm>
          <a:prstGeom prst="rect">
            <a:avLst/>
          </a:prstGeom>
          <a:noFill/>
        </p:spPr>
        <p:txBody>
          <a:bodyPr wrap="square" rtlCol="0" anchor="b">
            <a:noAutofit/>
          </a:bodyPr>
          <a:lstStyle>
            <a:lvl1pPr>
              <a:lnSpc>
                <a:spcPct val="85000"/>
              </a:lnSpc>
              <a:defRPr kumimoji="0" lang="en-US" sz="3400" b="1" i="0" u="none" strike="noStrike" cap="all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Lato" panose="020F0502020204030203" pitchFamily="34" charset="77"/>
                <a:ea typeface="Lato" panose="020F0502020204030203" pitchFamily="34" charset="77"/>
                <a:cs typeface="Arial" panose="020B0604020202020204" pitchFamily="34" charset="0"/>
              </a:defRPr>
            </a:lvl1pPr>
          </a:lstStyle>
          <a:p>
            <a:pPr marL="0"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dirty="0"/>
              <a:t>agenda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90C3CB1A-57B9-2763-AB64-A0AC3745409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68775" y="1858617"/>
            <a:ext cx="5070025" cy="444058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indent="0">
              <a:buNone/>
              <a:defRPr lang="en-US" sz="1800" b="0" i="0" dirty="0">
                <a:solidFill>
                  <a:schemeClr val="tx1"/>
                </a:solidFill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GB"/>
              <a:t>Click to edit Master text style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311A9221-D323-CA77-92FC-D7529D4180E2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2821" y="6467484"/>
            <a:ext cx="799740" cy="17088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C7EE293-EAC4-26C1-7416-9519E1267442}"/>
              </a:ext>
            </a:extLst>
          </p:cNvPr>
          <p:cNvPicPr preferRelativeResize="0">
            <a:picLocks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651077" y="1451603"/>
            <a:ext cx="4846320" cy="27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4188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95C27A1-52B9-3304-E8EF-A29DDFD5782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0" y="0"/>
            <a:ext cx="12201460" cy="6863321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3B244A65-25A6-76E0-B5AA-DC1E08C57A94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2821" y="6467484"/>
            <a:ext cx="799740" cy="170885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44FC3D7D-E8C9-5835-BE6C-5586BEBFCB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4533" y="849285"/>
            <a:ext cx="9193411" cy="573115"/>
          </a:xfrm>
          <a:prstGeom prst="rect">
            <a:avLst/>
          </a:prstGeom>
          <a:noFill/>
        </p:spPr>
        <p:txBody>
          <a:bodyPr wrap="square" rtlCol="0" anchor="b">
            <a:noAutofit/>
          </a:bodyPr>
          <a:lstStyle>
            <a:lvl1pPr>
              <a:lnSpc>
                <a:spcPct val="85000"/>
              </a:lnSpc>
              <a:defRPr kumimoji="0" lang="en-US" sz="3400" b="1" i="0" u="none" strike="noStrike" cap="all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Lato" panose="020F0502020204030203" pitchFamily="34" charset="77"/>
                <a:ea typeface="Lato" panose="020F0502020204030203" pitchFamily="34" charset="77"/>
                <a:cs typeface="Arial" panose="020B0604020202020204" pitchFamily="34" charset="0"/>
              </a:defRPr>
            </a:lvl1pPr>
          </a:lstStyle>
          <a:p>
            <a:pPr marL="0"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dirty="0"/>
              <a:t>Long detail agenda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006DFEC-924B-009D-B684-E09EB491D8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94532" y="1858617"/>
            <a:ext cx="10764633" cy="444058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indent="0">
              <a:buNone/>
              <a:defRPr lang="en-US" sz="1800" b="0" i="0" dirty="0">
                <a:solidFill>
                  <a:schemeClr val="tx1"/>
                </a:solidFill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GB"/>
              <a:t>Click to edit Master text styl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8CA53E7-4B7F-3388-E867-D7EF24454AA5}"/>
              </a:ext>
            </a:extLst>
          </p:cNvPr>
          <p:cNvPicPr preferRelativeResize="0">
            <a:picLocks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706742" y="1451603"/>
            <a:ext cx="10515600" cy="27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0572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 Same Side Corner Rectangle 15">
            <a:extLst>
              <a:ext uri="{FF2B5EF4-FFF2-40B4-BE49-F238E27FC236}">
                <a16:creationId xmlns:a16="http://schemas.microsoft.com/office/drawing/2014/main" id="{2A83E817-AC91-707D-7A6D-C983D59CF8AE}"/>
              </a:ext>
            </a:extLst>
          </p:cNvPr>
          <p:cNvSpPr/>
          <p:nvPr userDrawn="1"/>
        </p:nvSpPr>
        <p:spPr>
          <a:xfrm rot="5400000">
            <a:off x="5371511" y="-2813912"/>
            <a:ext cx="1073840" cy="11816862"/>
          </a:xfrm>
          <a:prstGeom prst="round2SameRect">
            <a:avLst>
              <a:gd name="adj1" fmla="val 7623"/>
              <a:gd name="adj2" fmla="val 0"/>
            </a:avLst>
          </a:prstGeom>
          <a:solidFill>
            <a:srgbClr val="D9E1E2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 err="1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sp>
        <p:nvSpPr>
          <p:cNvPr id="17" name="Round Same Side Corner Rectangle 16">
            <a:extLst>
              <a:ext uri="{FF2B5EF4-FFF2-40B4-BE49-F238E27FC236}">
                <a16:creationId xmlns:a16="http://schemas.microsoft.com/office/drawing/2014/main" id="{15B547CD-1D4D-1E6E-B3CD-090080548FB8}"/>
              </a:ext>
            </a:extLst>
          </p:cNvPr>
          <p:cNvSpPr/>
          <p:nvPr userDrawn="1"/>
        </p:nvSpPr>
        <p:spPr>
          <a:xfrm rot="5400000">
            <a:off x="5371511" y="-1489204"/>
            <a:ext cx="1073840" cy="11816862"/>
          </a:xfrm>
          <a:prstGeom prst="round2SameRect">
            <a:avLst>
              <a:gd name="adj1" fmla="val 7623"/>
              <a:gd name="adj2" fmla="val 0"/>
            </a:avLst>
          </a:prstGeom>
          <a:solidFill>
            <a:srgbClr val="D9E1E2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 err="1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sp>
        <p:nvSpPr>
          <p:cNvPr id="18" name="Round Same Side Corner Rectangle 17">
            <a:extLst>
              <a:ext uri="{FF2B5EF4-FFF2-40B4-BE49-F238E27FC236}">
                <a16:creationId xmlns:a16="http://schemas.microsoft.com/office/drawing/2014/main" id="{6100CA8F-423B-AA61-9930-E5D0EC2336E3}"/>
              </a:ext>
            </a:extLst>
          </p:cNvPr>
          <p:cNvSpPr/>
          <p:nvPr userDrawn="1"/>
        </p:nvSpPr>
        <p:spPr>
          <a:xfrm rot="5400000">
            <a:off x="5371511" y="-199666"/>
            <a:ext cx="1073840" cy="11816862"/>
          </a:xfrm>
          <a:prstGeom prst="round2SameRect">
            <a:avLst>
              <a:gd name="adj1" fmla="val 7623"/>
              <a:gd name="adj2" fmla="val 0"/>
            </a:avLst>
          </a:prstGeom>
          <a:solidFill>
            <a:srgbClr val="D9E1E2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 err="1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sp>
        <p:nvSpPr>
          <p:cNvPr id="3" name="Round Same Side Corner Rectangle 2">
            <a:extLst>
              <a:ext uri="{FF2B5EF4-FFF2-40B4-BE49-F238E27FC236}">
                <a16:creationId xmlns:a16="http://schemas.microsoft.com/office/drawing/2014/main" id="{80FE3665-10B8-99FC-BF83-B8E9E24BB4FE}"/>
              </a:ext>
            </a:extLst>
          </p:cNvPr>
          <p:cNvSpPr/>
          <p:nvPr userDrawn="1"/>
        </p:nvSpPr>
        <p:spPr>
          <a:xfrm rot="5400000">
            <a:off x="5371511" y="-4103450"/>
            <a:ext cx="1073840" cy="11816862"/>
          </a:xfrm>
          <a:prstGeom prst="round2SameRect">
            <a:avLst>
              <a:gd name="adj1" fmla="val 7623"/>
              <a:gd name="adj2" fmla="val 0"/>
            </a:avLst>
          </a:prstGeom>
          <a:solidFill>
            <a:srgbClr val="D9E1E2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 err="1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7F5D5F88-1DC6-8475-5E87-38C2AEFDC1BB}"/>
              </a:ext>
            </a:extLst>
          </p:cNvPr>
          <p:cNvSpPr/>
          <p:nvPr userDrawn="1"/>
        </p:nvSpPr>
        <p:spPr>
          <a:xfrm>
            <a:off x="501978" y="1370682"/>
            <a:ext cx="2380922" cy="878352"/>
          </a:xfrm>
          <a:prstGeom prst="roundRect">
            <a:avLst>
              <a:gd name="adj" fmla="val 11409"/>
            </a:avLst>
          </a:prstGeom>
          <a:solidFill>
            <a:srgbClr val="00BD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 err="1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F8BDF23-9321-4A10-4321-D22F2F86401B}"/>
              </a:ext>
            </a:extLst>
          </p:cNvPr>
          <p:cNvSpPr/>
          <p:nvPr userDrawn="1"/>
        </p:nvSpPr>
        <p:spPr>
          <a:xfrm rot="2700000">
            <a:off x="2772629" y="1719618"/>
            <a:ext cx="180481" cy="180481"/>
          </a:xfrm>
          <a:prstGeom prst="roundRect">
            <a:avLst/>
          </a:prstGeom>
          <a:solidFill>
            <a:srgbClr val="00BD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 err="1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494BAD03-B707-9C98-96A1-893D18E6196D}"/>
              </a:ext>
            </a:extLst>
          </p:cNvPr>
          <p:cNvSpPr/>
          <p:nvPr userDrawn="1"/>
        </p:nvSpPr>
        <p:spPr>
          <a:xfrm>
            <a:off x="501978" y="2668470"/>
            <a:ext cx="2380922" cy="878352"/>
          </a:xfrm>
          <a:prstGeom prst="roundRect">
            <a:avLst>
              <a:gd name="adj" fmla="val 11409"/>
            </a:avLst>
          </a:prstGeom>
          <a:solidFill>
            <a:srgbClr val="00BD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 err="1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7426990A-7DCD-5744-E933-C70DBD4F59CF}"/>
              </a:ext>
            </a:extLst>
          </p:cNvPr>
          <p:cNvSpPr/>
          <p:nvPr userDrawn="1"/>
        </p:nvSpPr>
        <p:spPr>
          <a:xfrm rot="2700000">
            <a:off x="2772629" y="3017406"/>
            <a:ext cx="180481" cy="180481"/>
          </a:xfrm>
          <a:prstGeom prst="roundRect">
            <a:avLst/>
          </a:prstGeom>
          <a:solidFill>
            <a:srgbClr val="00BD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 err="1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391A6061-DE55-199D-A814-7BC2B7AD9CDF}"/>
              </a:ext>
            </a:extLst>
          </p:cNvPr>
          <p:cNvSpPr/>
          <p:nvPr userDrawn="1"/>
        </p:nvSpPr>
        <p:spPr>
          <a:xfrm>
            <a:off x="501978" y="3966258"/>
            <a:ext cx="2380922" cy="878352"/>
          </a:xfrm>
          <a:prstGeom prst="roundRect">
            <a:avLst>
              <a:gd name="adj" fmla="val 11409"/>
            </a:avLst>
          </a:prstGeom>
          <a:solidFill>
            <a:srgbClr val="00BD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 err="1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60837D3-0709-C43F-F5C6-8F5461D19D10}"/>
              </a:ext>
            </a:extLst>
          </p:cNvPr>
          <p:cNvSpPr/>
          <p:nvPr userDrawn="1"/>
        </p:nvSpPr>
        <p:spPr>
          <a:xfrm rot="2700000">
            <a:off x="2772629" y="4315194"/>
            <a:ext cx="180481" cy="180481"/>
          </a:xfrm>
          <a:prstGeom prst="roundRect">
            <a:avLst/>
          </a:prstGeom>
          <a:solidFill>
            <a:srgbClr val="00BD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 err="1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20F83B1E-D9C7-51E2-76FC-50978E8F466D}"/>
              </a:ext>
            </a:extLst>
          </p:cNvPr>
          <p:cNvSpPr/>
          <p:nvPr userDrawn="1"/>
        </p:nvSpPr>
        <p:spPr>
          <a:xfrm>
            <a:off x="501978" y="5264046"/>
            <a:ext cx="2380922" cy="878352"/>
          </a:xfrm>
          <a:prstGeom prst="roundRect">
            <a:avLst>
              <a:gd name="adj" fmla="val 11409"/>
            </a:avLst>
          </a:prstGeom>
          <a:solidFill>
            <a:srgbClr val="00BD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 err="1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614DC7B4-3DF6-C275-D565-97FC303EE836}"/>
              </a:ext>
            </a:extLst>
          </p:cNvPr>
          <p:cNvSpPr/>
          <p:nvPr userDrawn="1"/>
        </p:nvSpPr>
        <p:spPr>
          <a:xfrm rot="2700000">
            <a:off x="2772629" y="5612982"/>
            <a:ext cx="180481" cy="180481"/>
          </a:xfrm>
          <a:prstGeom prst="roundRect">
            <a:avLst/>
          </a:prstGeom>
          <a:solidFill>
            <a:srgbClr val="00BD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 err="1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5AF91CCE-AAA9-D0B6-0978-CA3617235B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978" y="297451"/>
            <a:ext cx="11118522" cy="630213"/>
          </a:xfrm>
          <a:prstGeom prst="rect">
            <a:avLst/>
          </a:prstGeom>
        </p:spPr>
        <p:txBody>
          <a:bodyPr/>
          <a:lstStyle>
            <a:lvl1pPr>
              <a:defRPr sz="3400" b="1" i="0" cap="all" baseline="0">
                <a:solidFill>
                  <a:schemeClr val="tx1"/>
                </a:solidFill>
                <a:latin typeface="Lato" panose="020F0502020204030203" pitchFamily="34" charset="77"/>
              </a:defRPr>
            </a:lvl1pPr>
          </a:lstStyle>
          <a:p>
            <a:r>
              <a:rPr lang="en-US" dirty="0"/>
              <a:t>title style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DB680AC4-FC02-897C-E641-C1EA158E713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03596" y="1395614"/>
            <a:ext cx="8116904" cy="828489"/>
          </a:xfrm>
          <a:prstGeom prst="rect">
            <a:avLst/>
          </a:prstGeom>
        </p:spPr>
        <p:txBody>
          <a:bodyPr anchor="ctr"/>
          <a:lstStyle>
            <a:lvl1pPr marL="180000" indent="-180000">
              <a:spcBef>
                <a:spcPts val="400"/>
              </a:spcBef>
              <a:buClr>
                <a:srgbClr val="00BD4D"/>
              </a:buClr>
              <a:defRPr sz="1400" b="0" i="0">
                <a:solidFill>
                  <a:schemeClr val="tx1"/>
                </a:solidFill>
                <a:latin typeface="Lato" panose="020F0502020204030203" pitchFamily="34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Text Placeholder 38">
            <a:extLst>
              <a:ext uri="{FF2B5EF4-FFF2-40B4-BE49-F238E27FC236}">
                <a16:creationId xmlns:a16="http://schemas.microsoft.com/office/drawing/2014/main" id="{CF6F3360-0467-E8D3-A380-13A880732CB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03596" y="2693402"/>
            <a:ext cx="8116904" cy="828489"/>
          </a:xfrm>
          <a:prstGeom prst="rect">
            <a:avLst/>
          </a:prstGeom>
        </p:spPr>
        <p:txBody>
          <a:bodyPr anchor="ctr"/>
          <a:lstStyle>
            <a:lvl1pPr marL="180000" indent="-180000">
              <a:spcBef>
                <a:spcPts val="400"/>
              </a:spcBef>
              <a:buClr>
                <a:srgbClr val="00BD4D"/>
              </a:buClr>
              <a:defRPr sz="1400" b="0" i="0">
                <a:solidFill>
                  <a:schemeClr val="tx1"/>
                </a:solidFill>
                <a:latin typeface="Lato" panose="020F0502020204030203" pitchFamily="34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1" name="Text Placeholder 38">
            <a:extLst>
              <a:ext uri="{FF2B5EF4-FFF2-40B4-BE49-F238E27FC236}">
                <a16:creationId xmlns:a16="http://schemas.microsoft.com/office/drawing/2014/main" id="{B6326F10-79F9-9265-3C60-D0CFF846E29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03596" y="3991190"/>
            <a:ext cx="8116904" cy="828489"/>
          </a:xfrm>
          <a:prstGeom prst="rect">
            <a:avLst/>
          </a:prstGeom>
        </p:spPr>
        <p:txBody>
          <a:bodyPr anchor="ctr"/>
          <a:lstStyle>
            <a:lvl1pPr marL="180000" indent="-180000">
              <a:spcBef>
                <a:spcPts val="400"/>
              </a:spcBef>
              <a:buClr>
                <a:srgbClr val="00BD4D"/>
              </a:buClr>
              <a:defRPr sz="1400" b="0" i="0">
                <a:solidFill>
                  <a:schemeClr val="tx1"/>
                </a:solidFill>
                <a:latin typeface="Lato" panose="020F0502020204030203" pitchFamily="34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2" name="Text Placeholder 38">
            <a:extLst>
              <a:ext uri="{FF2B5EF4-FFF2-40B4-BE49-F238E27FC236}">
                <a16:creationId xmlns:a16="http://schemas.microsoft.com/office/drawing/2014/main" id="{FF2F48D3-5BAE-C6DC-BC5F-790DDB87A6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03596" y="5288978"/>
            <a:ext cx="8116904" cy="828489"/>
          </a:xfrm>
          <a:prstGeom prst="rect">
            <a:avLst/>
          </a:prstGeom>
        </p:spPr>
        <p:txBody>
          <a:bodyPr anchor="ctr"/>
          <a:lstStyle>
            <a:lvl1pPr marL="180000" indent="-180000">
              <a:spcBef>
                <a:spcPts val="400"/>
              </a:spcBef>
              <a:buClr>
                <a:srgbClr val="00BD4D"/>
              </a:buClr>
              <a:defRPr sz="1400" b="0" i="0">
                <a:solidFill>
                  <a:schemeClr val="tx1"/>
                </a:solidFill>
                <a:latin typeface="Lato" panose="020F0502020204030203" pitchFamily="34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3166951B-3EE7-92B7-F769-5673851204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4551" y="1552405"/>
            <a:ext cx="2135776" cy="51490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2000" b="0" i="0" cap="all" baseline="0">
                <a:solidFill>
                  <a:schemeClr val="bg1"/>
                </a:solidFill>
                <a:latin typeface="Lato" panose="020F0502020204030203" pitchFamily="34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79F23222-FFC9-1B40-E1E7-814DF232BE2F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24551" y="2850193"/>
            <a:ext cx="2135776" cy="51490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2000" b="0" i="0" cap="all" baseline="0">
                <a:solidFill>
                  <a:schemeClr val="bg1"/>
                </a:solidFill>
                <a:latin typeface="Lato" panose="020F0502020204030203" pitchFamily="34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C47F0939-45BB-3531-BFF7-B51D3104144A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24551" y="4147981"/>
            <a:ext cx="2135776" cy="51490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2000" b="0" i="0" cap="all" baseline="0">
                <a:solidFill>
                  <a:schemeClr val="bg1"/>
                </a:solidFill>
                <a:latin typeface="Lato" panose="020F0502020204030203" pitchFamily="34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7995863E-6848-0318-E9AB-D544C0E908BB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624551" y="5445769"/>
            <a:ext cx="2135776" cy="51490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2000" b="0" i="0" cap="all" baseline="0">
                <a:solidFill>
                  <a:schemeClr val="bg1"/>
                </a:solidFill>
                <a:latin typeface="Lato" panose="020F0502020204030203" pitchFamily="34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2BAA2BF2-1921-8DA0-708B-ACC40871C0E3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1122821" y="6467484"/>
            <a:ext cx="799740" cy="170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0214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3564880D-1526-2339-31A9-EC15260295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978" y="54865"/>
            <a:ext cx="11118522" cy="1080257"/>
          </a:xfrm>
          <a:prstGeom prst="rect">
            <a:avLst/>
          </a:prstGeom>
        </p:spPr>
        <p:txBody>
          <a:bodyPr anchor="b" anchorCtr="0"/>
          <a:lstStyle>
            <a:lvl1pPr>
              <a:defRPr sz="3400" b="1" i="0" cap="all" baseline="0">
                <a:solidFill>
                  <a:schemeClr val="tx1"/>
                </a:solidFill>
                <a:latin typeface="Lato" panose="020F0502020204030203" pitchFamily="34" charset="77"/>
              </a:defRPr>
            </a:lvl1pPr>
          </a:lstStyle>
          <a:p>
            <a:r>
              <a:rPr lang="en-US" dirty="0"/>
              <a:t>Slide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F9A0678-8AF6-9730-D361-F0F6D53C04DB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501983" y="1231702"/>
            <a:ext cx="11118517" cy="397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kumimoji="0" lang="en-US" sz="2200" b="0" i="0" u="none" strike="noStrike" cap="all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Lato" panose="020F0502020204030203" pitchFamily="34" charset="77"/>
                <a:ea typeface="Roboto Slab" pitchFamily="2" charset="0"/>
                <a:cs typeface="Arial" panose="020B0604020202020204" pitchFamily="34" charset="0"/>
              </a:defRPr>
            </a:lvl1pPr>
          </a:lstStyle>
          <a:p>
            <a:pPr marL="228600" marR="0" lvl="0" indent="-22860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Click to edit Master text style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C77CFE2-DE33-B933-5E3D-61C5E8BF802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1978" y="1752600"/>
            <a:ext cx="11118517" cy="4471988"/>
          </a:xfrm>
          <a:prstGeom prst="rect">
            <a:avLst/>
          </a:prstGeom>
        </p:spPr>
        <p:txBody>
          <a:bodyPr/>
          <a:lstStyle>
            <a:lvl1pPr marL="216000" indent="-216000">
              <a:spcBef>
                <a:spcPts val="1200"/>
              </a:spcBef>
              <a:buClr>
                <a:srgbClr val="00BD4D"/>
              </a:buClr>
              <a:defRPr sz="2000" b="0" i="0">
                <a:solidFill>
                  <a:schemeClr val="tx1"/>
                </a:solidFill>
                <a:latin typeface="Lato" panose="020F0502020204030203" pitchFamily="34" charset="77"/>
              </a:defRPr>
            </a:lvl1pPr>
            <a:lvl2pPr marL="432000" indent="-216000">
              <a:spcBef>
                <a:spcPts val="1200"/>
              </a:spcBef>
              <a:buClr>
                <a:srgbClr val="00BD4D"/>
              </a:buClr>
              <a:defRPr sz="1800" b="0" i="0">
                <a:solidFill>
                  <a:schemeClr val="tx1"/>
                </a:solidFill>
                <a:latin typeface="Lato" panose="020F0502020204030203" pitchFamily="34" charset="77"/>
              </a:defRPr>
            </a:lvl2pPr>
            <a:lvl3pPr marL="648000" indent="-216000">
              <a:spcBef>
                <a:spcPts val="1200"/>
              </a:spcBef>
              <a:buClr>
                <a:srgbClr val="00BD4D"/>
              </a:buClr>
              <a:defRPr sz="1600" b="0" i="0">
                <a:solidFill>
                  <a:schemeClr val="tx1"/>
                </a:solidFill>
                <a:latin typeface="Lato" panose="020F0502020204030203" pitchFamily="34" charset="77"/>
              </a:defRPr>
            </a:lvl3pPr>
            <a:lvl4pPr marL="864000" indent="-216000">
              <a:spcBef>
                <a:spcPts val="1200"/>
              </a:spcBef>
              <a:buClr>
                <a:srgbClr val="00BD4D"/>
              </a:buClr>
              <a:defRPr sz="1400" b="0" i="0">
                <a:solidFill>
                  <a:schemeClr val="tx1"/>
                </a:solidFill>
                <a:latin typeface="Lato" panose="020F0502020204030203" pitchFamily="34" charset="77"/>
              </a:defRPr>
            </a:lvl4pPr>
            <a:lvl5pPr marL="1080000" indent="-216000">
              <a:spcBef>
                <a:spcPts val="1200"/>
              </a:spcBef>
              <a:buClr>
                <a:srgbClr val="00BD4D"/>
              </a:buClr>
              <a:defRPr sz="1400" b="0" i="0">
                <a:solidFill>
                  <a:schemeClr val="tx1"/>
                </a:solidFill>
                <a:latin typeface="Lato" panose="020F0502020204030203" pitchFamily="34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CD3A434F-EBEC-F2B0-1372-50C9D455C326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1122821" y="6467484"/>
            <a:ext cx="799740" cy="17088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053F05F-92A7-C56B-917A-304A689ADF42}"/>
              </a:ext>
            </a:extLst>
          </p:cNvPr>
          <p:cNvPicPr preferRelativeResize="0"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546582" y="1135122"/>
            <a:ext cx="5943600" cy="27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9444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ubtitle and Content" userDrawn="1">
  <p:cSld name="1_Title Subtitle and Content">
    <p:spTree>
      <p:nvGrpSpPr>
        <p:cNvPr id="1" name="Shape 1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" name="Google Shape;175;p70"/>
          <p:cNvSpPr txBox="1">
            <a:spLocks noGrp="1"/>
          </p:cNvSpPr>
          <p:nvPr>
            <p:ph type="title" hasCustomPrompt="1"/>
          </p:nvPr>
        </p:nvSpPr>
        <p:spPr>
          <a:xfrm>
            <a:off x="501978" y="54865"/>
            <a:ext cx="11118522" cy="10802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400"/>
              <a:buFont typeface="Lato"/>
              <a:buNone/>
              <a:defRPr sz="3400" b="1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/>
              <a:t>TITLE ONLY STYLE</a:t>
            </a:r>
            <a:endParaRPr dirty="0"/>
          </a:p>
        </p:txBody>
      </p:sp>
      <p:pic>
        <p:nvPicPr>
          <p:cNvPr id="178" name="Google Shape;178;p70"/>
          <p:cNvPicPr preferRelativeResize="0"/>
          <p:nvPr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22821" y="6467484"/>
            <a:ext cx="799740" cy="170885"/>
          </a:xfrm>
          <a:prstGeom prst="rect">
            <a:avLst/>
          </a:prstGeom>
          <a:noFill/>
          <a:ln>
            <a:noFill/>
          </a:ln>
        </p:spPr>
      </p:pic>
      <p:pic>
        <p:nvPicPr>
          <p:cNvPr id="179" name="Google Shape;179;p70"/>
          <p:cNvPicPr preferRelativeResize="0"/>
          <p:nvPr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 flipH="1">
            <a:off x="546582" y="1135122"/>
            <a:ext cx="5943600" cy="2743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17152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ubtitle and Content" preserve="1" userDrawn="1">
  <p:cSld name="2_Title Subtitle and Content">
    <p:spTree>
      <p:nvGrpSpPr>
        <p:cNvPr id="1" name="Shape 1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" name="Google Shape;175;p70"/>
          <p:cNvSpPr txBox="1">
            <a:spLocks noGrp="1"/>
          </p:cNvSpPr>
          <p:nvPr>
            <p:ph type="title" hasCustomPrompt="1"/>
          </p:nvPr>
        </p:nvSpPr>
        <p:spPr>
          <a:xfrm>
            <a:off x="501978" y="54865"/>
            <a:ext cx="11118522" cy="10802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400"/>
              <a:buFont typeface="Lato"/>
              <a:buNone/>
              <a:defRPr sz="3400" b="1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/>
              <a:t>SLIDE TITLE STYLE</a:t>
            </a:r>
            <a:endParaRPr dirty="0"/>
          </a:p>
        </p:txBody>
      </p:sp>
      <p:pic>
        <p:nvPicPr>
          <p:cNvPr id="178" name="Google Shape;178;p70"/>
          <p:cNvPicPr preferRelativeResize="0"/>
          <p:nvPr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22821" y="6467484"/>
            <a:ext cx="799740" cy="170885"/>
          </a:xfrm>
          <a:prstGeom prst="rect">
            <a:avLst/>
          </a:prstGeom>
          <a:noFill/>
          <a:ln>
            <a:noFill/>
          </a:ln>
        </p:spPr>
      </p:pic>
      <p:pic>
        <p:nvPicPr>
          <p:cNvPr id="179" name="Google Shape;179;p70"/>
          <p:cNvPicPr preferRelativeResize="0"/>
          <p:nvPr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 flipH="1">
            <a:off x="546582" y="1135122"/>
            <a:ext cx="5943600" cy="27432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B41A222-B554-0CA6-FE72-6F862517D9F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01650" y="1436688"/>
            <a:ext cx="11118850" cy="4813300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>
                <a:latin typeface="Lato" panose="020F0502020204030203" pitchFamily="34" charset="77"/>
              </a:defRPr>
            </a:lvl1pPr>
            <a:lvl2pPr>
              <a:buClr>
                <a:schemeClr val="accent1"/>
              </a:buClr>
              <a:defRPr>
                <a:latin typeface="Lato" panose="020F0502020204030203" pitchFamily="34" charset="77"/>
              </a:defRPr>
            </a:lvl2pPr>
            <a:lvl3pPr>
              <a:buClr>
                <a:schemeClr val="accent1"/>
              </a:buClr>
              <a:defRPr>
                <a:latin typeface="Lato" panose="020F0502020204030203" pitchFamily="34" charset="77"/>
              </a:defRPr>
            </a:lvl3pPr>
            <a:lvl4pPr>
              <a:buClr>
                <a:schemeClr val="accent1"/>
              </a:buClr>
              <a:defRPr>
                <a:latin typeface="Lato" panose="020F0502020204030203" pitchFamily="34" charset="77"/>
              </a:defRPr>
            </a:lvl4pPr>
            <a:lvl5pPr>
              <a:buClr>
                <a:schemeClr val="accent1"/>
              </a:buClr>
              <a:defRPr>
                <a:latin typeface="Lato" panose="020F0502020204030203" pitchFamily="34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0555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ubtitle and Content" preserve="1" userDrawn="1">
  <p:cSld name="3_Title Subtitle and Content">
    <p:spTree>
      <p:nvGrpSpPr>
        <p:cNvPr id="1" name="Shape 1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" name="Google Shape;175;p70"/>
          <p:cNvSpPr txBox="1">
            <a:spLocks noGrp="1"/>
          </p:cNvSpPr>
          <p:nvPr>
            <p:ph type="title"/>
          </p:nvPr>
        </p:nvSpPr>
        <p:spPr>
          <a:xfrm>
            <a:off x="501978" y="54865"/>
            <a:ext cx="11118522" cy="10802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40" tIns="45700" rIns="91425" bIns="4570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400"/>
              <a:buFont typeface="Lato"/>
              <a:buNone/>
              <a:defRPr sz="3400" b="1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pic>
        <p:nvPicPr>
          <p:cNvPr id="178" name="Google Shape;178;p70"/>
          <p:cNvPicPr preferRelativeResize="0"/>
          <p:nvPr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22821" y="6467484"/>
            <a:ext cx="799740" cy="170885"/>
          </a:xfrm>
          <a:prstGeom prst="rect">
            <a:avLst/>
          </a:prstGeom>
          <a:noFill/>
          <a:ln>
            <a:noFill/>
          </a:ln>
        </p:spPr>
      </p:pic>
      <p:pic>
        <p:nvPicPr>
          <p:cNvPr id="179" name="Google Shape;179;p70"/>
          <p:cNvPicPr preferRelativeResize="0"/>
          <p:nvPr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 flipH="1">
            <a:off x="546582" y="1135122"/>
            <a:ext cx="5943600" cy="27432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E2DD32-4DD0-5573-FF51-8F905F303E7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5907" y="1945047"/>
            <a:ext cx="5297479" cy="1772843"/>
          </a:xfrm>
          <a:prstGeom prst="rect">
            <a:avLst/>
          </a:prstGeom>
        </p:spPr>
        <p:txBody>
          <a:bodyPr/>
          <a:lstStyle>
            <a:lvl1pPr marL="274320" indent="-18288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latin typeface="Lato" panose="020F0502020204030203" pitchFamily="34" charset="77"/>
              </a:defRPr>
            </a:lvl1pPr>
            <a:lvl2pPr>
              <a:defRPr>
                <a:latin typeface="Lato" panose="020F0502020204030203" pitchFamily="34" charset="77"/>
              </a:defRPr>
            </a:lvl2pPr>
            <a:lvl3pPr>
              <a:defRPr>
                <a:latin typeface="Lato" panose="020F0502020204030203" pitchFamily="34" charset="77"/>
              </a:defRPr>
            </a:lvl3pPr>
            <a:lvl4pPr>
              <a:defRPr>
                <a:latin typeface="Lato" panose="020F0502020204030203" pitchFamily="34" charset="77"/>
              </a:defRPr>
            </a:lvl4pPr>
            <a:lvl5pPr>
              <a:defRPr>
                <a:latin typeface="Lato" panose="020F0502020204030203" pitchFamily="34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F650A77D-7F9B-97BA-C4A4-647941DB558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5907" y="1432595"/>
            <a:ext cx="5297479" cy="51245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200">
                <a:latin typeface="Lato" panose="020F0502020204030203" pitchFamily="34" charset="77"/>
              </a:defRPr>
            </a:lvl1pPr>
            <a:lvl2pPr>
              <a:defRPr>
                <a:latin typeface="Lato" panose="020F0502020204030203" pitchFamily="34" charset="77"/>
              </a:defRPr>
            </a:lvl2pPr>
            <a:lvl3pPr>
              <a:defRPr>
                <a:latin typeface="Lato" panose="020F0502020204030203" pitchFamily="34" charset="77"/>
              </a:defRPr>
            </a:lvl3pPr>
            <a:lvl4pPr>
              <a:defRPr>
                <a:latin typeface="Lato" panose="020F0502020204030203" pitchFamily="34" charset="77"/>
              </a:defRPr>
            </a:lvl4pPr>
            <a:lvl5pPr>
              <a:defRPr>
                <a:latin typeface="Lato" panose="020F0502020204030203" pitchFamily="34" charset="77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F712605-8329-031F-55DB-722ABD35F08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47423" y="1945047"/>
            <a:ext cx="5373075" cy="1772843"/>
          </a:xfrm>
          <a:prstGeom prst="rect">
            <a:avLst/>
          </a:prstGeom>
        </p:spPr>
        <p:txBody>
          <a:bodyPr/>
          <a:lstStyle>
            <a:lvl1pPr marL="274320" indent="-18288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latin typeface="Lato" panose="020F0502020204030203" pitchFamily="34" charset="77"/>
              </a:defRPr>
            </a:lvl1pPr>
            <a:lvl2pPr>
              <a:defRPr>
                <a:latin typeface="Lato" panose="020F0502020204030203" pitchFamily="34" charset="77"/>
              </a:defRPr>
            </a:lvl2pPr>
            <a:lvl3pPr>
              <a:defRPr>
                <a:latin typeface="Lato" panose="020F0502020204030203" pitchFamily="34" charset="77"/>
              </a:defRPr>
            </a:lvl3pPr>
            <a:lvl4pPr>
              <a:defRPr>
                <a:latin typeface="Lato" panose="020F0502020204030203" pitchFamily="34" charset="77"/>
              </a:defRPr>
            </a:lvl4pPr>
            <a:lvl5pPr>
              <a:defRPr>
                <a:latin typeface="Lato" panose="020F0502020204030203" pitchFamily="34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0BACEA22-8839-D191-0AC2-CDF3A91F832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47423" y="1432595"/>
            <a:ext cx="5373075" cy="51245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200">
                <a:latin typeface="Lato" panose="020F0502020204030203" pitchFamily="34" charset="77"/>
              </a:defRPr>
            </a:lvl1pPr>
            <a:lvl2pPr>
              <a:defRPr>
                <a:latin typeface="Lato" panose="020F0502020204030203" pitchFamily="34" charset="77"/>
              </a:defRPr>
            </a:lvl2pPr>
            <a:lvl3pPr>
              <a:defRPr>
                <a:latin typeface="Lato" panose="020F0502020204030203" pitchFamily="34" charset="77"/>
              </a:defRPr>
            </a:lvl3pPr>
            <a:lvl4pPr>
              <a:defRPr>
                <a:latin typeface="Lato" panose="020F0502020204030203" pitchFamily="34" charset="77"/>
              </a:defRPr>
            </a:lvl4pPr>
            <a:lvl5pPr>
              <a:defRPr>
                <a:latin typeface="Lato" panose="020F0502020204030203" pitchFamily="34" charset="77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0FBD4EC7-0730-0275-0B54-7B4D0D52F7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05907" y="4537522"/>
            <a:ext cx="5297479" cy="1772843"/>
          </a:xfrm>
          <a:prstGeom prst="rect">
            <a:avLst/>
          </a:prstGeom>
        </p:spPr>
        <p:txBody>
          <a:bodyPr/>
          <a:lstStyle>
            <a:lvl1pPr marL="274320" indent="-18288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latin typeface="Lato" panose="020F0502020204030203" pitchFamily="34" charset="77"/>
              </a:defRPr>
            </a:lvl1pPr>
            <a:lvl2pPr>
              <a:defRPr>
                <a:latin typeface="Lato" panose="020F0502020204030203" pitchFamily="34" charset="77"/>
              </a:defRPr>
            </a:lvl2pPr>
            <a:lvl3pPr>
              <a:defRPr>
                <a:latin typeface="Lato" panose="020F0502020204030203" pitchFamily="34" charset="77"/>
              </a:defRPr>
            </a:lvl3pPr>
            <a:lvl4pPr>
              <a:defRPr>
                <a:latin typeface="Lato" panose="020F0502020204030203" pitchFamily="34" charset="77"/>
              </a:defRPr>
            </a:lvl4pPr>
            <a:lvl5pPr>
              <a:defRPr>
                <a:latin typeface="Lato" panose="020F0502020204030203" pitchFamily="34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FDDB667-29A7-1773-1075-D5A8EF27B5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5907" y="4025070"/>
            <a:ext cx="5297479" cy="51245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200">
                <a:latin typeface="Lato" panose="020F0502020204030203" pitchFamily="34" charset="77"/>
              </a:defRPr>
            </a:lvl1pPr>
            <a:lvl2pPr>
              <a:defRPr>
                <a:latin typeface="Lato" panose="020F0502020204030203" pitchFamily="34" charset="77"/>
              </a:defRPr>
            </a:lvl2pPr>
            <a:lvl3pPr>
              <a:defRPr>
                <a:latin typeface="Lato" panose="020F0502020204030203" pitchFamily="34" charset="77"/>
              </a:defRPr>
            </a:lvl3pPr>
            <a:lvl4pPr>
              <a:defRPr>
                <a:latin typeface="Lato" panose="020F0502020204030203" pitchFamily="34" charset="77"/>
              </a:defRPr>
            </a:lvl4pPr>
            <a:lvl5pPr>
              <a:defRPr>
                <a:latin typeface="Lato" panose="020F0502020204030203" pitchFamily="34" charset="77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074011F-DDDE-2ECA-7C4C-ACF1194F984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47423" y="4537522"/>
            <a:ext cx="5373075" cy="1772843"/>
          </a:xfrm>
          <a:prstGeom prst="rect">
            <a:avLst/>
          </a:prstGeom>
        </p:spPr>
        <p:txBody>
          <a:bodyPr/>
          <a:lstStyle>
            <a:lvl1pPr marL="274320" indent="-18288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latin typeface="Lato" panose="020F0502020204030203" pitchFamily="34" charset="77"/>
              </a:defRPr>
            </a:lvl1pPr>
            <a:lvl2pPr>
              <a:defRPr>
                <a:latin typeface="Lato" panose="020F0502020204030203" pitchFamily="34" charset="77"/>
              </a:defRPr>
            </a:lvl2pPr>
            <a:lvl3pPr>
              <a:defRPr>
                <a:latin typeface="Lato" panose="020F0502020204030203" pitchFamily="34" charset="77"/>
              </a:defRPr>
            </a:lvl3pPr>
            <a:lvl4pPr>
              <a:defRPr>
                <a:latin typeface="Lato" panose="020F0502020204030203" pitchFamily="34" charset="77"/>
              </a:defRPr>
            </a:lvl4pPr>
            <a:lvl5pPr>
              <a:defRPr>
                <a:latin typeface="Lato" panose="020F0502020204030203" pitchFamily="34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815BA76D-D893-AB6D-49C5-6CCDA06C7A6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47423" y="4025070"/>
            <a:ext cx="5373075" cy="51245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200">
                <a:latin typeface="Lato" panose="020F0502020204030203" pitchFamily="34" charset="77"/>
              </a:defRPr>
            </a:lvl1pPr>
            <a:lvl2pPr>
              <a:defRPr>
                <a:latin typeface="Lato" panose="020F0502020204030203" pitchFamily="34" charset="77"/>
              </a:defRPr>
            </a:lvl2pPr>
            <a:lvl3pPr>
              <a:defRPr>
                <a:latin typeface="Lato" panose="020F0502020204030203" pitchFamily="34" charset="77"/>
              </a:defRPr>
            </a:lvl3pPr>
            <a:lvl4pPr>
              <a:defRPr>
                <a:latin typeface="Lato" panose="020F0502020204030203" pitchFamily="34" charset="77"/>
              </a:defRPr>
            </a:lvl4pPr>
            <a:lvl5pPr>
              <a:defRPr>
                <a:latin typeface="Lato" panose="020F0502020204030203" pitchFamily="34" charset="77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2EC0CB7-CBCC-C053-1C94-32E716540230}"/>
              </a:ext>
            </a:extLst>
          </p:cNvPr>
          <p:cNvCxnSpPr>
            <a:cxnSpLocks/>
          </p:cNvCxnSpPr>
          <p:nvPr userDrawn="1"/>
        </p:nvCxnSpPr>
        <p:spPr>
          <a:xfrm>
            <a:off x="6075904" y="1432595"/>
            <a:ext cx="0" cy="487777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B34E21C-F1C3-CFE9-BD6E-B3AC81D66FC7}"/>
              </a:ext>
            </a:extLst>
          </p:cNvPr>
          <p:cNvCxnSpPr>
            <a:cxnSpLocks/>
          </p:cNvCxnSpPr>
          <p:nvPr userDrawn="1"/>
        </p:nvCxnSpPr>
        <p:spPr>
          <a:xfrm flipV="1">
            <a:off x="501978" y="3834213"/>
            <a:ext cx="11118522" cy="24355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383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5F29E08A-E199-600C-F889-560F48F99936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1122821" y="6467484"/>
            <a:ext cx="799740" cy="17088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5390277-5BEC-C3AA-2E1E-E0BF4C5ED8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978" y="297451"/>
            <a:ext cx="11118522" cy="630213"/>
          </a:xfrm>
          <a:prstGeom prst="rect">
            <a:avLst/>
          </a:prstGeom>
        </p:spPr>
        <p:txBody>
          <a:bodyPr/>
          <a:lstStyle>
            <a:lvl1pPr>
              <a:defRPr sz="3400" b="1" i="0" cap="all" baseline="0">
                <a:latin typeface="Lato" panose="020F0502020204030203" pitchFamily="34" charset="77"/>
              </a:defRPr>
            </a:lvl1pPr>
          </a:lstStyle>
          <a:p>
            <a:r>
              <a:rPr lang="en-US" dirty="0"/>
              <a:t>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5FE8B5-2E05-549D-895E-1CC9CE4CC021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501983" y="1104640"/>
            <a:ext cx="11118517" cy="397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kumimoji="0" lang="en-US" sz="2200" b="0" i="0" u="none" strike="noStrike" cap="all" spc="0" normalizeH="0" baseline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Lato" panose="020F0502020204030203" pitchFamily="34" charset="77"/>
                <a:ea typeface="Roboto Slab" pitchFamily="2" charset="0"/>
                <a:cs typeface="Arial" panose="020B0604020202020204" pitchFamily="34" charset="0"/>
              </a:defRPr>
            </a:lvl1pPr>
          </a:lstStyle>
          <a:p>
            <a:pPr marL="228600" marR="0" lvl="0" indent="-22860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734371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preserve="1" userDrawn="1">
  <p:cSld name="1_Title Slide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oogle Shape;11;p57"/>
          <p:cNvSpPr/>
          <p:nvPr/>
        </p:nvSpPr>
        <p:spPr>
          <a:xfrm>
            <a:off x="-13077" y="-37244"/>
            <a:ext cx="12205077" cy="6895244"/>
          </a:xfrm>
          <a:prstGeom prst="rect">
            <a:avLst/>
          </a:prstGeom>
          <a:solidFill>
            <a:srgbClr val="D9E1E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101820"/>
              </a:solidFill>
              <a:latin typeface="Lato"/>
              <a:ea typeface="Lato"/>
              <a:cs typeface="Lato"/>
              <a:sym typeface="Lato"/>
            </a:endParaRPr>
          </a:p>
        </p:txBody>
      </p:sp>
      <p:pic>
        <p:nvPicPr>
          <p:cNvPr id="12" name="Google Shape;12;p57"/>
          <p:cNvPicPr preferRelativeResize="0"/>
          <p:nvPr/>
        </p:nvPicPr>
        <p:blipFill>
          <a:blip r:embed="rId2"/>
          <a:srcRect/>
          <a:stretch/>
        </p:blipFill>
        <p:spPr>
          <a:xfrm>
            <a:off x="279968" y="-37244"/>
            <a:ext cx="11911121" cy="689524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5" name="Google Shape;15;p57"/>
          <p:cNvGrpSpPr/>
          <p:nvPr/>
        </p:nvGrpSpPr>
        <p:grpSpPr>
          <a:xfrm>
            <a:off x="733434" y="523004"/>
            <a:ext cx="2455606" cy="529325"/>
            <a:chOff x="733434" y="857052"/>
            <a:chExt cx="2455606" cy="529325"/>
          </a:xfrm>
        </p:grpSpPr>
        <p:sp>
          <p:nvSpPr>
            <p:cNvPr id="16" name="Google Shape;16;p57"/>
            <p:cNvSpPr/>
            <p:nvPr/>
          </p:nvSpPr>
          <p:spPr>
            <a:xfrm rot="-2700000">
              <a:off x="770705" y="879406"/>
              <a:ext cx="107935" cy="107935"/>
            </a:xfrm>
            <a:custGeom>
              <a:avLst/>
              <a:gdLst/>
              <a:ahLst/>
              <a:cxnLst/>
              <a:rect l="l" t="t" r="r" b="b"/>
              <a:pathLst>
                <a:path w="73496" h="73496" extrusionOk="0">
                  <a:moveTo>
                    <a:pt x="67007" y="0"/>
                  </a:moveTo>
                  <a:cubicBezTo>
                    <a:pt x="70591" y="0"/>
                    <a:pt x="73497" y="2905"/>
                    <a:pt x="73497" y="6489"/>
                  </a:cubicBezTo>
                  <a:lnTo>
                    <a:pt x="73497" y="67007"/>
                  </a:lnTo>
                  <a:cubicBezTo>
                    <a:pt x="73497" y="70591"/>
                    <a:pt x="70591" y="73496"/>
                    <a:pt x="67007" y="73496"/>
                  </a:cubicBezTo>
                  <a:lnTo>
                    <a:pt x="6489" y="73496"/>
                  </a:lnTo>
                  <a:cubicBezTo>
                    <a:pt x="2905" y="73496"/>
                    <a:pt x="0" y="70591"/>
                    <a:pt x="0" y="67007"/>
                  </a:cubicBezTo>
                  <a:lnTo>
                    <a:pt x="0" y="6489"/>
                  </a:lnTo>
                  <a:cubicBezTo>
                    <a:pt x="0" y="2905"/>
                    <a:pt x="2905" y="0"/>
                    <a:pt x="6489" y="0"/>
                  </a:cubicBezTo>
                  <a:close/>
                </a:path>
              </a:pathLst>
            </a:custGeom>
            <a:solidFill>
              <a:srgbClr val="00B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endParaRPr>
            </a:p>
          </p:txBody>
        </p:sp>
        <p:grpSp>
          <p:nvGrpSpPr>
            <p:cNvPr id="17" name="Google Shape;17;p57"/>
            <p:cNvGrpSpPr/>
            <p:nvPr/>
          </p:nvGrpSpPr>
          <p:grpSpPr>
            <a:xfrm>
              <a:off x="733434" y="876300"/>
              <a:ext cx="2455606" cy="510077"/>
              <a:chOff x="9242171" y="3011696"/>
              <a:chExt cx="1672097" cy="347327"/>
            </a:xfrm>
          </p:grpSpPr>
          <p:sp>
            <p:nvSpPr>
              <p:cNvPr id="18" name="Google Shape;18;p57"/>
              <p:cNvSpPr/>
              <p:nvPr/>
            </p:nvSpPr>
            <p:spPr>
              <a:xfrm>
                <a:off x="10604432" y="3110234"/>
                <a:ext cx="249644" cy="243844"/>
              </a:xfrm>
              <a:custGeom>
                <a:avLst/>
                <a:gdLst/>
                <a:ahLst/>
                <a:cxnLst/>
                <a:rect l="l" t="t" r="r" b="b"/>
                <a:pathLst>
                  <a:path w="249644" h="243844" extrusionOk="0">
                    <a:moveTo>
                      <a:pt x="172562" y="121922"/>
                    </a:moveTo>
                    <a:lnTo>
                      <a:pt x="248603" y="234754"/>
                    </a:lnTo>
                    <a:cubicBezTo>
                      <a:pt x="251347" y="238642"/>
                      <a:pt x="248346" y="243845"/>
                      <a:pt x="243372" y="243845"/>
                    </a:cubicBezTo>
                    <a:lnTo>
                      <a:pt x="179480" y="243845"/>
                    </a:lnTo>
                    <a:cubicBezTo>
                      <a:pt x="175221" y="243845"/>
                      <a:pt x="171219" y="241729"/>
                      <a:pt x="168789" y="238213"/>
                    </a:cubicBezTo>
                    <a:lnTo>
                      <a:pt x="124822" y="170949"/>
                    </a:lnTo>
                    <a:lnTo>
                      <a:pt x="80856" y="238213"/>
                    </a:lnTo>
                    <a:cubicBezTo>
                      <a:pt x="78426" y="241729"/>
                      <a:pt x="74452" y="243845"/>
                      <a:pt x="70164" y="243845"/>
                    </a:cubicBezTo>
                    <a:lnTo>
                      <a:pt x="6273" y="243845"/>
                    </a:lnTo>
                    <a:cubicBezTo>
                      <a:pt x="1299" y="243845"/>
                      <a:pt x="-1703" y="238671"/>
                      <a:pt x="1042" y="234754"/>
                    </a:cubicBezTo>
                    <a:lnTo>
                      <a:pt x="76854" y="121922"/>
                    </a:lnTo>
                    <a:lnTo>
                      <a:pt x="1042" y="9091"/>
                    </a:lnTo>
                    <a:cubicBezTo>
                      <a:pt x="-1703" y="5203"/>
                      <a:pt x="1299" y="0"/>
                      <a:pt x="6273" y="0"/>
                    </a:cubicBezTo>
                    <a:lnTo>
                      <a:pt x="72880" y="0"/>
                    </a:lnTo>
                    <a:cubicBezTo>
                      <a:pt x="75367" y="0"/>
                      <a:pt x="77683" y="1143"/>
                      <a:pt x="78998" y="3030"/>
                    </a:cubicBezTo>
                    <a:lnTo>
                      <a:pt x="124794" y="72782"/>
                    </a:lnTo>
                    <a:lnTo>
                      <a:pt x="167788" y="3059"/>
                    </a:lnTo>
                    <a:cubicBezTo>
                      <a:pt x="169075" y="1172"/>
                      <a:pt x="171419" y="0"/>
                      <a:pt x="173906" y="0"/>
                    </a:cubicBezTo>
                    <a:lnTo>
                      <a:pt x="241171" y="0"/>
                    </a:lnTo>
                    <a:cubicBezTo>
                      <a:pt x="246145" y="0"/>
                      <a:pt x="249118" y="5174"/>
                      <a:pt x="246402" y="9062"/>
                    </a:cubicBezTo>
                    <a:lnTo>
                      <a:pt x="172505" y="121922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Lato"/>
                  <a:ea typeface="Lato"/>
                  <a:cs typeface="Lato"/>
                  <a:sym typeface="Lato"/>
                </a:endParaRPr>
              </a:p>
            </p:txBody>
          </p:sp>
          <p:sp>
            <p:nvSpPr>
              <p:cNvPr id="19" name="Google Shape;19;p57"/>
              <p:cNvSpPr/>
              <p:nvPr/>
            </p:nvSpPr>
            <p:spPr>
              <a:xfrm>
                <a:off x="9581152" y="3011696"/>
                <a:ext cx="164831" cy="342440"/>
              </a:xfrm>
              <a:custGeom>
                <a:avLst/>
                <a:gdLst/>
                <a:ahLst/>
                <a:cxnLst/>
                <a:rect l="l" t="t" r="r" b="b"/>
                <a:pathLst>
                  <a:path w="164831" h="342440" extrusionOk="0">
                    <a:moveTo>
                      <a:pt x="158342" y="29"/>
                    </a:moveTo>
                    <a:lnTo>
                      <a:pt x="105342" y="29"/>
                    </a:lnTo>
                    <a:cubicBezTo>
                      <a:pt x="100197" y="29"/>
                      <a:pt x="95251" y="2087"/>
                      <a:pt x="91592" y="5717"/>
                    </a:cubicBezTo>
                    <a:lnTo>
                      <a:pt x="41794" y="55515"/>
                    </a:lnTo>
                    <a:cubicBezTo>
                      <a:pt x="38135" y="59175"/>
                      <a:pt x="36105" y="64120"/>
                      <a:pt x="36105" y="69266"/>
                    </a:cubicBezTo>
                    <a:lnTo>
                      <a:pt x="36105" y="108458"/>
                    </a:lnTo>
                    <a:lnTo>
                      <a:pt x="6375" y="108458"/>
                    </a:lnTo>
                    <a:cubicBezTo>
                      <a:pt x="2859" y="108458"/>
                      <a:pt x="0" y="111317"/>
                      <a:pt x="0" y="114833"/>
                    </a:cubicBezTo>
                    <a:lnTo>
                      <a:pt x="0" y="158828"/>
                    </a:lnTo>
                    <a:cubicBezTo>
                      <a:pt x="0" y="162344"/>
                      <a:pt x="2859" y="165203"/>
                      <a:pt x="6375" y="165203"/>
                    </a:cubicBezTo>
                    <a:lnTo>
                      <a:pt x="36105" y="165203"/>
                    </a:lnTo>
                    <a:lnTo>
                      <a:pt x="36105" y="335951"/>
                    </a:lnTo>
                    <a:cubicBezTo>
                      <a:pt x="36105" y="339524"/>
                      <a:pt x="39021" y="342440"/>
                      <a:pt x="42594" y="342440"/>
                    </a:cubicBezTo>
                    <a:lnTo>
                      <a:pt x="98510" y="342440"/>
                    </a:lnTo>
                    <a:cubicBezTo>
                      <a:pt x="102083" y="342440"/>
                      <a:pt x="104999" y="339524"/>
                      <a:pt x="104999" y="335951"/>
                    </a:cubicBezTo>
                    <a:lnTo>
                      <a:pt x="104999" y="165174"/>
                    </a:lnTo>
                    <a:lnTo>
                      <a:pt x="149394" y="165174"/>
                    </a:lnTo>
                    <a:cubicBezTo>
                      <a:pt x="152911" y="165174"/>
                      <a:pt x="155769" y="162315"/>
                      <a:pt x="155769" y="158799"/>
                    </a:cubicBezTo>
                    <a:lnTo>
                      <a:pt x="155769" y="114804"/>
                    </a:lnTo>
                    <a:cubicBezTo>
                      <a:pt x="155769" y="111288"/>
                      <a:pt x="152911" y="108429"/>
                      <a:pt x="149394" y="108429"/>
                    </a:cubicBezTo>
                    <a:lnTo>
                      <a:pt x="104999" y="108429"/>
                    </a:lnTo>
                    <a:lnTo>
                      <a:pt x="104999" y="80643"/>
                    </a:lnTo>
                    <a:cubicBezTo>
                      <a:pt x="104999" y="69895"/>
                      <a:pt x="113718" y="61204"/>
                      <a:pt x="124438" y="61204"/>
                    </a:cubicBezTo>
                    <a:lnTo>
                      <a:pt x="158342" y="61204"/>
                    </a:lnTo>
                    <a:cubicBezTo>
                      <a:pt x="161915" y="61204"/>
                      <a:pt x="164831" y="58288"/>
                      <a:pt x="164831" y="54715"/>
                    </a:cubicBezTo>
                    <a:lnTo>
                      <a:pt x="164831" y="6489"/>
                    </a:lnTo>
                    <a:cubicBezTo>
                      <a:pt x="164831" y="2916"/>
                      <a:pt x="161915" y="0"/>
                      <a:pt x="158342" y="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Lato"/>
                  <a:ea typeface="Lato"/>
                  <a:cs typeface="Lato"/>
                  <a:sym typeface="Lato"/>
                </a:endParaRPr>
              </a:p>
            </p:txBody>
          </p:sp>
          <p:sp>
            <p:nvSpPr>
              <p:cNvPr id="20" name="Google Shape;20;p57"/>
              <p:cNvSpPr/>
              <p:nvPr/>
            </p:nvSpPr>
            <p:spPr>
              <a:xfrm>
                <a:off x="10860611" y="3304224"/>
                <a:ext cx="53657" cy="53657"/>
              </a:xfrm>
              <a:custGeom>
                <a:avLst/>
                <a:gdLst/>
                <a:ahLst/>
                <a:cxnLst/>
                <a:rect l="l" t="t" r="r" b="b"/>
                <a:pathLst>
                  <a:path w="53657" h="53657" extrusionOk="0">
                    <a:moveTo>
                      <a:pt x="53657" y="26786"/>
                    </a:moveTo>
                    <a:cubicBezTo>
                      <a:pt x="53657" y="41708"/>
                      <a:pt x="41708" y="53657"/>
                      <a:pt x="26729" y="53657"/>
                    </a:cubicBezTo>
                    <a:cubicBezTo>
                      <a:pt x="11749" y="53657"/>
                      <a:pt x="0" y="41594"/>
                      <a:pt x="0" y="26786"/>
                    </a:cubicBezTo>
                    <a:cubicBezTo>
                      <a:pt x="0" y="11978"/>
                      <a:pt x="11949" y="0"/>
                      <a:pt x="26814" y="0"/>
                    </a:cubicBezTo>
                    <a:cubicBezTo>
                      <a:pt x="41679" y="0"/>
                      <a:pt x="53629" y="11892"/>
                      <a:pt x="53629" y="26786"/>
                    </a:cubicBezTo>
                    <a:close/>
                    <a:moveTo>
                      <a:pt x="49541" y="26900"/>
                    </a:moveTo>
                    <a:cubicBezTo>
                      <a:pt x="49541" y="14036"/>
                      <a:pt x="39392" y="3831"/>
                      <a:pt x="26843" y="3831"/>
                    </a:cubicBezTo>
                    <a:cubicBezTo>
                      <a:pt x="14293" y="3831"/>
                      <a:pt x="4145" y="13922"/>
                      <a:pt x="4145" y="26872"/>
                    </a:cubicBezTo>
                    <a:cubicBezTo>
                      <a:pt x="4145" y="39821"/>
                      <a:pt x="14408" y="49884"/>
                      <a:pt x="26729" y="49884"/>
                    </a:cubicBezTo>
                    <a:cubicBezTo>
                      <a:pt x="39049" y="49884"/>
                      <a:pt x="49541" y="39736"/>
                      <a:pt x="49541" y="26900"/>
                    </a:cubicBezTo>
                    <a:close/>
                    <a:moveTo>
                      <a:pt x="32589" y="31131"/>
                    </a:moveTo>
                    <a:lnTo>
                      <a:pt x="39335" y="41622"/>
                    </a:lnTo>
                    <a:lnTo>
                      <a:pt x="34876" y="41622"/>
                    </a:lnTo>
                    <a:lnTo>
                      <a:pt x="27386" y="29730"/>
                    </a:lnTo>
                    <a:lnTo>
                      <a:pt x="20554" y="29730"/>
                    </a:lnTo>
                    <a:lnTo>
                      <a:pt x="20554" y="41622"/>
                    </a:lnTo>
                    <a:lnTo>
                      <a:pt x="16809" y="41622"/>
                    </a:lnTo>
                    <a:lnTo>
                      <a:pt x="16809" y="11549"/>
                    </a:lnTo>
                    <a:lnTo>
                      <a:pt x="28472" y="11549"/>
                    </a:lnTo>
                    <a:cubicBezTo>
                      <a:pt x="34218" y="11549"/>
                      <a:pt x="37963" y="14636"/>
                      <a:pt x="37963" y="20411"/>
                    </a:cubicBezTo>
                    <a:cubicBezTo>
                      <a:pt x="37963" y="25071"/>
                      <a:pt x="35133" y="27958"/>
                      <a:pt x="31131" y="29101"/>
                    </a:cubicBezTo>
                    <a:cubicBezTo>
                      <a:pt x="31674" y="29702"/>
                      <a:pt x="32217" y="30445"/>
                      <a:pt x="32589" y="31160"/>
                    </a:cubicBezTo>
                    <a:close/>
                    <a:moveTo>
                      <a:pt x="27214" y="26185"/>
                    </a:moveTo>
                    <a:cubicBezTo>
                      <a:pt x="31445" y="26185"/>
                      <a:pt x="34047" y="24184"/>
                      <a:pt x="34047" y="20640"/>
                    </a:cubicBezTo>
                    <a:cubicBezTo>
                      <a:pt x="34047" y="17095"/>
                      <a:pt x="32246" y="15037"/>
                      <a:pt x="28558" y="15037"/>
                    </a:cubicBezTo>
                    <a:lnTo>
                      <a:pt x="20525" y="15037"/>
                    </a:lnTo>
                    <a:lnTo>
                      <a:pt x="20525" y="26157"/>
                    </a:lnTo>
                    <a:lnTo>
                      <a:pt x="27214" y="26157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Lato"/>
                  <a:ea typeface="Lato"/>
                  <a:cs typeface="Lato"/>
                  <a:sym typeface="Lato"/>
                </a:endParaRPr>
              </a:p>
            </p:txBody>
          </p:sp>
          <p:sp>
            <p:nvSpPr>
              <p:cNvPr id="21" name="Google Shape;21;p57"/>
              <p:cNvSpPr/>
              <p:nvPr/>
            </p:nvSpPr>
            <p:spPr>
              <a:xfrm>
                <a:off x="10283815" y="3011724"/>
                <a:ext cx="68865" cy="342354"/>
              </a:xfrm>
              <a:custGeom>
                <a:avLst/>
                <a:gdLst/>
                <a:ahLst/>
                <a:cxnLst/>
                <a:rect l="l" t="t" r="r" b="b"/>
                <a:pathLst>
                  <a:path w="68865" h="342354" extrusionOk="0">
                    <a:moveTo>
                      <a:pt x="62376" y="0"/>
                    </a:moveTo>
                    <a:cubicBezTo>
                      <a:pt x="65960" y="0"/>
                      <a:pt x="68866" y="2905"/>
                      <a:pt x="68866" y="6489"/>
                    </a:cubicBezTo>
                    <a:lnTo>
                      <a:pt x="68866" y="335865"/>
                    </a:lnTo>
                    <a:cubicBezTo>
                      <a:pt x="68866" y="339449"/>
                      <a:pt x="65960" y="342355"/>
                      <a:pt x="62376" y="342355"/>
                    </a:cubicBezTo>
                    <a:lnTo>
                      <a:pt x="6489" y="342355"/>
                    </a:lnTo>
                    <a:cubicBezTo>
                      <a:pt x="2905" y="342355"/>
                      <a:pt x="0" y="339449"/>
                      <a:pt x="0" y="335865"/>
                    </a:cubicBezTo>
                    <a:lnTo>
                      <a:pt x="0" y="6489"/>
                    </a:lnTo>
                    <a:cubicBezTo>
                      <a:pt x="0" y="2905"/>
                      <a:pt x="2905" y="0"/>
                      <a:pt x="6489" y="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Lato"/>
                  <a:ea typeface="Lato"/>
                  <a:cs typeface="Lato"/>
                  <a:sym typeface="Lato"/>
                </a:endParaRPr>
              </a:p>
            </p:txBody>
          </p:sp>
          <p:sp>
            <p:nvSpPr>
              <p:cNvPr id="22" name="Google Shape;22;p57"/>
              <p:cNvSpPr/>
              <p:nvPr/>
            </p:nvSpPr>
            <p:spPr>
              <a:xfrm>
                <a:off x="10006809" y="3011696"/>
                <a:ext cx="258538" cy="347300"/>
              </a:xfrm>
              <a:custGeom>
                <a:avLst/>
                <a:gdLst/>
                <a:ahLst/>
                <a:cxnLst/>
                <a:rect l="l" t="t" r="r" b="b"/>
                <a:pathLst>
                  <a:path w="258538" h="347300" extrusionOk="0">
                    <a:moveTo>
                      <a:pt x="143734" y="93393"/>
                    </a:moveTo>
                    <a:cubicBezTo>
                      <a:pt x="111946" y="93393"/>
                      <a:pt x="85503" y="107172"/>
                      <a:pt x="68894" y="129755"/>
                    </a:cubicBezTo>
                    <a:lnTo>
                      <a:pt x="68894" y="6489"/>
                    </a:lnTo>
                    <a:cubicBezTo>
                      <a:pt x="68894" y="2916"/>
                      <a:pt x="65978" y="0"/>
                      <a:pt x="62405" y="0"/>
                    </a:cubicBezTo>
                    <a:lnTo>
                      <a:pt x="6489" y="0"/>
                    </a:lnTo>
                    <a:cubicBezTo>
                      <a:pt x="2916" y="0"/>
                      <a:pt x="0" y="2916"/>
                      <a:pt x="0" y="6489"/>
                    </a:cubicBezTo>
                    <a:lnTo>
                      <a:pt x="0" y="335894"/>
                    </a:lnTo>
                    <a:cubicBezTo>
                      <a:pt x="0" y="339467"/>
                      <a:pt x="2916" y="342383"/>
                      <a:pt x="6489" y="342383"/>
                    </a:cubicBezTo>
                    <a:lnTo>
                      <a:pt x="62405" y="342383"/>
                    </a:lnTo>
                    <a:cubicBezTo>
                      <a:pt x="65978" y="342383"/>
                      <a:pt x="68894" y="339467"/>
                      <a:pt x="68894" y="335894"/>
                    </a:cubicBezTo>
                    <a:lnTo>
                      <a:pt x="68894" y="311624"/>
                    </a:lnTo>
                    <a:cubicBezTo>
                      <a:pt x="85532" y="334236"/>
                      <a:pt x="111946" y="347300"/>
                      <a:pt x="144249" y="347300"/>
                    </a:cubicBezTo>
                    <a:cubicBezTo>
                      <a:pt x="212257" y="347300"/>
                      <a:pt x="258539" y="292442"/>
                      <a:pt x="258539" y="220689"/>
                    </a:cubicBezTo>
                    <a:cubicBezTo>
                      <a:pt x="258539" y="148937"/>
                      <a:pt x="212257" y="93393"/>
                      <a:pt x="143763" y="93393"/>
                    </a:cubicBezTo>
                    <a:close/>
                    <a:moveTo>
                      <a:pt x="130041" y="282637"/>
                    </a:moveTo>
                    <a:cubicBezTo>
                      <a:pt x="94822" y="282637"/>
                      <a:pt x="68894" y="254136"/>
                      <a:pt x="68894" y="220718"/>
                    </a:cubicBezTo>
                    <a:cubicBezTo>
                      <a:pt x="68894" y="187300"/>
                      <a:pt x="94822" y="159285"/>
                      <a:pt x="130041" y="159285"/>
                    </a:cubicBezTo>
                    <a:cubicBezTo>
                      <a:pt x="165260" y="159285"/>
                      <a:pt x="190216" y="187300"/>
                      <a:pt x="190216" y="220718"/>
                    </a:cubicBezTo>
                    <a:cubicBezTo>
                      <a:pt x="190216" y="254136"/>
                      <a:pt x="164774" y="282637"/>
                      <a:pt x="130041" y="282637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Lato"/>
                  <a:ea typeface="Lato"/>
                  <a:cs typeface="Lato"/>
                  <a:sym typeface="Lato"/>
                </a:endParaRPr>
              </a:p>
            </p:txBody>
          </p:sp>
          <p:sp>
            <p:nvSpPr>
              <p:cNvPr id="23" name="Google Shape;23;p57"/>
              <p:cNvSpPr/>
              <p:nvPr/>
            </p:nvSpPr>
            <p:spPr>
              <a:xfrm>
                <a:off x="9736922" y="3105088"/>
                <a:ext cx="251792" cy="253935"/>
              </a:xfrm>
              <a:custGeom>
                <a:avLst/>
                <a:gdLst/>
                <a:ahLst/>
                <a:cxnLst/>
                <a:rect l="l" t="t" r="r" b="b"/>
                <a:pathLst>
                  <a:path w="251792" h="253935" extrusionOk="0">
                    <a:moveTo>
                      <a:pt x="125896" y="0"/>
                    </a:moveTo>
                    <a:cubicBezTo>
                      <a:pt x="54944" y="0"/>
                      <a:pt x="0" y="55287"/>
                      <a:pt x="0" y="126725"/>
                    </a:cubicBezTo>
                    <a:cubicBezTo>
                      <a:pt x="0" y="198163"/>
                      <a:pt x="54915" y="253936"/>
                      <a:pt x="125896" y="253936"/>
                    </a:cubicBezTo>
                    <a:cubicBezTo>
                      <a:pt x="196877" y="253936"/>
                      <a:pt x="251792" y="198163"/>
                      <a:pt x="251792" y="126725"/>
                    </a:cubicBezTo>
                    <a:cubicBezTo>
                      <a:pt x="251792" y="55287"/>
                      <a:pt x="196877" y="0"/>
                      <a:pt x="125896" y="0"/>
                    </a:cubicBezTo>
                    <a:close/>
                    <a:moveTo>
                      <a:pt x="126153" y="188558"/>
                    </a:moveTo>
                    <a:cubicBezTo>
                      <a:pt x="91506" y="188558"/>
                      <a:pt x="65378" y="160314"/>
                      <a:pt x="65378" y="126725"/>
                    </a:cubicBezTo>
                    <a:cubicBezTo>
                      <a:pt x="65378" y="93136"/>
                      <a:pt x="91506" y="65378"/>
                      <a:pt x="126153" y="65378"/>
                    </a:cubicBezTo>
                    <a:cubicBezTo>
                      <a:pt x="160801" y="65378"/>
                      <a:pt x="186443" y="93136"/>
                      <a:pt x="186443" y="126725"/>
                    </a:cubicBezTo>
                    <a:cubicBezTo>
                      <a:pt x="186443" y="160314"/>
                      <a:pt x="161315" y="188558"/>
                      <a:pt x="126153" y="188558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Lato"/>
                  <a:ea typeface="Lato"/>
                  <a:cs typeface="Lato"/>
                  <a:sym typeface="Lato"/>
                </a:endParaRPr>
              </a:p>
            </p:txBody>
          </p:sp>
          <p:sp>
            <p:nvSpPr>
              <p:cNvPr id="24" name="Google Shape;24;p57"/>
              <p:cNvSpPr/>
              <p:nvPr/>
            </p:nvSpPr>
            <p:spPr>
              <a:xfrm>
                <a:off x="10370776" y="3105088"/>
                <a:ext cx="251792" cy="253935"/>
              </a:xfrm>
              <a:custGeom>
                <a:avLst/>
                <a:gdLst/>
                <a:ahLst/>
                <a:cxnLst/>
                <a:rect l="l" t="t" r="r" b="b"/>
                <a:pathLst>
                  <a:path w="251792" h="253935" extrusionOk="0">
                    <a:moveTo>
                      <a:pt x="125896" y="0"/>
                    </a:moveTo>
                    <a:cubicBezTo>
                      <a:pt x="54944" y="0"/>
                      <a:pt x="0" y="55287"/>
                      <a:pt x="0" y="126725"/>
                    </a:cubicBezTo>
                    <a:cubicBezTo>
                      <a:pt x="0" y="198163"/>
                      <a:pt x="54915" y="253936"/>
                      <a:pt x="125896" y="253936"/>
                    </a:cubicBezTo>
                    <a:cubicBezTo>
                      <a:pt x="196877" y="253936"/>
                      <a:pt x="251792" y="198163"/>
                      <a:pt x="251792" y="126725"/>
                    </a:cubicBezTo>
                    <a:cubicBezTo>
                      <a:pt x="251792" y="55287"/>
                      <a:pt x="196877" y="0"/>
                      <a:pt x="125896" y="0"/>
                    </a:cubicBezTo>
                    <a:close/>
                    <a:moveTo>
                      <a:pt x="126153" y="188558"/>
                    </a:moveTo>
                    <a:cubicBezTo>
                      <a:pt x="91506" y="188558"/>
                      <a:pt x="65378" y="160314"/>
                      <a:pt x="65378" y="126725"/>
                    </a:cubicBezTo>
                    <a:cubicBezTo>
                      <a:pt x="65378" y="93136"/>
                      <a:pt x="91506" y="65378"/>
                      <a:pt x="126153" y="65378"/>
                    </a:cubicBezTo>
                    <a:cubicBezTo>
                      <a:pt x="160801" y="65378"/>
                      <a:pt x="186443" y="93136"/>
                      <a:pt x="186443" y="126725"/>
                    </a:cubicBezTo>
                    <a:cubicBezTo>
                      <a:pt x="186443" y="160314"/>
                      <a:pt x="161315" y="188558"/>
                      <a:pt x="126153" y="188558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Lato"/>
                  <a:ea typeface="Lato"/>
                  <a:cs typeface="Lato"/>
                  <a:sym typeface="Lato"/>
                </a:endParaRPr>
              </a:p>
            </p:txBody>
          </p:sp>
          <p:sp>
            <p:nvSpPr>
              <p:cNvPr id="25" name="Google Shape;25;p57"/>
              <p:cNvSpPr/>
              <p:nvPr/>
            </p:nvSpPr>
            <p:spPr>
              <a:xfrm>
                <a:off x="9242171" y="3110092"/>
                <a:ext cx="68865" cy="243987"/>
              </a:xfrm>
              <a:custGeom>
                <a:avLst/>
                <a:gdLst/>
                <a:ahLst/>
                <a:cxnLst/>
                <a:rect l="l" t="t" r="r" b="b"/>
                <a:pathLst>
                  <a:path w="68865" h="243987" extrusionOk="0">
                    <a:moveTo>
                      <a:pt x="62405" y="243987"/>
                    </a:moveTo>
                    <a:lnTo>
                      <a:pt x="6489" y="243987"/>
                    </a:lnTo>
                    <a:cubicBezTo>
                      <a:pt x="2916" y="243987"/>
                      <a:pt x="0" y="241071"/>
                      <a:pt x="0" y="237498"/>
                    </a:cubicBezTo>
                    <a:lnTo>
                      <a:pt x="0" y="63891"/>
                    </a:lnTo>
                    <a:cubicBezTo>
                      <a:pt x="0" y="60403"/>
                      <a:pt x="1401" y="57059"/>
                      <a:pt x="3888" y="54629"/>
                    </a:cubicBezTo>
                    <a:lnTo>
                      <a:pt x="57860" y="1858"/>
                    </a:lnTo>
                    <a:cubicBezTo>
                      <a:pt x="61976" y="-2144"/>
                      <a:pt x="68866" y="743"/>
                      <a:pt x="68866" y="6489"/>
                    </a:cubicBezTo>
                    <a:lnTo>
                      <a:pt x="68866" y="237498"/>
                    </a:lnTo>
                    <a:cubicBezTo>
                      <a:pt x="68866" y="241071"/>
                      <a:pt x="65950" y="243987"/>
                      <a:pt x="62376" y="243987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Lato"/>
                  <a:ea typeface="Lato"/>
                  <a:cs typeface="Lato"/>
                  <a:sym typeface="Lato"/>
                </a:endParaRPr>
              </a:p>
            </p:txBody>
          </p:sp>
          <p:sp>
            <p:nvSpPr>
              <p:cNvPr id="26" name="Google Shape;26;p57"/>
              <p:cNvSpPr/>
              <p:nvPr/>
            </p:nvSpPr>
            <p:spPr>
              <a:xfrm>
                <a:off x="9347255" y="3105025"/>
                <a:ext cx="224777" cy="249082"/>
              </a:xfrm>
              <a:custGeom>
                <a:avLst/>
                <a:gdLst/>
                <a:ahLst/>
                <a:cxnLst/>
                <a:rect l="l" t="t" r="r" b="b"/>
                <a:pathLst>
                  <a:path w="224777" h="249082" extrusionOk="0">
                    <a:moveTo>
                      <a:pt x="224749" y="87568"/>
                    </a:moveTo>
                    <a:cubicBezTo>
                      <a:pt x="224749" y="40257"/>
                      <a:pt x="185671" y="578"/>
                      <a:pt x="136416" y="6"/>
                    </a:cubicBezTo>
                    <a:cubicBezTo>
                      <a:pt x="104370" y="-365"/>
                      <a:pt x="82730" y="15329"/>
                      <a:pt x="68894" y="36540"/>
                    </a:cubicBezTo>
                    <a:lnTo>
                      <a:pt x="68894" y="11670"/>
                    </a:lnTo>
                    <a:cubicBezTo>
                      <a:pt x="68894" y="8097"/>
                      <a:pt x="65978" y="5181"/>
                      <a:pt x="62405" y="5181"/>
                    </a:cubicBezTo>
                    <a:lnTo>
                      <a:pt x="6489" y="5181"/>
                    </a:lnTo>
                    <a:cubicBezTo>
                      <a:pt x="2916" y="5181"/>
                      <a:pt x="0" y="8097"/>
                      <a:pt x="0" y="11670"/>
                    </a:cubicBezTo>
                    <a:lnTo>
                      <a:pt x="0" y="242565"/>
                    </a:lnTo>
                    <a:cubicBezTo>
                      <a:pt x="0" y="246138"/>
                      <a:pt x="2916" y="249054"/>
                      <a:pt x="6489" y="249054"/>
                    </a:cubicBezTo>
                    <a:lnTo>
                      <a:pt x="62405" y="249054"/>
                    </a:lnTo>
                    <a:cubicBezTo>
                      <a:pt x="65978" y="249054"/>
                      <a:pt x="68894" y="246138"/>
                      <a:pt x="68894" y="242565"/>
                    </a:cubicBezTo>
                    <a:lnTo>
                      <a:pt x="68894" y="108293"/>
                    </a:lnTo>
                    <a:cubicBezTo>
                      <a:pt x="70438" y="82451"/>
                      <a:pt x="86818" y="66385"/>
                      <a:pt x="112375" y="66385"/>
                    </a:cubicBezTo>
                    <a:cubicBezTo>
                      <a:pt x="137931" y="66385"/>
                      <a:pt x="155884" y="84423"/>
                      <a:pt x="155884" y="111266"/>
                    </a:cubicBezTo>
                    <a:lnTo>
                      <a:pt x="155884" y="242593"/>
                    </a:lnTo>
                    <a:cubicBezTo>
                      <a:pt x="155884" y="246167"/>
                      <a:pt x="158800" y="249083"/>
                      <a:pt x="162373" y="249083"/>
                    </a:cubicBezTo>
                    <a:lnTo>
                      <a:pt x="218289" y="249083"/>
                    </a:lnTo>
                    <a:cubicBezTo>
                      <a:pt x="221862" y="249083"/>
                      <a:pt x="224778" y="246167"/>
                      <a:pt x="224778" y="242593"/>
                    </a:cubicBezTo>
                    <a:lnTo>
                      <a:pt x="224778" y="87596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Lato"/>
                  <a:ea typeface="Lato"/>
                  <a:cs typeface="Lato"/>
                  <a:sym typeface="Lato"/>
                </a:endParaRPr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1AFD0DA-79EB-D880-326C-57C54AD7E49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9" y="2281370"/>
            <a:ext cx="5305856" cy="1477907"/>
          </a:xfrm>
          <a:prstGeom prst="rect">
            <a:avLst/>
          </a:prstGeom>
        </p:spPr>
        <p:txBody>
          <a:bodyPr anchor="b" anchorCtr="0"/>
          <a:lstStyle>
            <a:lvl1pPr algn="l">
              <a:defRPr sz="3800" b="1" i="0" cap="all" baseline="0">
                <a:solidFill>
                  <a:schemeClr val="tx1"/>
                </a:solidFill>
                <a:latin typeface="Lato" panose="020F0502020204030203" pitchFamily="34" charset="77"/>
              </a:defRPr>
            </a:lvl1pPr>
          </a:lstStyle>
          <a:p>
            <a:r>
              <a:rPr lang="en-US" noProof="0" dirty="0"/>
              <a:t>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5F59699-7A15-6656-3D77-D306C903F5B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3845658"/>
            <a:ext cx="5305855" cy="1406620"/>
          </a:xfrm>
          <a:prstGeom prst="rect">
            <a:avLst/>
          </a:prstGeom>
        </p:spPr>
        <p:txBody>
          <a:bodyPr anchor="t" anchorCtr="0"/>
          <a:lstStyle>
            <a:lvl1pPr marL="0" indent="0" algn="l">
              <a:buNone/>
              <a:defRPr sz="2200" b="0" i="0" cap="all" baseline="0">
                <a:solidFill>
                  <a:schemeClr val="tx1"/>
                </a:solidFill>
                <a:latin typeface="Lato" panose="020F0502020204030203" pitchFamily="34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substyle</a:t>
            </a:r>
          </a:p>
        </p:txBody>
      </p:sp>
    </p:spTree>
    <p:extLst>
      <p:ext uri="{BB962C8B-B14F-4D97-AF65-F5344CB8AC3E}">
        <p14:creationId xmlns:p14="http://schemas.microsoft.com/office/powerpoint/2010/main" val="388263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78427D0C-CE13-1C0F-BBAE-1E23242190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978" y="297451"/>
            <a:ext cx="11118522" cy="630213"/>
          </a:xfrm>
          <a:prstGeom prst="rect">
            <a:avLst/>
          </a:prstGeom>
        </p:spPr>
        <p:txBody>
          <a:bodyPr anchor="b" anchorCtr="0"/>
          <a:lstStyle>
            <a:lvl1pPr>
              <a:defRPr sz="3400" b="1" i="0" cap="all" baseline="0">
                <a:solidFill>
                  <a:schemeClr val="tx1"/>
                </a:solidFill>
                <a:latin typeface="Lato" panose="020F0502020204030203" pitchFamily="34" charset="77"/>
              </a:defRPr>
            </a:lvl1pPr>
          </a:lstStyle>
          <a:p>
            <a:r>
              <a:rPr lang="en-US" dirty="0"/>
              <a:t>Two-content styl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8CF8578C-BF09-C826-692C-5671BFD59A52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501983" y="898900"/>
            <a:ext cx="11118517" cy="397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kumimoji="0" lang="en-US" sz="2200" b="0" i="0" u="none" strike="noStrike" cap="all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Lato" panose="020F0502020204030203" pitchFamily="34" charset="77"/>
                <a:ea typeface="Roboto Slab" pitchFamily="2" charset="0"/>
                <a:cs typeface="Arial" panose="020B0604020202020204" pitchFamily="34" charset="0"/>
              </a:defRPr>
            </a:lvl1pPr>
          </a:lstStyle>
          <a:p>
            <a:pPr marL="228600" marR="0" lvl="0" indent="-22860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subtitle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8A5C5A44-842F-9985-6658-BD057F440E5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93019" y="1613099"/>
            <a:ext cx="5238143" cy="3693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>
            <a:lvl1pPr marL="0" indent="0">
              <a:defRPr kumimoji="0" lang="en-US" sz="2000" b="1" i="0" u="none" strike="noStrike" cap="none" spc="0" normalizeH="0" baseline="0" dirty="0" smtClean="0">
                <a:ln>
                  <a:noFill/>
                </a:ln>
                <a:solidFill>
                  <a:srgbClr val="00BD4D"/>
                </a:solidFill>
                <a:effectLst/>
                <a:uLnTx/>
                <a:uFillTx/>
                <a:latin typeface="Lato" panose="020F0502020204030203" pitchFamily="34" charset="77"/>
                <a:ea typeface="Roboto Slab" pitchFamily="2" charset="0"/>
                <a:cs typeface="Arial" panose="020B0604020202020204" pitchFamily="34" charset="0"/>
              </a:defRPr>
            </a:lvl1pPr>
          </a:lstStyle>
          <a:p>
            <a:pPr marR="0" lvl="0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GB"/>
              <a:t>Click to edit Master text styles</a:t>
            </a:r>
          </a:p>
        </p:txBody>
      </p:sp>
      <p:sp>
        <p:nvSpPr>
          <p:cNvPr id="48" name="Text Placeholder 29">
            <a:extLst>
              <a:ext uri="{FF2B5EF4-FFF2-40B4-BE49-F238E27FC236}">
                <a16:creationId xmlns:a16="http://schemas.microsoft.com/office/drawing/2014/main" id="{20BFCFB7-9F6F-0652-24FB-498B8694E5E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382357" y="1613099"/>
            <a:ext cx="5238143" cy="3693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>
            <a:lvl1pPr marL="0" indent="0">
              <a:defRPr kumimoji="0" lang="en-US" sz="2000" b="1" i="0" u="none" strike="noStrike" cap="none" spc="0" normalizeH="0" baseline="0" dirty="0" smtClean="0">
                <a:ln>
                  <a:noFill/>
                </a:ln>
                <a:solidFill>
                  <a:srgbClr val="00BD4D"/>
                </a:solidFill>
                <a:effectLst/>
                <a:uLnTx/>
                <a:uFillTx/>
                <a:latin typeface="Lato" panose="020F0502020204030203" pitchFamily="34" charset="77"/>
                <a:ea typeface="Roboto Slab" pitchFamily="2" charset="0"/>
                <a:cs typeface="Arial" panose="020B0604020202020204" pitchFamily="34" charset="0"/>
              </a:defRPr>
            </a:lvl1pPr>
          </a:lstStyle>
          <a:p>
            <a:pPr marR="0" lvl="0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GB"/>
              <a:t>Click to edit Master text styles</a:t>
            </a:r>
          </a:p>
        </p:txBody>
      </p:sp>
      <p:sp>
        <p:nvSpPr>
          <p:cNvPr id="52" name="Text Placeholder 51">
            <a:extLst>
              <a:ext uri="{FF2B5EF4-FFF2-40B4-BE49-F238E27FC236}">
                <a16:creationId xmlns:a16="http://schemas.microsoft.com/office/drawing/2014/main" id="{6A9509F0-32F2-EA8D-F8E6-3ADD1C6A0BF5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93725" y="2265415"/>
            <a:ext cx="5260975" cy="3482065"/>
          </a:xfrm>
          <a:prstGeom prst="rect">
            <a:avLst/>
          </a:prstGeom>
        </p:spPr>
        <p:txBody>
          <a:bodyPr/>
          <a:lstStyle>
            <a:lvl1pPr marL="180000" indent="-180000">
              <a:spcBef>
                <a:spcPts val="1000"/>
              </a:spcBef>
              <a:buClr>
                <a:srgbClr val="00BD4D"/>
              </a:buClr>
              <a:defRPr sz="1600" b="0" i="0">
                <a:solidFill>
                  <a:schemeClr val="tx1"/>
                </a:solidFill>
                <a:latin typeface="Lato" panose="020F0502020204030203" pitchFamily="34" charset="77"/>
              </a:defRPr>
            </a:lvl1pPr>
            <a:lvl2pPr marL="360000" indent="-180000">
              <a:spcBef>
                <a:spcPts val="1000"/>
              </a:spcBef>
              <a:buClr>
                <a:srgbClr val="00BD4D"/>
              </a:buClr>
              <a:defRPr sz="1400" b="0" i="0">
                <a:solidFill>
                  <a:schemeClr val="tx1"/>
                </a:solidFill>
                <a:latin typeface="Lato" panose="020F0502020204030203" pitchFamily="34" charset="77"/>
              </a:defRPr>
            </a:lvl2pPr>
            <a:lvl3pPr marL="540000" indent="-180000">
              <a:spcBef>
                <a:spcPts val="1000"/>
              </a:spcBef>
              <a:buClr>
                <a:srgbClr val="00BD4D"/>
              </a:buClr>
              <a:defRPr sz="1200" b="0" i="0">
                <a:solidFill>
                  <a:schemeClr val="tx1"/>
                </a:solidFill>
                <a:latin typeface="Lato" panose="020F0502020204030203" pitchFamily="34" charset="77"/>
              </a:defRPr>
            </a:lvl3pPr>
            <a:lvl4pPr marL="720000" indent="-180000">
              <a:spcBef>
                <a:spcPts val="1000"/>
              </a:spcBef>
              <a:buClr>
                <a:srgbClr val="00BD4D"/>
              </a:buClr>
              <a:defRPr sz="1100" b="0" i="0">
                <a:solidFill>
                  <a:schemeClr val="tx1"/>
                </a:solidFill>
                <a:latin typeface="Lato" panose="020F0502020204030203" pitchFamily="34" charset="77"/>
              </a:defRPr>
            </a:lvl4pPr>
            <a:lvl5pPr marL="900000" indent="-180000">
              <a:spcBef>
                <a:spcPts val="1000"/>
              </a:spcBef>
              <a:buClr>
                <a:srgbClr val="00BD4D"/>
              </a:buClr>
              <a:defRPr sz="1100" b="0" i="0">
                <a:solidFill>
                  <a:schemeClr val="tx1"/>
                </a:solidFill>
                <a:latin typeface="Lato" panose="020F0502020204030203" pitchFamily="34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3" name="Text Placeholder 51">
            <a:extLst>
              <a:ext uri="{FF2B5EF4-FFF2-40B4-BE49-F238E27FC236}">
                <a16:creationId xmlns:a16="http://schemas.microsoft.com/office/drawing/2014/main" id="{C3A990FB-F65E-00DD-EEFB-91F609FAC2A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382357" y="2265415"/>
            <a:ext cx="5260975" cy="3482065"/>
          </a:xfrm>
          <a:prstGeom prst="rect">
            <a:avLst/>
          </a:prstGeom>
        </p:spPr>
        <p:txBody>
          <a:bodyPr/>
          <a:lstStyle>
            <a:lvl1pPr marL="180000" indent="-180000">
              <a:spcBef>
                <a:spcPts val="1000"/>
              </a:spcBef>
              <a:buClr>
                <a:srgbClr val="00BD4D"/>
              </a:buClr>
              <a:defRPr sz="1600" b="0" i="0">
                <a:solidFill>
                  <a:schemeClr val="tx1"/>
                </a:solidFill>
                <a:latin typeface="Lato" panose="020F0502020204030203" pitchFamily="34" charset="77"/>
              </a:defRPr>
            </a:lvl1pPr>
            <a:lvl2pPr marL="360000" indent="-180000">
              <a:spcBef>
                <a:spcPts val="1000"/>
              </a:spcBef>
              <a:buClr>
                <a:srgbClr val="00BD4D"/>
              </a:buClr>
              <a:defRPr sz="1400" b="0" i="0">
                <a:solidFill>
                  <a:schemeClr val="tx1"/>
                </a:solidFill>
                <a:latin typeface="Lato" panose="020F0502020204030203" pitchFamily="34" charset="77"/>
              </a:defRPr>
            </a:lvl2pPr>
            <a:lvl3pPr marL="540000" indent="-180000">
              <a:spcBef>
                <a:spcPts val="1000"/>
              </a:spcBef>
              <a:buClr>
                <a:srgbClr val="00BD4D"/>
              </a:buClr>
              <a:defRPr sz="1200" b="0" i="0">
                <a:solidFill>
                  <a:schemeClr val="tx1"/>
                </a:solidFill>
                <a:latin typeface="Lato" panose="020F0502020204030203" pitchFamily="34" charset="77"/>
              </a:defRPr>
            </a:lvl3pPr>
            <a:lvl4pPr marL="720000" indent="-180000">
              <a:spcBef>
                <a:spcPts val="1000"/>
              </a:spcBef>
              <a:buClr>
                <a:srgbClr val="00BD4D"/>
              </a:buClr>
              <a:defRPr sz="1100" b="0" i="0">
                <a:solidFill>
                  <a:schemeClr val="tx1"/>
                </a:solidFill>
                <a:latin typeface="Lato" panose="020F0502020204030203" pitchFamily="34" charset="77"/>
              </a:defRPr>
            </a:lvl4pPr>
            <a:lvl5pPr marL="900000" indent="-180000">
              <a:spcBef>
                <a:spcPts val="1000"/>
              </a:spcBef>
              <a:buClr>
                <a:srgbClr val="00BD4D"/>
              </a:buClr>
              <a:defRPr sz="1100" b="0" i="0">
                <a:solidFill>
                  <a:schemeClr val="tx1"/>
                </a:solidFill>
                <a:latin typeface="Lato" panose="020F0502020204030203" pitchFamily="34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2BD04C7-2A55-B2E6-64AB-E19D33953B7A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1122821" y="6467484"/>
            <a:ext cx="799740" cy="170885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4E6B8AAC-0C7F-5782-D48F-69D9248CAF9D}"/>
              </a:ext>
            </a:extLst>
          </p:cNvPr>
          <p:cNvPicPr preferRelativeResize="0"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310" y="2013260"/>
            <a:ext cx="5178502" cy="2743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8A341BF-E571-74C9-72A7-FD2A4988F886}"/>
              </a:ext>
            </a:extLst>
          </p:cNvPr>
          <p:cNvPicPr preferRelativeResize="0"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27405" y="2013260"/>
            <a:ext cx="5178502" cy="27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226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-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78427D0C-CE13-1C0F-BBAE-1E23242190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978" y="297451"/>
            <a:ext cx="11118522" cy="630213"/>
          </a:xfrm>
          <a:prstGeom prst="rect">
            <a:avLst/>
          </a:prstGeom>
        </p:spPr>
        <p:txBody>
          <a:bodyPr anchor="b" anchorCtr="0"/>
          <a:lstStyle>
            <a:lvl1pPr>
              <a:defRPr sz="3400" b="1" i="0" cap="all" baseline="0">
                <a:solidFill>
                  <a:schemeClr val="tx1"/>
                </a:solidFill>
                <a:latin typeface="Lato" panose="020F0502020204030203" pitchFamily="34" charset="77"/>
              </a:defRPr>
            </a:lvl1pPr>
          </a:lstStyle>
          <a:p>
            <a:r>
              <a:rPr lang="en-US" dirty="0"/>
              <a:t>title styl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8CF8578C-BF09-C826-692C-5671BFD59A52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501983" y="898900"/>
            <a:ext cx="11118517" cy="397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kumimoji="0" lang="en-US" sz="2200" b="0" i="0" u="none" strike="noStrike" cap="all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Lato" panose="020F0502020204030203" pitchFamily="34" charset="77"/>
                <a:ea typeface="Roboto Slab" pitchFamily="2" charset="0"/>
                <a:cs typeface="Arial" panose="020B0604020202020204" pitchFamily="34" charset="0"/>
              </a:defRPr>
            </a:lvl1pPr>
          </a:lstStyle>
          <a:p>
            <a:pPr marL="228600" marR="0" lvl="0" indent="-22860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subtitle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8A5C5A44-842F-9985-6658-BD057F440E5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93020" y="1737132"/>
            <a:ext cx="33163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kumimoji="0" lang="en-US" sz="2000" b="1" i="0" u="none" strike="noStrike" cap="none" spc="0" normalizeH="0" baseline="0" dirty="0" smtClean="0">
                <a:ln>
                  <a:noFill/>
                </a:ln>
                <a:solidFill>
                  <a:srgbClr val="00BD4D"/>
                </a:solidFill>
                <a:effectLst/>
                <a:uLnTx/>
                <a:uFillTx/>
                <a:latin typeface="Lato" panose="020F0502020204030203" pitchFamily="34" charset="77"/>
                <a:ea typeface="Roboto Slab" pitchFamily="2" charset="0"/>
                <a:cs typeface="Arial" panose="020B0604020202020204" pitchFamily="34" charset="0"/>
              </a:defRPr>
            </a:lvl1pPr>
          </a:lstStyle>
          <a:p>
            <a:pPr marR="0" lvl="0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GB"/>
              <a:t>Click to edit Master text styles</a:t>
            </a:r>
          </a:p>
        </p:txBody>
      </p:sp>
      <p:sp>
        <p:nvSpPr>
          <p:cNvPr id="43" name="Text Placeholder 29">
            <a:extLst>
              <a:ext uri="{FF2B5EF4-FFF2-40B4-BE49-F238E27FC236}">
                <a16:creationId xmlns:a16="http://schemas.microsoft.com/office/drawing/2014/main" id="{2F93E573-022A-A987-6FB2-168797A7862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41120" y="1737132"/>
            <a:ext cx="33163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kumimoji="0" lang="en-US" sz="2000" b="1" i="0" u="none" strike="noStrike" cap="none" spc="0" normalizeH="0" baseline="0" dirty="0" smtClean="0">
                <a:ln>
                  <a:noFill/>
                </a:ln>
                <a:solidFill>
                  <a:srgbClr val="00BD4D"/>
                </a:solidFill>
                <a:effectLst/>
                <a:uLnTx/>
                <a:uFillTx/>
                <a:latin typeface="Lato" panose="020F0502020204030203" pitchFamily="34" charset="77"/>
                <a:ea typeface="Roboto Slab" pitchFamily="2" charset="0"/>
                <a:cs typeface="Arial" panose="020B0604020202020204" pitchFamily="34" charset="0"/>
              </a:defRPr>
            </a:lvl1pPr>
          </a:lstStyle>
          <a:p>
            <a:pPr marR="0" lvl="0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GB"/>
              <a:t>Click to edit Master text styles</a:t>
            </a:r>
          </a:p>
        </p:txBody>
      </p:sp>
      <p:sp>
        <p:nvSpPr>
          <p:cNvPr id="45" name="Text Placeholder 29">
            <a:extLst>
              <a:ext uri="{FF2B5EF4-FFF2-40B4-BE49-F238E27FC236}">
                <a16:creationId xmlns:a16="http://schemas.microsoft.com/office/drawing/2014/main" id="{A907B3DE-23B9-9CD0-AED6-40DF175B462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289220" y="1737132"/>
            <a:ext cx="33163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kumimoji="0" lang="en-US" sz="2000" b="1" i="0" u="none" strike="noStrike" cap="none" spc="0" normalizeH="0" baseline="0" dirty="0" smtClean="0">
                <a:ln>
                  <a:noFill/>
                </a:ln>
                <a:solidFill>
                  <a:srgbClr val="00BD4D"/>
                </a:solidFill>
                <a:effectLst/>
                <a:uLnTx/>
                <a:uFillTx/>
                <a:latin typeface="Lato" panose="020F0502020204030203" pitchFamily="34" charset="77"/>
                <a:ea typeface="Roboto Slab" pitchFamily="2" charset="0"/>
                <a:cs typeface="Arial" panose="020B0604020202020204" pitchFamily="34" charset="0"/>
              </a:defRPr>
            </a:lvl1pPr>
          </a:lstStyle>
          <a:p>
            <a:pPr marR="0" lvl="0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GB"/>
              <a:t>Click to edit Master text styles</a:t>
            </a:r>
          </a:p>
        </p:txBody>
      </p:sp>
      <p:sp>
        <p:nvSpPr>
          <p:cNvPr id="3" name="Text Placeholder 51">
            <a:extLst>
              <a:ext uri="{FF2B5EF4-FFF2-40B4-BE49-F238E27FC236}">
                <a16:creationId xmlns:a16="http://schemas.microsoft.com/office/drawing/2014/main" id="{BBE8C605-E753-3694-0907-76605066CF0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93725" y="2666447"/>
            <a:ext cx="3330575" cy="3482065"/>
          </a:xfrm>
          <a:prstGeom prst="rect">
            <a:avLst/>
          </a:prstGeom>
        </p:spPr>
        <p:txBody>
          <a:bodyPr/>
          <a:lstStyle>
            <a:lvl1pPr marL="180000" indent="-180000">
              <a:spcBef>
                <a:spcPts val="1000"/>
              </a:spcBef>
              <a:buClr>
                <a:srgbClr val="00BD4D"/>
              </a:buClr>
              <a:defRPr sz="1600" b="0" i="0">
                <a:solidFill>
                  <a:schemeClr val="tx1"/>
                </a:solidFill>
                <a:latin typeface="Lato" panose="020F0502020204030203" pitchFamily="34" charset="77"/>
              </a:defRPr>
            </a:lvl1pPr>
            <a:lvl2pPr marL="360000" indent="-180000">
              <a:spcBef>
                <a:spcPts val="1000"/>
              </a:spcBef>
              <a:buClr>
                <a:srgbClr val="00BD4D"/>
              </a:buClr>
              <a:defRPr sz="1400" b="0" i="0">
                <a:solidFill>
                  <a:schemeClr val="tx1"/>
                </a:solidFill>
                <a:latin typeface="Lato" panose="020F0502020204030203" pitchFamily="34" charset="77"/>
              </a:defRPr>
            </a:lvl2pPr>
            <a:lvl3pPr marL="540000" indent="-180000">
              <a:spcBef>
                <a:spcPts val="1000"/>
              </a:spcBef>
              <a:buClr>
                <a:srgbClr val="00BD4D"/>
              </a:buClr>
              <a:defRPr sz="1200" b="0" i="0">
                <a:solidFill>
                  <a:schemeClr val="tx1"/>
                </a:solidFill>
                <a:latin typeface="Lato" panose="020F0502020204030203" pitchFamily="34" charset="77"/>
              </a:defRPr>
            </a:lvl3pPr>
            <a:lvl4pPr marL="720000" indent="-180000">
              <a:spcBef>
                <a:spcPts val="1000"/>
              </a:spcBef>
              <a:buClr>
                <a:srgbClr val="00BD4D"/>
              </a:buClr>
              <a:defRPr sz="1100" b="0" i="0">
                <a:solidFill>
                  <a:schemeClr val="tx1"/>
                </a:solidFill>
                <a:latin typeface="Lato" panose="020F0502020204030203" pitchFamily="34" charset="77"/>
              </a:defRPr>
            </a:lvl4pPr>
            <a:lvl5pPr marL="900000" indent="-180000">
              <a:spcBef>
                <a:spcPts val="1000"/>
              </a:spcBef>
              <a:buClr>
                <a:srgbClr val="00BD4D"/>
              </a:buClr>
              <a:defRPr sz="1100" b="0" i="0">
                <a:solidFill>
                  <a:schemeClr val="tx1"/>
                </a:solidFill>
                <a:latin typeface="Lato" panose="020F0502020204030203" pitchFamily="34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2" name="Text Placeholder 51">
            <a:extLst>
              <a:ext uri="{FF2B5EF4-FFF2-40B4-BE49-F238E27FC236}">
                <a16:creationId xmlns:a16="http://schemas.microsoft.com/office/drawing/2014/main" id="{6B3F67CE-AEB6-1CAA-36BD-3F88CD3560A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4441120" y="2666447"/>
            <a:ext cx="3330575" cy="3482065"/>
          </a:xfrm>
          <a:prstGeom prst="rect">
            <a:avLst/>
          </a:prstGeom>
        </p:spPr>
        <p:txBody>
          <a:bodyPr/>
          <a:lstStyle>
            <a:lvl1pPr marL="180000" indent="-180000">
              <a:spcBef>
                <a:spcPts val="1000"/>
              </a:spcBef>
              <a:buClr>
                <a:srgbClr val="00BD4D"/>
              </a:buClr>
              <a:defRPr sz="1600" b="0" i="0">
                <a:solidFill>
                  <a:schemeClr val="tx1"/>
                </a:solidFill>
                <a:latin typeface="Lato" panose="020F0502020204030203" pitchFamily="34" charset="77"/>
              </a:defRPr>
            </a:lvl1pPr>
            <a:lvl2pPr marL="360000" indent="-180000">
              <a:spcBef>
                <a:spcPts val="1000"/>
              </a:spcBef>
              <a:buClr>
                <a:srgbClr val="00BD4D"/>
              </a:buClr>
              <a:defRPr sz="1400" b="0" i="0">
                <a:solidFill>
                  <a:schemeClr val="tx1"/>
                </a:solidFill>
                <a:latin typeface="Lato" panose="020F0502020204030203" pitchFamily="34" charset="77"/>
              </a:defRPr>
            </a:lvl2pPr>
            <a:lvl3pPr marL="540000" indent="-180000">
              <a:spcBef>
                <a:spcPts val="1000"/>
              </a:spcBef>
              <a:buClr>
                <a:srgbClr val="00BD4D"/>
              </a:buClr>
              <a:defRPr sz="1200" b="0" i="0">
                <a:solidFill>
                  <a:schemeClr val="tx1"/>
                </a:solidFill>
                <a:latin typeface="Lato" panose="020F0502020204030203" pitchFamily="34" charset="77"/>
              </a:defRPr>
            </a:lvl3pPr>
            <a:lvl4pPr marL="720000" indent="-180000">
              <a:spcBef>
                <a:spcPts val="1000"/>
              </a:spcBef>
              <a:buClr>
                <a:srgbClr val="00BD4D"/>
              </a:buClr>
              <a:defRPr sz="1100" b="0" i="0">
                <a:solidFill>
                  <a:schemeClr val="tx1"/>
                </a:solidFill>
                <a:latin typeface="Lato" panose="020F0502020204030203" pitchFamily="34" charset="77"/>
              </a:defRPr>
            </a:lvl4pPr>
            <a:lvl5pPr marL="900000" indent="-180000">
              <a:spcBef>
                <a:spcPts val="1000"/>
              </a:spcBef>
              <a:buClr>
                <a:srgbClr val="00BD4D"/>
              </a:buClr>
              <a:defRPr sz="1100" b="0" i="0">
                <a:solidFill>
                  <a:schemeClr val="tx1"/>
                </a:solidFill>
                <a:latin typeface="Lato" panose="020F0502020204030203" pitchFamily="34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3" name="Text Placeholder 51">
            <a:extLst>
              <a:ext uri="{FF2B5EF4-FFF2-40B4-BE49-F238E27FC236}">
                <a16:creationId xmlns:a16="http://schemas.microsoft.com/office/drawing/2014/main" id="{63276AC1-1D57-7482-3223-0B18E6D480C6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8289220" y="2666447"/>
            <a:ext cx="3330575" cy="3482065"/>
          </a:xfrm>
          <a:prstGeom prst="rect">
            <a:avLst/>
          </a:prstGeom>
        </p:spPr>
        <p:txBody>
          <a:bodyPr/>
          <a:lstStyle>
            <a:lvl1pPr marL="180000" indent="-180000">
              <a:spcBef>
                <a:spcPts val="1000"/>
              </a:spcBef>
              <a:buClr>
                <a:srgbClr val="00BD4D"/>
              </a:buClr>
              <a:defRPr sz="1600" b="0" i="0">
                <a:solidFill>
                  <a:schemeClr val="tx1"/>
                </a:solidFill>
                <a:latin typeface="Lato" panose="020F0502020204030203" pitchFamily="34" charset="77"/>
              </a:defRPr>
            </a:lvl1pPr>
            <a:lvl2pPr marL="360000" indent="-180000">
              <a:spcBef>
                <a:spcPts val="1000"/>
              </a:spcBef>
              <a:buClr>
                <a:srgbClr val="00BD4D"/>
              </a:buClr>
              <a:defRPr sz="1400" b="0" i="0">
                <a:solidFill>
                  <a:schemeClr val="tx1"/>
                </a:solidFill>
                <a:latin typeface="Lato" panose="020F0502020204030203" pitchFamily="34" charset="77"/>
              </a:defRPr>
            </a:lvl2pPr>
            <a:lvl3pPr marL="540000" indent="-180000">
              <a:spcBef>
                <a:spcPts val="1000"/>
              </a:spcBef>
              <a:buClr>
                <a:srgbClr val="00BD4D"/>
              </a:buClr>
              <a:defRPr sz="1200" b="0" i="0">
                <a:solidFill>
                  <a:schemeClr val="tx1"/>
                </a:solidFill>
                <a:latin typeface="Lato" panose="020F0502020204030203" pitchFamily="34" charset="77"/>
              </a:defRPr>
            </a:lvl3pPr>
            <a:lvl4pPr marL="720000" indent="-180000">
              <a:spcBef>
                <a:spcPts val="1000"/>
              </a:spcBef>
              <a:buClr>
                <a:srgbClr val="00BD4D"/>
              </a:buClr>
              <a:defRPr sz="1100" b="0" i="0">
                <a:solidFill>
                  <a:schemeClr val="tx1"/>
                </a:solidFill>
                <a:latin typeface="Lato" panose="020F0502020204030203" pitchFamily="34" charset="77"/>
              </a:defRPr>
            </a:lvl4pPr>
            <a:lvl5pPr marL="900000" indent="-180000">
              <a:spcBef>
                <a:spcPts val="1000"/>
              </a:spcBef>
              <a:buClr>
                <a:srgbClr val="00BD4D"/>
              </a:buClr>
              <a:defRPr sz="1100" b="0" i="0">
                <a:solidFill>
                  <a:schemeClr val="tx1"/>
                </a:solidFill>
                <a:latin typeface="Lato" panose="020F0502020204030203" pitchFamily="34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F5E62D2F-3120-4FA3-9E6E-C52165CFA99D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1122821" y="6467484"/>
            <a:ext cx="799740" cy="170885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E0B326BF-75AC-549E-C82A-EE1A0DD28984}"/>
              </a:ext>
            </a:extLst>
          </p:cNvPr>
          <p:cNvPicPr preferRelativeResize="0"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635840" y="2418816"/>
            <a:ext cx="3287756" cy="2743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3357EDA-C4FC-4047-1AA9-DADCC3019B02}"/>
              </a:ext>
            </a:extLst>
          </p:cNvPr>
          <p:cNvPicPr preferRelativeResize="0"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4440089" y="2418816"/>
            <a:ext cx="3287756" cy="274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B02393D-933A-F99B-9FCB-71B5E1CC7F8B}"/>
              </a:ext>
            </a:extLst>
          </p:cNvPr>
          <p:cNvPicPr preferRelativeResize="0"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8287470" y="2418816"/>
            <a:ext cx="3287756" cy="27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4133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-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78427D0C-CE13-1C0F-BBAE-1E23242190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978" y="297451"/>
            <a:ext cx="11118522" cy="630213"/>
          </a:xfrm>
          <a:prstGeom prst="rect">
            <a:avLst/>
          </a:prstGeom>
        </p:spPr>
        <p:txBody>
          <a:bodyPr anchor="b" anchorCtr="0"/>
          <a:lstStyle>
            <a:lvl1pPr>
              <a:defRPr sz="3400" b="1" i="0" cap="all" baseline="0">
                <a:solidFill>
                  <a:schemeClr val="tx1"/>
                </a:solidFill>
                <a:latin typeface="Lato" panose="020F0502020204030203" pitchFamily="34" charset="77"/>
              </a:defRPr>
            </a:lvl1pPr>
          </a:lstStyle>
          <a:p>
            <a:r>
              <a:rPr lang="en-US" dirty="0"/>
              <a:t>title styl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8CF8578C-BF09-C826-692C-5671BFD59A52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501983" y="898900"/>
            <a:ext cx="11118517" cy="397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kumimoji="0" lang="en-US" sz="2200" b="0" i="0" u="none" strike="noStrike" cap="all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Lato" panose="020F0502020204030203" pitchFamily="34" charset="77"/>
                <a:ea typeface="Roboto Slab" pitchFamily="2" charset="0"/>
                <a:cs typeface="Arial" panose="020B0604020202020204" pitchFamily="34" charset="0"/>
              </a:defRPr>
            </a:lvl1pPr>
          </a:lstStyle>
          <a:p>
            <a:pPr marL="228600" marR="0" lvl="0" indent="-22860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subtitle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8A5C5A44-842F-9985-6658-BD057F440E5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93021" y="1716856"/>
            <a:ext cx="2456641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kumimoji="0" lang="en-US" sz="1800" b="1" i="0" u="none" strike="noStrike" cap="none" spc="0" normalizeH="0" baseline="0" dirty="0" smtClean="0">
                <a:ln>
                  <a:noFill/>
                </a:ln>
                <a:solidFill>
                  <a:srgbClr val="00BD4D"/>
                </a:solidFill>
                <a:effectLst/>
                <a:uLnTx/>
                <a:uFillTx/>
                <a:latin typeface="Lato" panose="020F0502020204030203" pitchFamily="34" charset="77"/>
                <a:ea typeface="Roboto Slab" pitchFamily="2" charset="0"/>
                <a:cs typeface="Arial" panose="020B0604020202020204" pitchFamily="34" charset="0"/>
              </a:defRPr>
            </a:lvl1pPr>
          </a:lstStyle>
          <a:p>
            <a:pPr marR="0" lvl="0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GB"/>
              <a:t>Click to edit Master text styles</a:t>
            </a:r>
          </a:p>
        </p:txBody>
      </p:sp>
      <p:sp>
        <p:nvSpPr>
          <p:cNvPr id="25" name="Text Placeholder 29">
            <a:extLst>
              <a:ext uri="{FF2B5EF4-FFF2-40B4-BE49-F238E27FC236}">
                <a16:creationId xmlns:a16="http://schemas.microsoft.com/office/drawing/2014/main" id="{91E5C4EF-6018-4C81-BE19-870C28B1A707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446288" y="1716856"/>
            <a:ext cx="2456641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kumimoji="0" lang="en-US" sz="1800" b="1" i="0" u="none" strike="noStrike" cap="none" spc="0" normalizeH="0" baseline="0" dirty="0" smtClean="0">
                <a:ln>
                  <a:noFill/>
                </a:ln>
                <a:solidFill>
                  <a:srgbClr val="00BD4D"/>
                </a:solidFill>
                <a:effectLst/>
                <a:uLnTx/>
                <a:uFillTx/>
                <a:latin typeface="Lato" panose="020F0502020204030203" pitchFamily="34" charset="77"/>
                <a:ea typeface="Roboto Slab" pitchFamily="2" charset="0"/>
                <a:cs typeface="Arial" panose="020B0604020202020204" pitchFamily="34" charset="0"/>
              </a:defRPr>
            </a:lvl1pPr>
          </a:lstStyle>
          <a:p>
            <a:pPr marR="0" lvl="0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GB"/>
              <a:t>Click to edit Master text styles</a:t>
            </a:r>
          </a:p>
        </p:txBody>
      </p:sp>
      <p:sp>
        <p:nvSpPr>
          <p:cNvPr id="29" name="Text Placeholder 29">
            <a:extLst>
              <a:ext uri="{FF2B5EF4-FFF2-40B4-BE49-F238E27FC236}">
                <a16:creationId xmlns:a16="http://schemas.microsoft.com/office/drawing/2014/main" id="{7A49FCBD-FA23-C0D1-2B21-8D2EC09D1F5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299555" y="1716856"/>
            <a:ext cx="2456641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kumimoji="0" lang="en-US" sz="1800" b="1" i="0" u="none" strike="noStrike" cap="none" spc="0" normalizeH="0" baseline="0" dirty="0" smtClean="0">
                <a:ln>
                  <a:noFill/>
                </a:ln>
                <a:solidFill>
                  <a:srgbClr val="00BD4D"/>
                </a:solidFill>
                <a:effectLst/>
                <a:uLnTx/>
                <a:uFillTx/>
                <a:latin typeface="Lato" panose="020F0502020204030203" pitchFamily="34" charset="77"/>
                <a:ea typeface="Roboto Slab" pitchFamily="2" charset="0"/>
                <a:cs typeface="Arial" panose="020B0604020202020204" pitchFamily="34" charset="0"/>
              </a:defRPr>
            </a:lvl1pPr>
          </a:lstStyle>
          <a:p>
            <a:pPr marR="0" lvl="0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GB"/>
              <a:t>Click to edit Master text styles</a:t>
            </a:r>
          </a:p>
        </p:txBody>
      </p:sp>
      <p:sp>
        <p:nvSpPr>
          <p:cNvPr id="34" name="Text Placeholder 29">
            <a:extLst>
              <a:ext uri="{FF2B5EF4-FFF2-40B4-BE49-F238E27FC236}">
                <a16:creationId xmlns:a16="http://schemas.microsoft.com/office/drawing/2014/main" id="{AB9A657F-6338-BD84-AE3D-13CA6614A77F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152821" y="1716856"/>
            <a:ext cx="2456641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kumimoji="0" lang="en-US" sz="1800" b="1" i="0" u="none" strike="noStrike" cap="none" spc="0" normalizeH="0" baseline="0" dirty="0" smtClean="0">
                <a:ln>
                  <a:noFill/>
                </a:ln>
                <a:solidFill>
                  <a:srgbClr val="00BD4D"/>
                </a:solidFill>
                <a:effectLst/>
                <a:uLnTx/>
                <a:uFillTx/>
                <a:latin typeface="Lato" panose="020F0502020204030203" pitchFamily="34" charset="77"/>
                <a:ea typeface="Roboto Slab" pitchFamily="2" charset="0"/>
                <a:cs typeface="Arial" panose="020B0604020202020204" pitchFamily="34" charset="0"/>
              </a:defRPr>
            </a:lvl1pPr>
          </a:lstStyle>
          <a:p>
            <a:pPr marR="0" lvl="0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GB"/>
              <a:t>Click to edit Master text styles</a:t>
            </a:r>
          </a:p>
        </p:txBody>
      </p:sp>
      <p:sp>
        <p:nvSpPr>
          <p:cNvPr id="37" name="Text Placeholder 51">
            <a:extLst>
              <a:ext uri="{FF2B5EF4-FFF2-40B4-BE49-F238E27FC236}">
                <a16:creationId xmlns:a16="http://schemas.microsoft.com/office/drawing/2014/main" id="{665846B6-A0C0-7EFD-2714-37EC0D3A935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93725" y="2646171"/>
            <a:ext cx="2479675" cy="3482065"/>
          </a:xfrm>
          <a:prstGeom prst="rect">
            <a:avLst/>
          </a:prstGeom>
        </p:spPr>
        <p:txBody>
          <a:bodyPr/>
          <a:lstStyle>
            <a:lvl1pPr marL="180000" indent="-180000">
              <a:spcBef>
                <a:spcPts val="1000"/>
              </a:spcBef>
              <a:buClr>
                <a:srgbClr val="00BD4D"/>
              </a:buClr>
              <a:defRPr sz="1600" b="0" i="0">
                <a:solidFill>
                  <a:schemeClr val="tx1"/>
                </a:solidFill>
                <a:latin typeface="Lato" panose="020F0502020204030203" pitchFamily="34" charset="77"/>
              </a:defRPr>
            </a:lvl1pPr>
            <a:lvl2pPr marL="360000" indent="-180000">
              <a:spcBef>
                <a:spcPts val="1000"/>
              </a:spcBef>
              <a:buClr>
                <a:srgbClr val="00BD4D"/>
              </a:buClr>
              <a:defRPr sz="1400" b="0" i="0">
                <a:solidFill>
                  <a:schemeClr val="tx1"/>
                </a:solidFill>
                <a:latin typeface="Lato" panose="020F0502020204030203" pitchFamily="34" charset="77"/>
              </a:defRPr>
            </a:lvl2pPr>
            <a:lvl3pPr marL="540000" indent="-180000">
              <a:spcBef>
                <a:spcPts val="1000"/>
              </a:spcBef>
              <a:buClr>
                <a:srgbClr val="00BD4D"/>
              </a:buClr>
              <a:defRPr sz="1200" b="0" i="0">
                <a:solidFill>
                  <a:schemeClr val="tx1"/>
                </a:solidFill>
                <a:latin typeface="Lato" panose="020F0502020204030203" pitchFamily="34" charset="77"/>
              </a:defRPr>
            </a:lvl3pPr>
            <a:lvl4pPr marL="720000" indent="-180000">
              <a:spcBef>
                <a:spcPts val="1000"/>
              </a:spcBef>
              <a:buClr>
                <a:srgbClr val="00BD4D"/>
              </a:buClr>
              <a:defRPr sz="1100" b="0" i="0">
                <a:solidFill>
                  <a:schemeClr val="tx1"/>
                </a:solidFill>
                <a:latin typeface="Lato" panose="020F0502020204030203" pitchFamily="34" charset="77"/>
              </a:defRPr>
            </a:lvl4pPr>
            <a:lvl5pPr marL="900000" indent="-180000">
              <a:spcBef>
                <a:spcPts val="1000"/>
              </a:spcBef>
              <a:buClr>
                <a:srgbClr val="00BD4D"/>
              </a:buClr>
              <a:defRPr sz="1100" b="0" i="0">
                <a:solidFill>
                  <a:schemeClr val="tx1"/>
                </a:solidFill>
                <a:latin typeface="Lato" panose="020F0502020204030203" pitchFamily="34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38" name="Text Placeholder 51">
            <a:extLst>
              <a:ext uri="{FF2B5EF4-FFF2-40B4-BE49-F238E27FC236}">
                <a16:creationId xmlns:a16="http://schemas.microsoft.com/office/drawing/2014/main" id="{5389ED91-8761-D9A5-467F-694A9BCE78D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446288" y="2646171"/>
            <a:ext cx="2479675" cy="3482065"/>
          </a:xfrm>
          <a:prstGeom prst="rect">
            <a:avLst/>
          </a:prstGeom>
        </p:spPr>
        <p:txBody>
          <a:bodyPr/>
          <a:lstStyle>
            <a:lvl1pPr marL="180000" indent="-180000">
              <a:spcBef>
                <a:spcPts val="1000"/>
              </a:spcBef>
              <a:buClr>
                <a:srgbClr val="00BD4D"/>
              </a:buClr>
              <a:defRPr sz="1600" b="0" i="0">
                <a:solidFill>
                  <a:schemeClr val="tx1"/>
                </a:solidFill>
                <a:latin typeface="Lato" panose="020F0502020204030203" pitchFamily="34" charset="77"/>
              </a:defRPr>
            </a:lvl1pPr>
            <a:lvl2pPr marL="360000" indent="-180000">
              <a:spcBef>
                <a:spcPts val="1000"/>
              </a:spcBef>
              <a:buClr>
                <a:srgbClr val="00BD4D"/>
              </a:buClr>
              <a:defRPr sz="1400" b="0" i="0">
                <a:solidFill>
                  <a:schemeClr val="tx1"/>
                </a:solidFill>
                <a:latin typeface="Lato" panose="020F0502020204030203" pitchFamily="34" charset="77"/>
              </a:defRPr>
            </a:lvl2pPr>
            <a:lvl3pPr marL="540000" indent="-180000">
              <a:spcBef>
                <a:spcPts val="1000"/>
              </a:spcBef>
              <a:buClr>
                <a:srgbClr val="00BD4D"/>
              </a:buClr>
              <a:defRPr sz="1200" b="0" i="0">
                <a:solidFill>
                  <a:schemeClr val="tx1"/>
                </a:solidFill>
                <a:latin typeface="Lato" panose="020F0502020204030203" pitchFamily="34" charset="77"/>
              </a:defRPr>
            </a:lvl3pPr>
            <a:lvl4pPr marL="720000" indent="-180000">
              <a:spcBef>
                <a:spcPts val="1000"/>
              </a:spcBef>
              <a:buClr>
                <a:srgbClr val="00BD4D"/>
              </a:buClr>
              <a:defRPr sz="1100" b="0" i="0">
                <a:solidFill>
                  <a:schemeClr val="tx1"/>
                </a:solidFill>
                <a:latin typeface="Lato" panose="020F0502020204030203" pitchFamily="34" charset="77"/>
              </a:defRPr>
            </a:lvl4pPr>
            <a:lvl5pPr marL="900000" indent="-180000">
              <a:spcBef>
                <a:spcPts val="1000"/>
              </a:spcBef>
              <a:buClr>
                <a:srgbClr val="00BD4D"/>
              </a:buClr>
              <a:defRPr sz="1100" b="0" i="0">
                <a:solidFill>
                  <a:schemeClr val="tx1"/>
                </a:solidFill>
                <a:latin typeface="Lato" panose="020F0502020204030203" pitchFamily="34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39" name="Text Placeholder 51">
            <a:extLst>
              <a:ext uri="{FF2B5EF4-FFF2-40B4-BE49-F238E27FC236}">
                <a16:creationId xmlns:a16="http://schemas.microsoft.com/office/drawing/2014/main" id="{75EB58D2-C4D9-2ED8-22BE-5026F45258E7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300259" y="2646171"/>
            <a:ext cx="2479675" cy="3482065"/>
          </a:xfrm>
          <a:prstGeom prst="rect">
            <a:avLst/>
          </a:prstGeom>
        </p:spPr>
        <p:txBody>
          <a:bodyPr/>
          <a:lstStyle>
            <a:lvl1pPr marL="180000" indent="-180000">
              <a:spcBef>
                <a:spcPts val="1000"/>
              </a:spcBef>
              <a:buClr>
                <a:srgbClr val="00BD4D"/>
              </a:buClr>
              <a:defRPr sz="1600" b="0" i="0">
                <a:solidFill>
                  <a:schemeClr val="tx1"/>
                </a:solidFill>
                <a:latin typeface="Lato" panose="020F0502020204030203" pitchFamily="34" charset="77"/>
              </a:defRPr>
            </a:lvl1pPr>
            <a:lvl2pPr marL="360000" indent="-180000">
              <a:spcBef>
                <a:spcPts val="1000"/>
              </a:spcBef>
              <a:buClr>
                <a:srgbClr val="00BD4D"/>
              </a:buClr>
              <a:defRPr sz="1400" b="0" i="0">
                <a:solidFill>
                  <a:schemeClr val="tx1"/>
                </a:solidFill>
                <a:latin typeface="Lato" panose="020F0502020204030203" pitchFamily="34" charset="77"/>
              </a:defRPr>
            </a:lvl2pPr>
            <a:lvl3pPr marL="540000" indent="-180000">
              <a:spcBef>
                <a:spcPts val="1000"/>
              </a:spcBef>
              <a:buClr>
                <a:srgbClr val="00BD4D"/>
              </a:buClr>
              <a:defRPr sz="1200" b="0" i="0">
                <a:solidFill>
                  <a:schemeClr val="tx1"/>
                </a:solidFill>
                <a:latin typeface="Lato" panose="020F0502020204030203" pitchFamily="34" charset="77"/>
              </a:defRPr>
            </a:lvl3pPr>
            <a:lvl4pPr marL="720000" indent="-180000">
              <a:spcBef>
                <a:spcPts val="1000"/>
              </a:spcBef>
              <a:buClr>
                <a:srgbClr val="00BD4D"/>
              </a:buClr>
              <a:defRPr sz="1100" b="0" i="0">
                <a:solidFill>
                  <a:schemeClr val="tx1"/>
                </a:solidFill>
                <a:latin typeface="Lato" panose="020F0502020204030203" pitchFamily="34" charset="77"/>
              </a:defRPr>
            </a:lvl4pPr>
            <a:lvl5pPr marL="900000" indent="-180000">
              <a:spcBef>
                <a:spcPts val="1000"/>
              </a:spcBef>
              <a:buClr>
                <a:srgbClr val="00BD4D"/>
              </a:buClr>
              <a:defRPr sz="1100" b="0" i="0">
                <a:solidFill>
                  <a:schemeClr val="tx1"/>
                </a:solidFill>
                <a:latin typeface="Lato" panose="020F0502020204030203" pitchFamily="34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0" name="Text Placeholder 51">
            <a:extLst>
              <a:ext uri="{FF2B5EF4-FFF2-40B4-BE49-F238E27FC236}">
                <a16:creationId xmlns:a16="http://schemas.microsoft.com/office/drawing/2014/main" id="{A5E69845-1C6F-6BBB-085C-C5BCFCEE872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154230" y="2646171"/>
            <a:ext cx="2479675" cy="3482065"/>
          </a:xfrm>
          <a:prstGeom prst="rect">
            <a:avLst/>
          </a:prstGeom>
        </p:spPr>
        <p:txBody>
          <a:bodyPr/>
          <a:lstStyle>
            <a:lvl1pPr marL="180000" indent="-180000">
              <a:spcBef>
                <a:spcPts val="1000"/>
              </a:spcBef>
              <a:buClr>
                <a:srgbClr val="00BD4D"/>
              </a:buClr>
              <a:defRPr sz="1600" b="0" i="0">
                <a:solidFill>
                  <a:schemeClr val="tx1"/>
                </a:solidFill>
                <a:latin typeface="Lato" panose="020F0502020204030203" pitchFamily="34" charset="77"/>
              </a:defRPr>
            </a:lvl1pPr>
            <a:lvl2pPr marL="360000" indent="-180000">
              <a:spcBef>
                <a:spcPts val="1000"/>
              </a:spcBef>
              <a:buClr>
                <a:srgbClr val="00BD4D"/>
              </a:buClr>
              <a:defRPr sz="1400" b="0" i="0">
                <a:solidFill>
                  <a:schemeClr val="tx1"/>
                </a:solidFill>
                <a:latin typeface="Lato" panose="020F0502020204030203" pitchFamily="34" charset="77"/>
              </a:defRPr>
            </a:lvl2pPr>
            <a:lvl3pPr marL="540000" indent="-180000">
              <a:spcBef>
                <a:spcPts val="1000"/>
              </a:spcBef>
              <a:buClr>
                <a:srgbClr val="00BD4D"/>
              </a:buClr>
              <a:defRPr sz="1200" b="0" i="0">
                <a:solidFill>
                  <a:schemeClr val="tx1"/>
                </a:solidFill>
                <a:latin typeface="Lato" panose="020F0502020204030203" pitchFamily="34" charset="77"/>
              </a:defRPr>
            </a:lvl3pPr>
            <a:lvl4pPr marL="720000" indent="-180000">
              <a:spcBef>
                <a:spcPts val="1000"/>
              </a:spcBef>
              <a:buClr>
                <a:srgbClr val="00BD4D"/>
              </a:buClr>
              <a:defRPr sz="1100" b="0" i="0">
                <a:solidFill>
                  <a:schemeClr val="tx1"/>
                </a:solidFill>
                <a:latin typeface="Lato" panose="020F0502020204030203" pitchFamily="34" charset="77"/>
              </a:defRPr>
            </a:lvl4pPr>
            <a:lvl5pPr marL="900000" indent="-180000">
              <a:spcBef>
                <a:spcPts val="1000"/>
              </a:spcBef>
              <a:buClr>
                <a:srgbClr val="00BD4D"/>
              </a:buClr>
              <a:defRPr sz="1100" b="0" i="0">
                <a:solidFill>
                  <a:schemeClr val="tx1"/>
                </a:solidFill>
                <a:latin typeface="Lato" panose="020F0502020204030203" pitchFamily="34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ADF54E6D-8FEA-CB81-DB3A-4DBB2A7C5A86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1122821" y="6467484"/>
            <a:ext cx="799740" cy="170885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80F2131-46BF-39CC-7701-B0A5323D692E}"/>
              </a:ext>
            </a:extLst>
          </p:cNvPr>
          <p:cNvPicPr preferRelativeResize="0"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652773" y="2349544"/>
            <a:ext cx="2419220" cy="2743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F008C31-6D21-BB46-F385-EC0F50E075F9}"/>
              </a:ext>
            </a:extLst>
          </p:cNvPr>
          <p:cNvPicPr preferRelativeResize="0"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3499490" y="2349544"/>
            <a:ext cx="2419220" cy="274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ADF55BC-CBC9-54F4-498A-B4F05AC2C547}"/>
              </a:ext>
            </a:extLst>
          </p:cNvPr>
          <p:cNvPicPr preferRelativeResize="0"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6354833" y="2349544"/>
            <a:ext cx="2419220" cy="2743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77EDF67-8C1E-08BE-6E15-65DBBE9701B5}"/>
              </a:ext>
            </a:extLst>
          </p:cNvPr>
          <p:cNvPicPr preferRelativeResize="0"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9192924" y="2349544"/>
            <a:ext cx="2419220" cy="27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5978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-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78427D0C-CE13-1C0F-BBAE-1E23242190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978" y="297451"/>
            <a:ext cx="11118522" cy="630213"/>
          </a:xfrm>
          <a:prstGeom prst="rect">
            <a:avLst/>
          </a:prstGeom>
        </p:spPr>
        <p:txBody>
          <a:bodyPr anchor="b" anchorCtr="0"/>
          <a:lstStyle>
            <a:lvl1pPr>
              <a:defRPr sz="3400" b="1" i="0" cap="all" baseline="0">
                <a:solidFill>
                  <a:schemeClr val="tx1"/>
                </a:solidFill>
                <a:latin typeface="Lato" panose="020F0502020204030203" pitchFamily="34" charset="77"/>
              </a:defRPr>
            </a:lvl1pPr>
          </a:lstStyle>
          <a:p>
            <a:r>
              <a:rPr lang="en-US" dirty="0"/>
              <a:t>title styl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8CF8578C-BF09-C826-692C-5671BFD59A52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501983" y="898900"/>
            <a:ext cx="11118517" cy="397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kumimoji="0" lang="en-US" sz="2200" b="0" i="0" u="none" strike="noStrike" cap="all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Lato" panose="020F0502020204030203" pitchFamily="34" charset="77"/>
                <a:ea typeface="Roboto Slab" pitchFamily="2" charset="0"/>
                <a:cs typeface="Arial" panose="020B0604020202020204" pitchFamily="34" charset="0"/>
              </a:defRPr>
            </a:lvl1pPr>
          </a:lstStyle>
          <a:p>
            <a:pPr marL="228600" marR="0" lvl="0" indent="-22860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subtitle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8A5C5A44-842F-9985-6658-BD057F440E5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93021" y="1675347"/>
            <a:ext cx="2064702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kumimoji="0" lang="en-US" sz="1600" b="1" i="0" u="none" strike="noStrike" cap="none" spc="0" normalizeH="0" baseline="0" dirty="0" smtClean="0">
                <a:ln>
                  <a:noFill/>
                </a:ln>
                <a:solidFill>
                  <a:srgbClr val="00BD4D"/>
                </a:solidFill>
                <a:effectLst/>
                <a:uLnTx/>
                <a:uFillTx/>
                <a:latin typeface="Lato" panose="020F0502020204030203" pitchFamily="34" charset="77"/>
                <a:ea typeface="Roboto Slab" pitchFamily="2" charset="0"/>
                <a:cs typeface="Arial" panose="020B0604020202020204" pitchFamily="34" charset="0"/>
              </a:defRPr>
            </a:lvl1pPr>
          </a:lstStyle>
          <a:p>
            <a:pPr marR="0" lvl="0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GB"/>
              <a:t>Click to edit Master text styles</a:t>
            </a:r>
          </a:p>
        </p:txBody>
      </p:sp>
      <p:sp>
        <p:nvSpPr>
          <p:cNvPr id="42" name="Text Placeholder 29">
            <a:extLst>
              <a:ext uri="{FF2B5EF4-FFF2-40B4-BE49-F238E27FC236}">
                <a16:creationId xmlns:a16="http://schemas.microsoft.com/office/drawing/2014/main" id="{04C46954-A91C-F09D-5021-C4FCBCD8251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832235" y="1675347"/>
            <a:ext cx="2064702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kumimoji="0" lang="en-US" sz="1600" b="1" i="0" u="none" strike="noStrike" cap="none" spc="0" normalizeH="0" baseline="0" dirty="0" smtClean="0">
                <a:ln>
                  <a:noFill/>
                </a:ln>
                <a:solidFill>
                  <a:srgbClr val="00BD4D"/>
                </a:solidFill>
                <a:effectLst/>
                <a:uLnTx/>
                <a:uFillTx/>
                <a:latin typeface="Lato" panose="020F0502020204030203" pitchFamily="34" charset="77"/>
                <a:ea typeface="Roboto Slab" pitchFamily="2" charset="0"/>
                <a:cs typeface="Arial" panose="020B0604020202020204" pitchFamily="34" charset="0"/>
              </a:defRPr>
            </a:lvl1pPr>
          </a:lstStyle>
          <a:p>
            <a:pPr marR="0" lvl="0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GB"/>
              <a:t>Click to edit Master text styles</a:t>
            </a:r>
          </a:p>
        </p:txBody>
      </p:sp>
      <p:sp>
        <p:nvSpPr>
          <p:cNvPr id="45" name="Text Placeholder 29">
            <a:extLst>
              <a:ext uri="{FF2B5EF4-FFF2-40B4-BE49-F238E27FC236}">
                <a16:creationId xmlns:a16="http://schemas.microsoft.com/office/drawing/2014/main" id="{72C1416A-D2D1-F2A5-3677-63EF87AEC802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071449" y="1675347"/>
            <a:ext cx="2064702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kumimoji="0" lang="en-US" sz="1600" b="1" i="0" u="none" strike="noStrike" cap="none" spc="0" normalizeH="0" baseline="0" dirty="0" smtClean="0">
                <a:ln>
                  <a:noFill/>
                </a:ln>
                <a:solidFill>
                  <a:srgbClr val="00BD4D"/>
                </a:solidFill>
                <a:effectLst/>
                <a:uLnTx/>
                <a:uFillTx/>
                <a:latin typeface="Lato" panose="020F0502020204030203" pitchFamily="34" charset="77"/>
                <a:ea typeface="Roboto Slab" pitchFamily="2" charset="0"/>
                <a:cs typeface="Arial" panose="020B0604020202020204" pitchFamily="34" charset="0"/>
              </a:defRPr>
            </a:lvl1pPr>
          </a:lstStyle>
          <a:p>
            <a:pPr marR="0" lvl="0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GB"/>
              <a:t>Click to edit Master text styles</a:t>
            </a:r>
          </a:p>
        </p:txBody>
      </p:sp>
      <p:sp>
        <p:nvSpPr>
          <p:cNvPr id="48" name="Text Placeholder 29">
            <a:extLst>
              <a:ext uri="{FF2B5EF4-FFF2-40B4-BE49-F238E27FC236}">
                <a16:creationId xmlns:a16="http://schemas.microsoft.com/office/drawing/2014/main" id="{EE84D08F-648D-B192-4FA8-E13D1E65CC7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7310663" y="1675347"/>
            <a:ext cx="2064702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kumimoji="0" lang="en-US" sz="1600" b="1" i="0" u="none" strike="noStrike" cap="none" spc="0" normalizeH="0" baseline="0" dirty="0" smtClean="0">
                <a:ln>
                  <a:noFill/>
                </a:ln>
                <a:solidFill>
                  <a:srgbClr val="00BD4D"/>
                </a:solidFill>
                <a:effectLst/>
                <a:uLnTx/>
                <a:uFillTx/>
                <a:latin typeface="Lato" panose="020F0502020204030203" pitchFamily="34" charset="77"/>
                <a:ea typeface="Roboto Slab" pitchFamily="2" charset="0"/>
                <a:cs typeface="Arial" panose="020B0604020202020204" pitchFamily="34" charset="0"/>
              </a:defRPr>
            </a:lvl1pPr>
          </a:lstStyle>
          <a:p>
            <a:pPr marR="0" lvl="0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GB"/>
              <a:t>Click to edit Master text styles</a:t>
            </a:r>
          </a:p>
        </p:txBody>
      </p:sp>
      <p:sp>
        <p:nvSpPr>
          <p:cNvPr id="51" name="Text Placeholder 29">
            <a:extLst>
              <a:ext uri="{FF2B5EF4-FFF2-40B4-BE49-F238E27FC236}">
                <a16:creationId xmlns:a16="http://schemas.microsoft.com/office/drawing/2014/main" id="{EE2BB71C-0985-EDD8-4A15-A29DAED0416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549878" y="1675347"/>
            <a:ext cx="2064702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kumimoji="0" lang="en-US" sz="1600" b="1" i="0" u="none" strike="noStrike" cap="none" spc="0" normalizeH="0" baseline="0" dirty="0" smtClean="0">
                <a:ln>
                  <a:noFill/>
                </a:ln>
                <a:solidFill>
                  <a:srgbClr val="00BD4D"/>
                </a:solidFill>
                <a:effectLst/>
                <a:uLnTx/>
                <a:uFillTx/>
                <a:latin typeface="Lato" panose="020F0502020204030203" pitchFamily="34" charset="77"/>
                <a:ea typeface="Roboto Slab" pitchFamily="2" charset="0"/>
                <a:cs typeface="Arial" panose="020B0604020202020204" pitchFamily="34" charset="0"/>
              </a:defRPr>
            </a:lvl1pPr>
          </a:lstStyle>
          <a:p>
            <a:pPr marR="0" lvl="0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GB"/>
              <a:t>Click to edit Master text styles</a:t>
            </a:r>
          </a:p>
        </p:txBody>
      </p:sp>
      <p:sp>
        <p:nvSpPr>
          <p:cNvPr id="54" name="Text Placeholder 51">
            <a:extLst>
              <a:ext uri="{FF2B5EF4-FFF2-40B4-BE49-F238E27FC236}">
                <a16:creationId xmlns:a16="http://schemas.microsoft.com/office/drawing/2014/main" id="{FE7AEDBF-9493-4D56-1FFE-CF82B3EB540B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93725" y="2497024"/>
            <a:ext cx="2098675" cy="3589704"/>
          </a:xfrm>
          <a:prstGeom prst="rect">
            <a:avLst/>
          </a:prstGeom>
        </p:spPr>
        <p:txBody>
          <a:bodyPr/>
          <a:lstStyle>
            <a:lvl1pPr marL="180000" indent="-180000">
              <a:spcBef>
                <a:spcPts val="1000"/>
              </a:spcBef>
              <a:buClr>
                <a:srgbClr val="00BD4D"/>
              </a:buClr>
              <a:defRPr sz="1400" b="0" i="0">
                <a:solidFill>
                  <a:schemeClr val="tx1"/>
                </a:solidFill>
                <a:latin typeface="Lato" panose="020F0502020204030203" pitchFamily="34" charset="77"/>
              </a:defRPr>
            </a:lvl1pPr>
            <a:lvl2pPr marL="360000" indent="-180000">
              <a:spcBef>
                <a:spcPts val="1000"/>
              </a:spcBef>
              <a:buClr>
                <a:srgbClr val="00BD4D"/>
              </a:buClr>
              <a:defRPr sz="1200" b="0" i="0">
                <a:solidFill>
                  <a:schemeClr val="tx1"/>
                </a:solidFill>
                <a:latin typeface="Lato" panose="020F0502020204030203" pitchFamily="34" charset="77"/>
              </a:defRPr>
            </a:lvl2pPr>
            <a:lvl3pPr marL="540000" indent="-180000">
              <a:spcBef>
                <a:spcPts val="1000"/>
              </a:spcBef>
              <a:buClr>
                <a:srgbClr val="00BD4D"/>
              </a:buClr>
              <a:defRPr sz="1100" b="0" i="0">
                <a:solidFill>
                  <a:schemeClr val="tx1"/>
                </a:solidFill>
                <a:latin typeface="Lato" panose="020F0502020204030203" pitchFamily="34" charset="77"/>
              </a:defRPr>
            </a:lvl3pPr>
            <a:lvl4pPr marL="720000" indent="-180000">
              <a:spcBef>
                <a:spcPts val="1000"/>
              </a:spcBef>
              <a:buClr>
                <a:srgbClr val="00BD4D"/>
              </a:buClr>
              <a:defRPr sz="1050" b="0" i="0">
                <a:solidFill>
                  <a:schemeClr val="tx1"/>
                </a:solidFill>
                <a:latin typeface="Lato" panose="020F0502020204030203" pitchFamily="34" charset="77"/>
              </a:defRPr>
            </a:lvl4pPr>
            <a:lvl5pPr marL="900000" indent="-180000">
              <a:spcBef>
                <a:spcPts val="1000"/>
              </a:spcBef>
              <a:buClr>
                <a:srgbClr val="00BD4D"/>
              </a:buClr>
              <a:defRPr sz="1050" b="0" i="0">
                <a:solidFill>
                  <a:schemeClr val="tx1"/>
                </a:solidFill>
                <a:latin typeface="Lato" panose="020F0502020204030203" pitchFamily="34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5" name="Text Placeholder 51">
            <a:extLst>
              <a:ext uri="{FF2B5EF4-FFF2-40B4-BE49-F238E27FC236}">
                <a16:creationId xmlns:a16="http://schemas.microsoft.com/office/drawing/2014/main" id="{484BAF97-4A34-66BC-BB7F-FE771A69222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2832235" y="2497024"/>
            <a:ext cx="2098675" cy="3589704"/>
          </a:xfrm>
          <a:prstGeom prst="rect">
            <a:avLst/>
          </a:prstGeom>
        </p:spPr>
        <p:txBody>
          <a:bodyPr/>
          <a:lstStyle>
            <a:lvl1pPr marL="180000" indent="-180000">
              <a:spcBef>
                <a:spcPts val="1000"/>
              </a:spcBef>
              <a:buClr>
                <a:srgbClr val="00BD4D"/>
              </a:buClr>
              <a:defRPr sz="1400" b="0" i="0">
                <a:solidFill>
                  <a:schemeClr val="tx1"/>
                </a:solidFill>
                <a:latin typeface="Lato" panose="020F0502020204030203" pitchFamily="34" charset="77"/>
              </a:defRPr>
            </a:lvl1pPr>
            <a:lvl2pPr marL="360000" indent="-180000">
              <a:spcBef>
                <a:spcPts val="1000"/>
              </a:spcBef>
              <a:buClr>
                <a:srgbClr val="00BD4D"/>
              </a:buClr>
              <a:defRPr sz="1200" b="0" i="0">
                <a:solidFill>
                  <a:schemeClr val="tx1"/>
                </a:solidFill>
                <a:latin typeface="Lato" panose="020F0502020204030203" pitchFamily="34" charset="77"/>
              </a:defRPr>
            </a:lvl2pPr>
            <a:lvl3pPr marL="540000" indent="-180000">
              <a:spcBef>
                <a:spcPts val="1000"/>
              </a:spcBef>
              <a:buClr>
                <a:srgbClr val="00BD4D"/>
              </a:buClr>
              <a:defRPr sz="1100" b="0" i="0">
                <a:solidFill>
                  <a:schemeClr val="tx1"/>
                </a:solidFill>
                <a:latin typeface="Lato" panose="020F0502020204030203" pitchFamily="34" charset="77"/>
              </a:defRPr>
            </a:lvl3pPr>
            <a:lvl4pPr marL="720000" indent="-180000">
              <a:spcBef>
                <a:spcPts val="1000"/>
              </a:spcBef>
              <a:buClr>
                <a:srgbClr val="00BD4D"/>
              </a:buClr>
              <a:defRPr sz="1050" b="0" i="0">
                <a:solidFill>
                  <a:schemeClr val="tx1"/>
                </a:solidFill>
                <a:latin typeface="Lato" panose="020F0502020204030203" pitchFamily="34" charset="77"/>
              </a:defRPr>
            </a:lvl4pPr>
            <a:lvl5pPr marL="900000" indent="-180000">
              <a:spcBef>
                <a:spcPts val="1000"/>
              </a:spcBef>
              <a:buClr>
                <a:srgbClr val="00BD4D"/>
              </a:buClr>
              <a:defRPr sz="1050" b="0" i="0">
                <a:solidFill>
                  <a:schemeClr val="tx1"/>
                </a:solidFill>
                <a:latin typeface="Lato" panose="020F0502020204030203" pitchFamily="34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6" name="Text Placeholder 51">
            <a:extLst>
              <a:ext uri="{FF2B5EF4-FFF2-40B4-BE49-F238E27FC236}">
                <a16:creationId xmlns:a16="http://schemas.microsoft.com/office/drawing/2014/main" id="{A5AC2F54-29DF-BBD3-B78B-A44D2CB34EDC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5070745" y="2497024"/>
            <a:ext cx="2098675" cy="3589704"/>
          </a:xfrm>
          <a:prstGeom prst="rect">
            <a:avLst/>
          </a:prstGeom>
        </p:spPr>
        <p:txBody>
          <a:bodyPr/>
          <a:lstStyle>
            <a:lvl1pPr marL="180000" indent="-180000">
              <a:spcBef>
                <a:spcPts val="1000"/>
              </a:spcBef>
              <a:buClr>
                <a:srgbClr val="00BD4D"/>
              </a:buClr>
              <a:defRPr sz="1400" b="0" i="0">
                <a:solidFill>
                  <a:schemeClr val="tx1"/>
                </a:solidFill>
                <a:latin typeface="Lato" panose="020F0502020204030203" pitchFamily="34" charset="77"/>
              </a:defRPr>
            </a:lvl1pPr>
            <a:lvl2pPr marL="360000" indent="-180000">
              <a:spcBef>
                <a:spcPts val="1000"/>
              </a:spcBef>
              <a:buClr>
                <a:srgbClr val="00BD4D"/>
              </a:buClr>
              <a:defRPr sz="1200" b="0" i="0">
                <a:solidFill>
                  <a:schemeClr val="tx1"/>
                </a:solidFill>
                <a:latin typeface="Lato" panose="020F0502020204030203" pitchFamily="34" charset="77"/>
              </a:defRPr>
            </a:lvl2pPr>
            <a:lvl3pPr marL="540000" indent="-180000">
              <a:spcBef>
                <a:spcPts val="1000"/>
              </a:spcBef>
              <a:buClr>
                <a:srgbClr val="00BD4D"/>
              </a:buClr>
              <a:defRPr sz="1100" b="0" i="0">
                <a:solidFill>
                  <a:schemeClr val="tx1"/>
                </a:solidFill>
                <a:latin typeface="Lato" panose="020F0502020204030203" pitchFamily="34" charset="77"/>
              </a:defRPr>
            </a:lvl3pPr>
            <a:lvl4pPr marL="720000" indent="-180000">
              <a:spcBef>
                <a:spcPts val="1000"/>
              </a:spcBef>
              <a:buClr>
                <a:srgbClr val="00BD4D"/>
              </a:buClr>
              <a:defRPr sz="1050" b="0" i="0">
                <a:solidFill>
                  <a:schemeClr val="tx1"/>
                </a:solidFill>
                <a:latin typeface="Lato" panose="020F0502020204030203" pitchFamily="34" charset="77"/>
              </a:defRPr>
            </a:lvl4pPr>
            <a:lvl5pPr marL="900000" indent="-180000">
              <a:spcBef>
                <a:spcPts val="1000"/>
              </a:spcBef>
              <a:buClr>
                <a:srgbClr val="00BD4D"/>
              </a:buClr>
              <a:defRPr sz="1050" b="0" i="0">
                <a:solidFill>
                  <a:schemeClr val="tx1"/>
                </a:solidFill>
                <a:latin typeface="Lato" panose="020F0502020204030203" pitchFamily="34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7" name="Text Placeholder 51">
            <a:extLst>
              <a:ext uri="{FF2B5EF4-FFF2-40B4-BE49-F238E27FC236}">
                <a16:creationId xmlns:a16="http://schemas.microsoft.com/office/drawing/2014/main" id="{D79D8419-1308-DBD1-4D43-4D9AE535A50E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309255" y="2497024"/>
            <a:ext cx="2098675" cy="3589704"/>
          </a:xfrm>
          <a:prstGeom prst="rect">
            <a:avLst/>
          </a:prstGeom>
        </p:spPr>
        <p:txBody>
          <a:bodyPr/>
          <a:lstStyle>
            <a:lvl1pPr marL="180000" indent="-180000">
              <a:spcBef>
                <a:spcPts val="1000"/>
              </a:spcBef>
              <a:buClr>
                <a:srgbClr val="00BD4D"/>
              </a:buClr>
              <a:defRPr sz="1400" b="0" i="0">
                <a:solidFill>
                  <a:schemeClr val="tx1"/>
                </a:solidFill>
                <a:latin typeface="Lato" panose="020F0502020204030203" pitchFamily="34" charset="77"/>
              </a:defRPr>
            </a:lvl1pPr>
            <a:lvl2pPr marL="360000" indent="-180000">
              <a:spcBef>
                <a:spcPts val="1000"/>
              </a:spcBef>
              <a:buClr>
                <a:srgbClr val="00BD4D"/>
              </a:buClr>
              <a:defRPr sz="1200" b="0" i="0">
                <a:solidFill>
                  <a:schemeClr val="tx1"/>
                </a:solidFill>
                <a:latin typeface="Lato" panose="020F0502020204030203" pitchFamily="34" charset="77"/>
              </a:defRPr>
            </a:lvl2pPr>
            <a:lvl3pPr marL="540000" indent="-180000">
              <a:spcBef>
                <a:spcPts val="1000"/>
              </a:spcBef>
              <a:buClr>
                <a:srgbClr val="00BD4D"/>
              </a:buClr>
              <a:defRPr sz="1100" b="0" i="0">
                <a:solidFill>
                  <a:schemeClr val="tx1"/>
                </a:solidFill>
                <a:latin typeface="Lato" panose="020F0502020204030203" pitchFamily="34" charset="77"/>
              </a:defRPr>
            </a:lvl3pPr>
            <a:lvl4pPr marL="720000" indent="-180000">
              <a:spcBef>
                <a:spcPts val="1000"/>
              </a:spcBef>
              <a:buClr>
                <a:srgbClr val="00BD4D"/>
              </a:buClr>
              <a:defRPr sz="1050" b="0" i="0">
                <a:solidFill>
                  <a:schemeClr val="tx1"/>
                </a:solidFill>
                <a:latin typeface="Lato" panose="020F0502020204030203" pitchFamily="34" charset="77"/>
              </a:defRPr>
            </a:lvl4pPr>
            <a:lvl5pPr marL="900000" indent="-180000">
              <a:spcBef>
                <a:spcPts val="1000"/>
              </a:spcBef>
              <a:buClr>
                <a:srgbClr val="00BD4D"/>
              </a:buClr>
              <a:defRPr sz="1050" b="0" i="0">
                <a:solidFill>
                  <a:schemeClr val="tx1"/>
                </a:solidFill>
                <a:latin typeface="Lato" panose="020F0502020204030203" pitchFamily="34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8" name="Text Placeholder 51">
            <a:extLst>
              <a:ext uri="{FF2B5EF4-FFF2-40B4-BE49-F238E27FC236}">
                <a16:creationId xmlns:a16="http://schemas.microsoft.com/office/drawing/2014/main" id="{CBE58029-43BD-E1CA-C262-285E4AFC63BC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9547765" y="2497024"/>
            <a:ext cx="2098675" cy="3589704"/>
          </a:xfrm>
          <a:prstGeom prst="rect">
            <a:avLst/>
          </a:prstGeom>
        </p:spPr>
        <p:txBody>
          <a:bodyPr/>
          <a:lstStyle>
            <a:lvl1pPr marL="180000" indent="-180000">
              <a:spcBef>
                <a:spcPts val="1000"/>
              </a:spcBef>
              <a:buClr>
                <a:srgbClr val="00BD4D"/>
              </a:buClr>
              <a:defRPr sz="1400" b="0" i="0">
                <a:solidFill>
                  <a:schemeClr val="tx1"/>
                </a:solidFill>
                <a:latin typeface="Lato" panose="020F0502020204030203" pitchFamily="34" charset="77"/>
              </a:defRPr>
            </a:lvl1pPr>
            <a:lvl2pPr marL="360000" indent="-180000">
              <a:spcBef>
                <a:spcPts val="1000"/>
              </a:spcBef>
              <a:buClr>
                <a:srgbClr val="00BD4D"/>
              </a:buClr>
              <a:defRPr sz="1200" b="0" i="0">
                <a:solidFill>
                  <a:schemeClr val="tx1"/>
                </a:solidFill>
                <a:latin typeface="Lato" panose="020F0502020204030203" pitchFamily="34" charset="77"/>
              </a:defRPr>
            </a:lvl2pPr>
            <a:lvl3pPr marL="540000" indent="-180000">
              <a:spcBef>
                <a:spcPts val="1000"/>
              </a:spcBef>
              <a:buClr>
                <a:srgbClr val="00BD4D"/>
              </a:buClr>
              <a:defRPr sz="1100" b="0" i="0">
                <a:solidFill>
                  <a:schemeClr val="tx1"/>
                </a:solidFill>
                <a:latin typeface="Lato" panose="020F0502020204030203" pitchFamily="34" charset="77"/>
              </a:defRPr>
            </a:lvl3pPr>
            <a:lvl4pPr marL="720000" indent="-180000">
              <a:spcBef>
                <a:spcPts val="1000"/>
              </a:spcBef>
              <a:buClr>
                <a:srgbClr val="00BD4D"/>
              </a:buClr>
              <a:defRPr sz="1050" b="0" i="0">
                <a:solidFill>
                  <a:schemeClr val="tx1"/>
                </a:solidFill>
                <a:latin typeface="Lato" panose="020F0502020204030203" pitchFamily="34" charset="77"/>
              </a:defRPr>
            </a:lvl4pPr>
            <a:lvl5pPr marL="900000" indent="-180000">
              <a:spcBef>
                <a:spcPts val="1000"/>
              </a:spcBef>
              <a:buClr>
                <a:srgbClr val="00BD4D"/>
              </a:buClr>
              <a:defRPr sz="1050" b="0" i="0">
                <a:solidFill>
                  <a:schemeClr val="tx1"/>
                </a:solidFill>
                <a:latin typeface="Lato" panose="020F0502020204030203" pitchFamily="34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4B93A096-99FC-FCDC-2021-B40D061B201E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1122821" y="6467484"/>
            <a:ext cx="799740" cy="170885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10C2EC47-C8B2-1A63-9C95-EEC2123945C0}"/>
              </a:ext>
            </a:extLst>
          </p:cNvPr>
          <p:cNvPicPr preferRelativeResize="0"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839" y="2261563"/>
            <a:ext cx="2064702" cy="2743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102546D-1E1C-99AD-4D74-C7F7A47F7EC8}"/>
              </a:ext>
            </a:extLst>
          </p:cNvPr>
          <p:cNvPicPr preferRelativeResize="0"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41629" y="2261563"/>
            <a:ext cx="2064702" cy="274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E3E722-065A-D5D1-248F-B982F1FB580B}"/>
              </a:ext>
            </a:extLst>
          </p:cNvPr>
          <p:cNvPicPr preferRelativeResize="0"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63649" y="2288995"/>
            <a:ext cx="2064702" cy="2743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8D6BAB1-2544-BC19-CF7C-E720F02B6D5D}"/>
              </a:ext>
            </a:extLst>
          </p:cNvPr>
          <p:cNvPicPr preferRelativeResize="0"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09356" y="2261563"/>
            <a:ext cx="2064702" cy="2743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8A027D2-49AE-1E0E-84D0-26034550246E}"/>
              </a:ext>
            </a:extLst>
          </p:cNvPr>
          <p:cNvPicPr preferRelativeResize="0"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31188" y="2261563"/>
            <a:ext cx="2064702" cy="27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2429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CF7010AE-F816-A1F9-6CE2-8C97BCC531C1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1122821" y="6467484"/>
            <a:ext cx="799740" cy="170885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FEA4C8F9-E98F-41EA-1D33-C4F7B51D7E5E}"/>
              </a:ext>
            </a:extLst>
          </p:cNvPr>
          <p:cNvPicPr>
            <a:picLocks noChangeAspect="1"/>
          </p:cNvPicPr>
          <p:nvPr userDrawn="1"/>
        </p:nvPicPr>
        <p:blipFill>
          <a:blip>
            <a:alphaModFix amt="60000"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-1521228" y="-2175330"/>
            <a:ext cx="9846025" cy="9846025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747BC16F-7A86-8C7C-AA29-ADFB654F0B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978" y="297451"/>
            <a:ext cx="11118522" cy="630213"/>
          </a:xfrm>
          <a:prstGeom prst="rect">
            <a:avLst/>
          </a:prstGeom>
        </p:spPr>
        <p:txBody>
          <a:bodyPr anchor="b" anchorCtr="0"/>
          <a:lstStyle>
            <a:lvl1pPr>
              <a:defRPr sz="3400" b="1" i="0" cap="all" baseline="0">
                <a:latin typeface="Lato" panose="020F0502020204030203" pitchFamily="34" charset="77"/>
              </a:defRPr>
            </a:lvl1pPr>
          </a:lstStyle>
          <a:p>
            <a:r>
              <a:rPr lang="en-US" dirty="0"/>
              <a:t>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BDECCE9-C6A7-8E54-48EB-B0339C467CC0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501983" y="898900"/>
            <a:ext cx="11118517" cy="397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kumimoji="0" lang="en-US" sz="2200" b="0" i="0" u="none" strike="noStrike" cap="all" spc="0" normalizeH="0" baseline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Lato" panose="020F0502020204030203" pitchFamily="34" charset="77"/>
                <a:ea typeface="Roboto Slab" pitchFamily="2" charset="0"/>
                <a:cs typeface="Arial" panose="020B0604020202020204" pitchFamily="34" charset="0"/>
              </a:defRPr>
            </a:lvl1pPr>
          </a:lstStyle>
          <a:p>
            <a:pPr marL="228600" marR="0" lvl="0" indent="-22860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subtitle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0A39B343-362F-5483-6BED-E05C0D38BC06}"/>
              </a:ext>
            </a:extLst>
          </p:cNvPr>
          <p:cNvSpPr/>
          <p:nvPr userDrawn="1"/>
        </p:nvSpPr>
        <p:spPr>
          <a:xfrm>
            <a:off x="486228" y="1590288"/>
            <a:ext cx="2627834" cy="4354286"/>
          </a:xfrm>
          <a:prstGeom prst="roundRect">
            <a:avLst>
              <a:gd name="adj" fmla="val 4152"/>
            </a:avLst>
          </a:prstGeom>
          <a:solidFill>
            <a:schemeClr val="bg1"/>
          </a:solidFill>
          <a:ln>
            <a:noFill/>
          </a:ln>
          <a:effectLst>
            <a:outerShdw blurRad="330200" dist="152400" dir="8100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b="0" i="0" dirty="0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7A300C02-B313-1FF0-DA9B-B56441CABEA9}"/>
              </a:ext>
            </a:extLst>
          </p:cNvPr>
          <p:cNvSpPr/>
          <p:nvPr userDrawn="1"/>
        </p:nvSpPr>
        <p:spPr>
          <a:xfrm>
            <a:off x="3350131" y="1590288"/>
            <a:ext cx="2627834" cy="4354286"/>
          </a:xfrm>
          <a:prstGeom prst="roundRect">
            <a:avLst>
              <a:gd name="adj" fmla="val 4152"/>
            </a:avLst>
          </a:prstGeom>
          <a:solidFill>
            <a:schemeClr val="bg1"/>
          </a:solidFill>
          <a:ln>
            <a:noFill/>
          </a:ln>
          <a:effectLst>
            <a:outerShdw blurRad="330200" dist="152400" dir="8100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b="0" i="0" dirty="0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50AC85D8-D314-EDC5-70B4-3BEEBD081332}"/>
              </a:ext>
            </a:extLst>
          </p:cNvPr>
          <p:cNvSpPr/>
          <p:nvPr userDrawn="1"/>
        </p:nvSpPr>
        <p:spPr>
          <a:xfrm>
            <a:off x="6214035" y="1590288"/>
            <a:ext cx="2627834" cy="4354286"/>
          </a:xfrm>
          <a:prstGeom prst="roundRect">
            <a:avLst>
              <a:gd name="adj" fmla="val 4152"/>
            </a:avLst>
          </a:prstGeom>
          <a:solidFill>
            <a:schemeClr val="bg1"/>
          </a:solidFill>
          <a:ln>
            <a:noFill/>
          </a:ln>
          <a:effectLst>
            <a:outerShdw blurRad="330200" dist="152400" dir="8100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b="0" i="0" dirty="0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F56F61B8-2E65-DDB6-C916-9AC6B5DD7EB8}"/>
              </a:ext>
            </a:extLst>
          </p:cNvPr>
          <p:cNvSpPr/>
          <p:nvPr userDrawn="1"/>
        </p:nvSpPr>
        <p:spPr>
          <a:xfrm>
            <a:off x="9077939" y="1590288"/>
            <a:ext cx="2627834" cy="4354286"/>
          </a:xfrm>
          <a:prstGeom prst="roundRect">
            <a:avLst>
              <a:gd name="adj" fmla="val 4152"/>
            </a:avLst>
          </a:prstGeom>
          <a:solidFill>
            <a:schemeClr val="bg1"/>
          </a:solidFill>
          <a:ln>
            <a:noFill/>
          </a:ln>
          <a:effectLst>
            <a:outerShdw blurRad="330200" dist="152400" dir="8100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b="0" i="0" dirty="0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18616763-EC3B-D247-BF15-155ED19AE9A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88895" y="2726034"/>
            <a:ext cx="2222500" cy="2997199"/>
          </a:xfrm>
          <a:prstGeom prst="rect">
            <a:avLst/>
          </a:prstGeom>
        </p:spPr>
        <p:txBody>
          <a:bodyPr/>
          <a:lstStyle>
            <a:lvl1pPr marL="180000" indent="-180000">
              <a:buClr>
                <a:srgbClr val="00BD4D"/>
              </a:buClr>
              <a:defRPr sz="1600" b="0" i="0">
                <a:latin typeface="Lato" panose="020F0502020204030203" pitchFamily="34" charset="77"/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5B979F07-63C8-553A-4328-2C0AA873D83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88895" y="1833405"/>
            <a:ext cx="2222500" cy="549729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00BD4D"/>
              </a:buClr>
              <a:buNone/>
              <a:defRPr sz="1800" b="1" i="0">
                <a:solidFill>
                  <a:srgbClr val="00BD4D"/>
                </a:solidFill>
                <a:latin typeface="Lato" panose="020F0502020204030203" pitchFamily="34" charset="77"/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88874B35-8FF8-824E-0ECF-55CD0F64D90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552798" y="2726034"/>
            <a:ext cx="2222500" cy="2997199"/>
          </a:xfrm>
          <a:prstGeom prst="rect">
            <a:avLst/>
          </a:prstGeom>
        </p:spPr>
        <p:txBody>
          <a:bodyPr/>
          <a:lstStyle>
            <a:lvl1pPr marL="180000" indent="-180000">
              <a:buClr>
                <a:srgbClr val="00BD4D"/>
              </a:buClr>
              <a:defRPr sz="1600" b="0" i="0">
                <a:latin typeface="Lato" panose="020F0502020204030203" pitchFamily="34" charset="77"/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922D42BD-8A39-8A45-5820-C5756A3F83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552798" y="1833405"/>
            <a:ext cx="2222500" cy="549729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00BD4D"/>
              </a:buClr>
              <a:buNone/>
              <a:defRPr sz="1800" b="1" i="0">
                <a:solidFill>
                  <a:srgbClr val="00BD4D"/>
                </a:solidFill>
                <a:latin typeface="Lato" panose="020F0502020204030203" pitchFamily="34" charset="77"/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7802A58A-5BBC-3D2D-76DD-E600F7E4DF3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416702" y="2726034"/>
            <a:ext cx="2222500" cy="2997199"/>
          </a:xfrm>
          <a:prstGeom prst="rect">
            <a:avLst/>
          </a:prstGeom>
        </p:spPr>
        <p:txBody>
          <a:bodyPr/>
          <a:lstStyle>
            <a:lvl1pPr marL="180000" indent="-180000">
              <a:buClr>
                <a:srgbClr val="00BD4D"/>
              </a:buClr>
              <a:defRPr sz="1600" b="0" i="0">
                <a:latin typeface="Lato" panose="020F0502020204030203" pitchFamily="34" charset="77"/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320F2310-CE9B-4319-0B69-C8E275AE2BF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16702" y="1833405"/>
            <a:ext cx="2222500" cy="549729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00BD4D"/>
              </a:buClr>
              <a:buNone/>
              <a:defRPr sz="1800" b="1" i="0">
                <a:solidFill>
                  <a:srgbClr val="00BD4D"/>
                </a:solidFill>
                <a:latin typeface="Lato" panose="020F0502020204030203" pitchFamily="34" charset="77"/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1F493DC2-3A00-2449-1A87-E1EA2EC64D4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280606" y="2726034"/>
            <a:ext cx="2222500" cy="2997199"/>
          </a:xfrm>
          <a:prstGeom prst="rect">
            <a:avLst/>
          </a:prstGeom>
        </p:spPr>
        <p:txBody>
          <a:bodyPr/>
          <a:lstStyle>
            <a:lvl1pPr marL="180000" indent="-180000">
              <a:buClr>
                <a:srgbClr val="00BD4D"/>
              </a:buClr>
              <a:defRPr sz="1600" b="0" i="0">
                <a:latin typeface="Lato" panose="020F0502020204030203" pitchFamily="34" charset="77"/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21C0CA18-9AC0-FD42-E0C0-68AADE7D2C5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280606" y="1833405"/>
            <a:ext cx="2222500" cy="549729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00BD4D"/>
              </a:buClr>
              <a:buNone/>
              <a:defRPr sz="1800" b="1" i="0">
                <a:solidFill>
                  <a:srgbClr val="00BD4D"/>
                </a:solidFill>
                <a:latin typeface="Lato" panose="020F0502020204030203" pitchFamily="34" charset="77"/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3250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D9E1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raphic 8">
            <a:extLst>
              <a:ext uri="{FF2B5EF4-FFF2-40B4-BE49-F238E27FC236}">
                <a16:creationId xmlns:a16="http://schemas.microsoft.com/office/drawing/2014/main" id="{728B79A7-1FC9-B1EA-35B4-4C7C486F3D36}"/>
              </a:ext>
            </a:extLst>
          </p:cNvPr>
          <p:cNvSpPr/>
          <p:nvPr userDrawn="1"/>
        </p:nvSpPr>
        <p:spPr>
          <a:xfrm>
            <a:off x="-1721645" y="-333829"/>
            <a:ext cx="7525662" cy="7525660"/>
          </a:xfrm>
          <a:custGeom>
            <a:avLst/>
            <a:gdLst>
              <a:gd name="connsiteX0" fmla="*/ 3985217 w 4062497"/>
              <a:gd name="connsiteY0" fmla="*/ 1844654 h 4062497"/>
              <a:gd name="connsiteX1" fmla="*/ 2217844 w 4062497"/>
              <a:gd name="connsiteY1" fmla="*/ 77281 h 4062497"/>
              <a:gd name="connsiteX2" fmla="*/ 1844654 w 4062497"/>
              <a:gd name="connsiteY2" fmla="*/ 77281 h 4062497"/>
              <a:gd name="connsiteX3" fmla="*/ 77281 w 4062497"/>
              <a:gd name="connsiteY3" fmla="*/ 1844654 h 4062497"/>
              <a:gd name="connsiteX4" fmla="*/ 77281 w 4062497"/>
              <a:gd name="connsiteY4" fmla="*/ 2217844 h 4062497"/>
              <a:gd name="connsiteX5" fmla="*/ 1844654 w 4062497"/>
              <a:gd name="connsiteY5" fmla="*/ 3985217 h 4062497"/>
              <a:gd name="connsiteX6" fmla="*/ 2217844 w 4062497"/>
              <a:gd name="connsiteY6" fmla="*/ 3985217 h 4062497"/>
              <a:gd name="connsiteX7" fmla="*/ 3985217 w 4062497"/>
              <a:gd name="connsiteY7" fmla="*/ 2217844 h 4062497"/>
              <a:gd name="connsiteX8" fmla="*/ 3985217 w 4062497"/>
              <a:gd name="connsiteY8" fmla="*/ 1844654 h 4062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2497" h="4062497">
                <a:moveTo>
                  <a:pt x="3985217" y="1844654"/>
                </a:moveTo>
                <a:lnTo>
                  <a:pt x="2217844" y="77281"/>
                </a:lnTo>
                <a:cubicBezTo>
                  <a:pt x="2114803" y="-25760"/>
                  <a:pt x="1947695" y="-25760"/>
                  <a:pt x="1844654" y="77281"/>
                </a:cubicBezTo>
                <a:lnTo>
                  <a:pt x="77281" y="1844654"/>
                </a:lnTo>
                <a:cubicBezTo>
                  <a:pt x="-25760" y="1947695"/>
                  <a:pt x="-25760" y="2114803"/>
                  <a:pt x="77281" y="2217844"/>
                </a:cubicBezTo>
                <a:lnTo>
                  <a:pt x="1844654" y="3985217"/>
                </a:lnTo>
                <a:cubicBezTo>
                  <a:pt x="1947695" y="4088258"/>
                  <a:pt x="2114803" y="4088258"/>
                  <a:pt x="2217844" y="3985217"/>
                </a:cubicBezTo>
                <a:lnTo>
                  <a:pt x="3985217" y="2217844"/>
                </a:lnTo>
                <a:cubicBezTo>
                  <a:pt x="4088258" y="2114803"/>
                  <a:pt x="4088258" y="1947695"/>
                  <a:pt x="3985217" y="1844654"/>
                </a:cubicBezTo>
                <a:close/>
              </a:path>
            </a:pathLst>
          </a:custGeom>
          <a:gradFill>
            <a:gsLst>
              <a:gs pos="12000">
                <a:schemeClr val="bg1">
                  <a:alpha val="60000"/>
                </a:schemeClr>
              </a:gs>
              <a:gs pos="74000">
                <a:schemeClr val="bg1">
                  <a:alpha val="0"/>
                </a:schemeClr>
              </a:gs>
            </a:gsLst>
            <a:lin ang="8100000" scaled="1"/>
          </a:gradFill>
          <a:ln w="685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DD804E-CD2A-5361-7B2A-9C98F84243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861" y="1220841"/>
            <a:ext cx="4571999" cy="2086734"/>
          </a:xfrm>
          <a:prstGeom prst="rect">
            <a:avLst/>
          </a:prstGeom>
        </p:spPr>
        <p:txBody>
          <a:bodyPr anchor="b"/>
          <a:lstStyle>
            <a:lvl1pPr>
              <a:defRPr sz="3400" b="1" i="0" cap="all" baseline="0">
                <a:latin typeface="Lato" panose="020F0502020204030203" pitchFamily="34" charset="77"/>
              </a:defRPr>
            </a:lvl1pPr>
          </a:lstStyle>
          <a:p>
            <a:r>
              <a:rPr lang="en-US" dirty="0"/>
              <a:t>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3B1043-9C7B-996E-7BE9-55659C66C4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21791" y="556542"/>
            <a:ext cx="5118666" cy="5570749"/>
          </a:xfrm>
          <a:prstGeom prst="rect">
            <a:avLst/>
          </a:prstGeom>
        </p:spPr>
        <p:txBody>
          <a:bodyPr anchor="ctr"/>
          <a:lstStyle>
            <a:lvl1pPr marL="216000" indent="-216000">
              <a:buClr>
                <a:srgbClr val="00BD4D"/>
              </a:buClr>
              <a:defRPr sz="2000" b="0" i="0">
                <a:latin typeface="Lato" panose="020F0502020204030203" pitchFamily="34" charset="77"/>
              </a:defRPr>
            </a:lvl1pPr>
            <a:lvl2pPr marL="432000" indent="-216000">
              <a:buClr>
                <a:srgbClr val="00BD4D"/>
              </a:buClr>
              <a:defRPr sz="1800" b="0" i="0">
                <a:latin typeface="Lato" panose="020F0502020204030203" pitchFamily="34" charset="77"/>
              </a:defRPr>
            </a:lvl2pPr>
            <a:lvl3pPr marL="648000" indent="-216000">
              <a:buClr>
                <a:srgbClr val="00BD4D"/>
              </a:buClr>
              <a:defRPr sz="1600" b="0" i="0">
                <a:latin typeface="Lato" panose="020F0502020204030203" pitchFamily="34" charset="77"/>
              </a:defRPr>
            </a:lvl3pPr>
            <a:lvl4pPr marL="864000" indent="-216000">
              <a:buClr>
                <a:srgbClr val="00BD4D"/>
              </a:buClr>
              <a:defRPr sz="1400" b="0" i="0">
                <a:latin typeface="Lato" panose="020F0502020204030203" pitchFamily="34" charset="77"/>
              </a:defRPr>
            </a:lvl4pPr>
            <a:lvl5pPr marL="1080000" indent="-216000">
              <a:buClr>
                <a:srgbClr val="00BD4D"/>
              </a:buClr>
              <a:defRPr sz="1400" b="0" i="0">
                <a:latin typeface="Lato" panose="020F0502020204030203" pitchFamily="34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0EDFA944-BFAD-C509-0F13-3318B7E21A97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1122821" y="6467484"/>
            <a:ext cx="799740" cy="170885"/>
          </a:xfrm>
          <a:prstGeom prst="rect">
            <a:avLst/>
          </a:prstGeom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D8D64587-B846-D17A-11D3-B833B185C0A9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548678" y="3662863"/>
            <a:ext cx="4571999" cy="70756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0" i="0" cap="all" baseline="0">
                <a:solidFill>
                  <a:schemeClr val="tx1"/>
                </a:solidFill>
                <a:latin typeface="Lato" panose="020F0502020204030203" pitchFamily="34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8F702B2-9D1F-4D7B-476D-0BD32F94E84C}"/>
              </a:ext>
            </a:extLst>
          </p:cNvPr>
          <p:cNvPicPr preferRelativeResize="0"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1449" y="3384114"/>
            <a:ext cx="4572000" cy="27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041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AF32673-FF1C-1B63-4F1D-2EFB8E6589C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1999" cy="6857999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A0C64471-0DCF-1519-DBA4-8F81EB1D03F4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2821" y="6467484"/>
            <a:ext cx="799740" cy="17088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3569345-E164-E3ED-6C10-3A25A1F47D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8540" y="1206392"/>
            <a:ext cx="5066240" cy="1219309"/>
          </a:xfrm>
          <a:prstGeom prst="rect">
            <a:avLst/>
          </a:prstGeom>
          <a:noFill/>
        </p:spPr>
        <p:txBody>
          <a:bodyPr wrap="square" rtlCol="0" anchor="b">
            <a:noAutofit/>
          </a:bodyPr>
          <a:lstStyle>
            <a:lvl1pPr>
              <a:defRPr lang="en-US" sz="3400" b="1" i="0" cap="all" baseline="0">
                <a:latin typeface="Lato" panose="020F0502020204030203" pitchFamily="34" charset="77"/>
                <a:ea typeface="+mn-ea"/>
                <a:cs typeface="+mn-cs"/>
              </a:defRPr>
            </a:lvl1pPr>
          </a:lstStyle>
          <a:p>
            <a:pPr marL="0" lvl="0"/>
            <a:r>
              <a:rPr lang="en-US" dirty="0"/>
              <a:t>section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D28C83C-6BF0-B006-7FDE-253A9277548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2036" y="3232769"/>
            <a:ext cx="5258689" cy="3079402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indent="0">
              <a:buNone/>
              <a:defRPr lang="en-US" sz="1800" b="0" i="0" dirty="0"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GB"/>
              <a:t>Click to edit Master text styl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B92631E-47D8-0B7D-B1E3-1D65839F91C3}"/>
              </a:ext>
            </a:extLst>
          </p:cNvPr>
          <p:cNvPicPr preferRelativeResize="0">
            <a:picLocks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707020" y="2448003"/>
            <a:ext cx="4937760" cy="27432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F261207-E3B8-3F67-61E6-64A8809E6E10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548677" y="2604441"/>
            <a:ext cx="5258689" cy="70756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0" i="0" cap="all" baseline="0">
                <a:solidFill>
                  <a:schemeClr val="tx1"/>
                </a:solidFill>
                <a:latin typeface="Lato" panose="020F0502020204030203" pitchFamily="34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714661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and Content" preserve="1" userDrawn="1">
  <p:cSld name="4_Title and Content">
    <p:spTree>
      <p:nvGrpSpPr>
        <p:cNvPr id="1" name="Shape 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0" name="Google Shape;160;p68"/>
          <p:cNvPicPr preferRelativeResize="0"/>
          <p:nvPr userDrawn="1"/>
        </p:nvPicPr>
        <p:blipFill>
          <a:blip r:embed="rId2"/>
          <a:srcRect/>
          <a:stretch/>
        </p:blipFill>
        <p:spPr>
          <a:xfrm>
            <a:off x="-1" y="266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62" name="Google Shape;162;p68"/>
          <p:cNvSpPr txBox="1">
            <a:spLocks noGrp="1"/>
          </p:cNvSpPr>
          <p:nvPr>
            <p:ph type="body" idx="1"/>
          </p:nvPr>
        </p:nvSpPr>
        <p:spPr>
          <a:xfrm>
            <a:off x="512466" y="3476761"/>
            <a:ext cx="4199234" cy="2861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3" name="Google Shape;163;p68"/>
          <p:cNvSpPr txBox="1">
            <a:spLocks noGrp="1"/>
          </p:cNvSpPr>
          <p:nvPr>
            <p:ph type="title"/>
          </p:nvPr>
        </p:nvSpPr>
        <p:spPr>
          <a:xfrm>
            <a:off x="580601" y="1215317"/>
            <a:ext cx="4197355" cy="12193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400"/>
              <a:buFont typeface="Lato"/>
              <a:buNone/>
              <a:defRPr sz="3400" b="1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/>
              <a:t>Click to edit Master title style</a:t>
            </a:r>
            <a:endParaRPr dirty="0"/>
          </a:p>
        </p:txBody>
      </p:sp>
      <p:sp>
        <p:nvSpPr>
          <p:cNvPr id="164" name="Google Shape;164;p68"/>
          <p:cNvSpPr txBox="1">
            <a:spLocks noGrp="1"/>
          </p:cNvSpPr>
          <p:nvPr>
            <p:ph type="body" idx="2"/>
          </p:nvPr>
        </p:nvSpPr>
        <p:spPr>
          <a:xfrm>
            <a:off x="512466" y="2599758"/>
            <a:ext cx="4197355" cy="707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98A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98A"/>
                </a:solidFill>
                <a:latin typeface="Lato Light"/>
                <a:ea typeface="Lato Light"/>
                <a:cs typeface="Lato Light"/>
                <a:sym typeface="Lato Light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98A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98A"/>
                </a:solidFill>
                <a:latin typeface="Lato Light"/>
                <a:ea typeface="Lato Light"/>
                <a:cs typeface="Lato Light"/>
                <a:sym typeface="Lato Light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98A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98A"/>
                </a:solidFill>
                <a:latin typeface="Lato Light"/>
                <a:ea typeface="Lato Light"/>
                <a:cs typeface="Lato Light"/>
                <a:sym typeface="Lato Light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98A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98A"/>
                </a:solidFill>
                <a:latin typeface="Lato Light"/>
                <a:ea typeface="Lato Light"/>
                <a:cs typeface="Lato Light"/>
                <a:sym typeface="Lato Light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98A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98A"/>
                </a:solidFill>
                <a:latin typeface="Lato Light"/>
                <a:ea typeface="Lato Light"/>
                <a:cs typeface="Lato Light"/>
                <a:sym typeface="Lato Light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98A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98A"/>
                </a:solidFill>
                <a:latin typeface="Lato Light"/>
                <a:ea typeface="Lato Light"/>
                <a:cs typeface="Lato Light"/>
                <a:sym typeface="Lato Light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98A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98A"/>
                </a:solidFill>
                <a:latin typeface="Lato Light"/>
                <a:ea typeface="Lato Light"/>
                <a:cs typeface="Lato Light"/>
                <a:sym typeface="Lato Light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98A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98A"/>
                </a:solidFill>
                <a:latin typeface="Lato Light"/>
                <a:ea typeface="Lato Light"/>
                <a:cs typeface="Lato Light"/>
                <a:sym typeface="Lato Light"/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166" name="Google Shape;166;p68"/>
          <p:cNvPicPr preferRelativeResize="0"/>
          <p:nvPr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 flipH="1">
            <a:off x="590523" y="2473817"/>
            <a:ext cx="4297680" cy="27432"/>
          </a:xfrm>
          <a:prstGeom prst="rect">
            <a:avLst/>
          </a:prstGeom>
          <a:noFill/>
          <a:ln>
            <a:noFill/>
          </a:ln>
        </p:spPr>
      </p:pic>
      <p:pic>
        <p:nvPicPr>
          <p:cNvPr id="161" name="Google Shape;161;p68"/>
          <p:cNvPicPr preferRelativeResize="0"/>
          <p:nvPr/>
        </p:nvPicPr>
        <p:blipFill rotWithShape="1">
          <a:blip r:embed="rId4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22821" y="6467484"/>
            <a:ext cx="799740" cy="17088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99014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B17574ED-AAEC-08E2-B86F-20CB937F148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DCB3FEB-6A52-DDF0-548B-F38BFDC2CD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99086" y="0"/>
            <a:ext cx="4992914" cy="6858000"/>
          </a:xfrm>
          <a:prstGeom prst="rect">
            <a:avLst/>
          </a:prstGeom>
        </p:spPr>
      </p:pic>
      <p:sp>
        <p:nvSpPr>
          <p:cNvPr id="37" name="Graphic 8">
            <a:extLst>
              <a:ext uri="{FF2B5EF4-FFF2-40B4-BE49-F238E27FC236}">
                <a16:creationId xmlns:a16="http://schemas.microsoft.com/office/drawing/2014/main" id="{B0593C0B-56B5-5CF6-EF35-E49290F39EFB}"/>
              </a:ext>
            </a:extLst>
          </p:cNvPr>
          <p:cNvSpPr/>
          <p:nvPr userDrawn="1"/>
        </p:nvSpPr>
        <p:spPr>
          <a:xfrm>
            <a:off x="6449940" y="-99048"/>
            <a:ext cx="6862704" cy="6862704"/>
          </a:xfrm>
          <a:custGeom>
            <a:avLst/>
            <a:gdLst>
              <a:gd name="connsiteX0" fmla="*/ 3985217 w 4062497"/>
              <a:gd name="connsiteY0" fmla="*/ 1844654 h 4062497"/>
              <a:gd name="connsiteX1" fmla="*/ 2217844 w 4062497"/>
              <a:gd name="connsiteY1" fmla="*/ 77281 h 4062497"/>
              <a:gd name="connsiteX2" fmla="*/ 1844654 w 4062497"/>
              <a:gd name="connsiteY2" fmla="*/ 77281 h 4062497"/>
              <a:gd name="connsiteX3" fmla="*/ 77281 w 4062497"/>
              <a:gd name="connsiteY3" fmla="*/ 1844654 h 4062497"/>
              <a:gd name="connsiteX4" fmla="*/ 77281 w 4062497"/>
              <a:gd name="connsiteY4" fmla="*/ 2217844 h 4062497"/>
              <a:gd name="connsiteX5" fmla="*/ 1844654 w 4062497"/>
              <a:gd name="connsiteY5" fmla="*/ 3985217 h 4062497"/>
              <a:gd name="connsiteX6" fmla="*/ 2217844 w 4062497"/>
              <a:gd name="connsiteY6" fmla="*/ 3985217 h 4062497"/>
              <a:gd name="connsiteX7" fmla="*/ 3985217 w 4062497"/>
              <a:gd name="connsiteY7" fmla="*/ 2217844 h 4062497"/>
              <a:gd name="connsiteX8" fmla="*/ 3985217 w 4062497"/>
              <a:gd name="connsiteY8" fmla="*/ 1844654 h 4062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2497" h="4062497">
                <a:moveTo>
                  <a:pt x="3985217" y="1844654"/>
                </a:moveTo>
                <a:lnTo>
                  <a:pt x="2217844" y="77281"/>
                </a:lnTo>
                <a:cubicBezTo>
                  <a:pt x="2114803" y="-25760"/>
                  <a:pt x="1947695" y="-25760"/>
                  <a:pt x="1844654" y="77281"/>
                </a:cubicBezTo>
                <a:lnTo>
                  <a:pt x="77281" y="1844654"/>
                </a:lnTo>
                <a:cubicBezTo>
                  <a:pt x="-25760" y="1947695"/>
                  <a:pt x="-25760" y="2114803"/>
                  <a:pt x="77281" y="2217844"/>
                </a:cubicBezTo>
                <a:lnTo>
                  <a:pt x="1844654" y="3985217"/>
                </a:lnTo>
                <a:cubicBezTo>
                  <a:pt x="1947695" y="4088258"/>
                  <a:pt x="2114803" y="4088258"/>
                  <a:pt x="2217844" y="3985217"/>
                </a:cubicBezTo>
                <a:lnTo>
                  <a:pt x="3985217" y="2217844"/>
                </a:lnTo>
                <a:cubicBezTo>
                  <a:pt x="4088258" y="2114803"/>
                  <a:pt x="4088258" y="1947695"/>
                  <a:pt x="3985217" y="1844654"/>
                </a:cubicBezTo>
                <a:close/>
              </a:path>
            </a:pathLst>
          </a:custGeom>
          <a:gradFill>
            <a:gsLst>
              <a:gs pos="12000">
                <a:srgbClr val="D9E1E2">
                  <a:alpha val="15000"/>
                </a:srgbClr>
              </a:gs>
              <a:gs pos="74000">
                <a:srgbClr val="D9E1E2">
                  <a:alpha val="0"/>
                </a:srgbClr>
              </a:gs>
            </a:gsLst>
            <a:lin ang="8100000" scaled="1"/>
          </a:gradFill>
          <a:ln w="685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63B4C86-0EE6-9EC3-AE54-F3BE8511A838}"/>
              </a:ext>
            </a:extLst>
          </p:cNvPr>
          <p:cNvSpPr txBox="1"/>
          <p:nvPr userDrawn="1"/>
        </p:nvSpPr>
        <p:spPr>
          <a:xfrm>
            <a:off x="7200141" y="602343"/>
            <a:ext cx="794523" cy="624929"/>
          </a:xfrm>
          <a:custGeom>
            <a:avLst/>
            <a:gdLst/>
            <a:ahLst/>
            <a:cxnLst/>
            <a:rect l="l" t="t" r="r" b="b"/>
            <a:pathLst>
              <a:path w="794523" h="624929">
                <a:moveTo>
                  <a:pt x="737992" y="0"/>
                </a:moveTo>
                <a:lnTo>
                  <a:pt x="794523" y="119230"/>
                </a:lnTo>
                <a:cubicBezTo>
                  <a:pt x="736964" y="138416"/>
                  <a:pt x="695679" y="165140"/>
                  <a:pt x="670668" y="199401"/>
                </a:cubicBezTo>
                <a:cubicBezTo>
                  <a:pt x="645657" y="233663"/>
                  <a:pt x="632466" y="279231"/>
                  <a:pt x="631096" y="336105"/>
                </a:cubicBezTo>
                <a:lnTo>
                  <a:pt x="770883" y="336105"/>
                </a:lnTo>
                <a:lnTo>
                  <a:pt x="770883" y="624929"/>
                </a:lnTo>
                <a:lnTo>
                  <a:pt x="482059" y="624929"/>
                </a:lnTo>
                <a:lnTo>
                  <a:pt x="482059" y="418332"/>
                </a:lnTo>
                <a:cubicBezTo>
                  <a:pt x="482059" y="334049"/>
                  <a:pt x="489425" y="267924"/>
                  <a:pt x="504157" y="219958"/>
                </a:cubicBezTo>
                <a:cubicBezTo>
                  <a:pt x="518890" y="171992"/>
                  <a:pt x="546299" y="128823"/>
                  <a:pt x="586385" y="90450"/>
                </a:cubicBezTo>
                <a:cubicBezTo>
                  <a:pt x="626471" y="52077"/>
                  <a:pt x="677006" y="21927"/>
                  <a:pt x="737992" y="0"/>
                </a:cubicBezTo>
                <a:close/>
                <a:moveTo>
                  <a:pt x="255933" y="0"/>
                </a:moveTo>
                <a:lnTo>
                  <a:pt x="312464" y="119230"/>
                </a:lnTo>
                <a:cubicBezTo>
                  <a:pt x="254905" y="138416"/>
                  <a:pt x="213620" y="165140"/>
                  <a:pt x="188609" y="199401"/>
                </a:cubicBezTo>
                <a:cubicBezTo>
                  <a:pt x="163598" y="233663"/>
                  <a:pt x="150407" y="279231"/>
                  <a:pt x="149037" y="336105"/>
                </a:cubicBezTo>
                <a:lnTo>
                  <a:pt x="288824" y="336105"/>
                </a:lnTo>
                <a:lnTo>
                  <a:pt x="288824" y="624929"/>
                </a:lnTo>
                <a:lnTo>
                  <a:pt x="0" y="624929"/>
                </a:lnTo>
                <a:lnTo>
                  <a:pt x="0" y="418332"/>
                </a:lnTo>
                <a:cubicBezTo>
                  <a:pt x="0" y="334734"/>
                  <a:pt x="7366" y="268781"/>
                  <a:pt x="22098" y="220472"/>
                </a:cubicBezTo>
                <a:cubicBezTo>
                  <a:pt x="36831" y="172164"/>
                  <a:pt x="64069" y="128823"/>
                  <a:pt x="103812" y="90450"/>
                </a:cubicBezTo>
                <a:cubicBezTo>
                  <a:pt x="143555" y="52077"/>
                  <a:pt x="194262" y="21927"/>
                  <a:pt x="255933" y="0"/>
                </a:cubicBezTo>
                <a:close/>
              </a:path>
            </a:pathLst>
          </a:custGeom>
          <a:solidFill>
            <a:srgbClr val="00BD4D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6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Arial" panose="020B0604020202020204" pitchFamily="34" charset="0"/>
              <a:ea typeface="Roboto Slab" pitchFamily="2" charset="0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16C5238-5817-CC92-124E-B4BF55A4D5F0}"/>
              </a:ext>
            </a:extLst>
          </p:cNvPr>
          <p:cNvSpPr txBox="1"/>
          <p:nvPr userDrawn="1"/>
        </p:nvSpPr>
        <p:spPr>
          <a:xfrm rot="10800000">
            <a:off x="11437256" y="5597290"/>
            <a:ext cx="469007" cy="368896"/>
          </a:xfrm>
          <a:custGeom>
            <a:avLst/>
            <a:gdLst/>
            <a:ahLst/>
            <a:cxnLst/>
            <a:rect l="l" t="t" r="r" b="b"/>
            <a:pathLst>
              <a:path w="794523" h="624929">
                <a:moveTo>
                  <a:pt x="737992" y="0"/>
                </a:moveTo>
                <a:lnTo>
                  <a:pt x="794523" y="119230"/>
                </a:lnTo>
                <a:cubicBezTo>
                  <a:pt x="736964" y="138416"/>
                  <a:pt x="695679" y="165140"/>
                  <a:pt x="670668" y="199401"/>
                </a:cubicBezTo>
                <a:cubicBezTo>
                  <a:pt x="645657" y="233663"/>
                  <a:pt x="632466" y="279231"/>
                  <a:pt x="631096" y="336105"/>
                </a:cubicBezTo>
                <a:lnTo>
                  <a:pt x="770883" y="336105"/>
                </a:lnTo>
                <a:lnTo>
                  <a:pt x="770883" y="624929"/>
                </a:lnTo>
                <a:lnTo>
                  <a:pt x="482059" y="624929"/>
                </a:lnTo>
                <a:lnTo>
                  <a:pt x="482059" y="418332"/>
                </a:lnTo>
                <a:cubicBezTo>
                  <a:pt x="482059" y="334049"/>
                  <a:pt x="489425" y="267924"/>
                  <a:pt x="504157" y="219958"/>
                </a:cubicBezTo>
                <a:cubicBezTo>
                  <a:pt x="518890" y="171992"/>
                  <a:pt x="546299" y="128823"/>
                  <a:pt x="586385" y="90450"/>
                </a:cubicBezTo>
                <a:cubicBezTo>
                  <a:pt x="626471" y="52077"/>
                  <a:pt x="677006" y="21927"/>
                  <a:pt x="737992" y="0"/>
                </a:cubicBezTo>
                <a:close/>
                <a:moveTo>
                  <a:pt x="255933" y="0"/>
                </a:moveTo>
                <a:lnTo>
                  <a:pt x="312464" y="119230"/>
                </a:lnTo>
                <a:cubicBezTo>
                  <a:pt x="254905" y="138416"/>
                  <a:pt x="213620" y="165140"/>
                  <a:pt x="188609" y="199401"/>
                </a:cubicBezTo>
                <a:cubicBezTo>
                  <a:pt x="163598" y="233663"/>
                  <a:pt x="150407" y="279231"/>
                  <a:pt x="149037" y="336105"/>
                </a:cubicBezTo>
                <a:lnTo>
                  <a:pt x="288824" y="336105"/>
                </a:lnTo>
                <a:lnTo>
                  <a:pt x="288824" y="624929"/>
                </a:lnTo>
                <a:lnTo>
                  <a:pt x="0" y="624929"/>
                </a:lnTo>
                <a:lnTo>
                  <a:pt x="0" y="418332"/>
                </a:lnTo>
                <a:cubicBezTo>
                  <a:pt x="0" y="334734"/>
                  <a:pt x="7366" y="268781"/>
                  <a:pt x="22098" y="220472"/>
                </a:cubicBezTo>
                <a:cubicBezTo>
                  <a:pt x="36831" y="172164"/>
                  <a:pt x="64069" y="128823"/>
                  <a:pt x="103812" y="90450"/>
                </a:cubicBezTo>
                <a:cubicBezTo>
                  <a:pt x="143555" y="52077"/>
                  <a:pt x="194262" y="21927"/>
                  <a:pt x="255933" y="0"/>
                </a:cubicBezTo>
                <a:close/>
              </a:path>
            </a:pathLst>
          </a:custGeom>
          <a:solidFill>
            <a:srgbClr val="00BD4D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6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Arial" panose="020B0604020202020204" pitchFamily="34" charset="0"/>
              <a:ea typeface="Roboto Slab" pitchFamily="2" charset="0"/>
              <a:cs typeface="Arial" panose="020B0604020202020204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5473945-E8AD-0B8E-1270-B6575BF14A0F}"/>
              </a:ext>
            </a:extLst>
          </p:cNvPr>
          <p:cNvGrpSpPr/>
          <p:nvPr userDrawn="1"/>
        </p:nvGrpSpPr>
        <p:grpSpPr>
          <a:xfrm>
            <a:off x="11122821" y="6472473"/>
            <a:ext cx="799629" cy="166100"/>
            <a:chOff x="11122821" y="6472473"/>
            <a:chExt cx="799629" cy="166100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9E4313B-3ECB-D3A6-0FCA-F16A53EB0235}"/>
                </a:ext>
              </a:extLst>
            </p:cNvPr>
            <p:cNvSpPr/>
            <p:nvPr/>
          </p:nvSpPr>
          <p:spPr>
            <a:xfrm rot="18900000">
              <a:off x="11134957" y="6473485"/>
              <a:ext cx="35147" cy="35147"/>
            </a:xfrm>
            <a:custGeom>
              <a:avLst/>
              <a:gdLst>
                <a:gd name="connsiteX0" fmla="*/ 32044 w 35147"/>
                <a:gd name="connsiteY0" fmla="*/ 0 h 35147"/>
                <a:gd name="connsiteX1" fmla="*/ 35148 w 35147"/>
                <a:gd name="connsiteY1" fmla="*/ 3103 h 35147"/>
                <a:gd name="connsiteX2" fmla="*/ 35148 w 35147"/>
                <a:gd name="connsiteY2" fmla="*/ 32044 h 35147"/>
                <a:gd name="connsiteX3" fmla="*/ 32044 w 35147"/>
                <a:gd name="connsiteY3" fmla="*/ 35148 h 35147"/>
                <a:gd name="connsiteX4" fmla="*/ 3103 w 35147"/>
                <a:gd name="connsiteY4" fmla="*/ 35148 h 35147"/>
                <a:gd name="connsiteX5" fmla="*/ 0 w 35147"/>
                <a:gd name="connsiteY5" fmla="*/ 32044 h 35147"/>
                <a:gd name="connsiteX6" fmla="*/ 0 w 35147"/>
                <a:gd name="connsiteY6" fmla="*/ 3103 h 35147"/>
                <a:gd name="connsiteX7" fmla="*/ 3103 w 35147"/>
                <a:gd name="connsiteY7" fmla="*/ 0 h 35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147" h="35147">
                  <a:moveTo>
                    <a:pt x="32044" y="0"/>
                  </a:moveTo>
                  <a:cubicBezTo>
                    <a:pt x="33758" y="0"/>
                    <a:pt x="35148" y="1389"/>
                    <a:pt x="35148" y="3103"/>
                  </a:cubicBezTo>
                  <a:lnTo>
                    <a:pt x="35148" y="32044"/>
                  </a:lnTo>
                  <a:cubicBezTo>
                    <a:pt x="35148" y="33758"/>
                    <a:pt x="33758" y="35148"/>
                    <a:pt x="32044" y="35148"/>
                  </a:cubicBezTo>
                  <a:lnTo>
                    <a:pt x="3103" y="35148"/>
                  </a:lnTo>
                  <a:cubicBezTo>
                    <a:pt x="1389" y="35148"/>
                    <a:pt x="0" y="33758"/>
                    <a:pt x="0" y="32044"/>
                  </a:cubicBezTo>
                  <a:lnTo>
                    <a:pt x="0" y="3103"/>
                  </a:lnTo>
                  <a:cubicBezTo>
                    <a:pt x="0" y="1389"/>
                    <a:pt x="1389" y="0"/>
                    <a:pt x="3103" y="0"/>
                  </a:cubicBezTo>
                  <a:close/>
                </a:path>
              </a:pathLst>
            </a:custGeom>
            <a:solidFill>
              <a:srgbClr val="00BD4D"/>
            </a:solidFill>
            <a:ln w="135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297FE085-4C68-840A-EEB7-436D212C10A9}"/>
                </a:ext>
              </a:extLst>
            </p:cNvPr>
            <p:cNvGrpSpPr/>
            <p:nvPr/>
          </p:nvGrpSpPr>
          <p:grpSpPr>
            <a:xfrm>
              <a:off x="11122821" y="6472473"/>
              <a:ext cx="799629" cy="166100"/>
              <a:chOff x="11122821" y="6472473"/>
              <a:chExt cx="799629" cy="166100"/>
            </a:xfrm>
            <a:solidFill>
              <a:schemeClr val="bg1"/>
            </a:solidFill>
          </p:grpSpPr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716263FF-00A3-6B5E-F961-CDF5B724DBF0}"/>
                  </a:ext>
                </a:extLst>
              </p:cNvPr>
              <p:cNvSpPr/>
              <p:nvPr/>
            </p:nvSpPr>
            <p:spPr>
              <a:xfrm>
                <a:off x="11774281" y="6519597"/>
                <a:ext cx="119385" cy="116611"/>
              </a:xfrm>
              <a:custGeom>
                <a:avLst/>
                <a:gdLst>
                  <a:gd name="connsiteX0" fmla="*/ 82523 w 119385"/>
                  <a:gd name="connsiteY0" fmla="*/ 58306 h 116611"/>
                  <a:gd name="connsiteX1" fmla="*/ 118887 w 119385"/>
                  <a:gd name="connsiteY1" fmla="*/ 112265 h 116611"/>
                  <a:gd name="connsiteX2" fmla="*/ 116385 w 119385"/>
                  <a:gd name="connsiteY2" fmla="*/ 116612 h 116611"/>
                  <a:gd name="connsiteX3" fmla="*/ 85831 w 119385"/>
                  <a:gd name="connsiteY3" fmla="*/ 116612 h 116611"/>
                  <a:gd name="connsiteX4" fmla="*/ 80718 w 119385"/>
                  <a:gd name="connsiteY4" fmla="*/ 113919 h 116611"/>
                  <a:gd name="connsiteX5" fmla="*/ 59693 w 119385"/>
                  <a:gd name="connsiteY5" fmla="*/ 81751 h 116611"/>
                  <a:gd name="connsiteX6" fmla="*/ 38667 w 119385"/>
                  <a:gd name="connsiteY6" fmla="*/ 113919 h 116611"/>
                  <a:gd name="connsiteX7" fmla="*/ 33554 w 119385"/>
                  <a:gd name="connsiteY7" fmla="*/ 116612 h 116611"/>
                  <a:gd name="connsiteX8" fmla="*/ 3000 w 119385"/>
                  <a:gd name="connsiteY8" fmla="*/ 116612 h 116611"/>
                  <a:gd name="connsiteX9" fmla="*/ 498 w 119385"/>
                  <a:gd name="connsiteY9" fmla="*/ 112265 h 116611"/>
                  <a:gd name="connsiteX10" fmla="*/ 36753 w 119385"/>
                  <a:gd name="connsiteY10" fmla="*/ 58306 h 116611"/>
                  <a:gd name="connsiteX11" fmla="*/ 498 w 119385"/>
                  <a:gd name="connsiteY11" fmla="*/ 4347 h 116611"/>
                  <a:gd name="connsiteX12" fmla="*/ 3000 w 119385"/>
                  <a:gd name="connsiteY12" fmla="*/ 0 h 116611"/>
                  <a:gd name="connsiteX13" fmla="*/ 34853 w 119385"/>
                  <a:gd name="connsiteY13" fmla="*/ 0 h 116611"/>
                  <a:gd name="connsiteX14" fmla="*/ 37778 w 119385"/>
                  <a:gd name="connsiteY14" fmla="*/ 1449 h 116611"/>
                  <a:gd name="connsiteX15" fmla="*/ 59679 w 119385"/>
                  <a:gd name="connsiteY15" fmla="*/ 34806 h 116611"/>
                  <a:gd name="connsiteX16" fmla="*/ 80240 w 119385"/>
                  <a:gd name="connsiteY16" fmla="*/ 1463 h 116611"/>
                  <a:gd name="connsiteX17" fmla="*/ 83165 w 119385"/>
                  <a:gd name="connsiteY17" fmla="*/ 0 h 116611"/>
                  <a:gd name="connsiteX18" fmla="*/ 115333 w 119385"/>
                  <a:gd name="connsiteY18" fmla="*/ 0 h 116611"/>
                  <a:gd name="connsiteX19" fmla="*/ 117834 w 119385"/>
                  <a:gd name="connsiteY19" fmla="*/ 4334 h 116611"/>
                  <a:gd name="connsiteX20" fmla="*/ 82495 w 119385"/>
                  <a:gd name="connsiteY20" fmla="*/ 58306 h 116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19385" h="116611">
                    <a:moveTo>
                      <a:pt x="82523" y="58306"/>
                    </a:moveTo>
                    <a:lnTo>
                      <a:pt x="118887" y="112265"/>
                    </a:lnTo>
                    <a:cubicBezTo>
                      <a:pt x="120199" y="114124"/>
                      <a:pt x="118764" y="116612"/>
                      <a:pt x="116385" y="116612"/>
                    </a:cubicBezTo>
                    <a:lnTo>
                      <a:pt x="85831" y="116612"/>
                    </a:lnTo>
                    <a:cubicBezTo>
                      <a:pt x="83794" y="116612"/>
                      <a:pt x="81880" y="115600"/>
                      <a:pt x="80718" y="113919"/>
                    </a:cubicBezTo>
                    <a:lnTo>
                      <a:pt x="59693" y="81751"/>
                    </a:lnTo>
                    <a:lnTo>
                      <a:pt x="38667" y="113919"/>
                    </a:lnTo>
                    <a:cubicBezTo>
                      <a:pt x="37505" y="115600"/>
                      <a:pt x="35605" y="116612"/>
                      <a:pt x="33554" y="116612"/>
                    </a:cubicBezTo>
                    <a:lnTo>
                      <a:pt x="3000" y="116612"/>
                    </a:lnTo>
                    <a:cubicBezTo>
                      <a:pt x="621" y="116612"/>
                      <a:pt x="-814" y="114138"/>
                      <a:pt x="498" y="112265"/>
                    </a:cubicBezTo>
                    <a:lnTo>
                      <a:pt x="36753" y="58306"/>
                    </a:lnTo>
                    <a:lnTo>
                      <a:pt x="498" y="4347"/>
                    </a:lnTo>
                    <a:cubicBezTo>
                      <a:pt x="-814" y="2488"/>
                      <a:pt x="621" y="0"/>
                      <a:pt x="3000" y="0"/>
                    </a:cubicBezTo>
                    <a:lnTo>
                      <a:pt x="34853" y="0"/>
                    </a:lnTo>
                    <a:cubicBezTo>
                      <a:pt x="36042" y="0"/>
                      <a:pt x="37149" y="547"/>
                      <a:pt x="37778" y="1449"/>
                    </a:cubicBezTo>
                    <a:lnTo>
                      <a:pt x="59679" y="34806"/>
                    </a:lnTo>
                    <a:lnTo>
                      <a:pt x="80240" y="1463"/>
                    </a:lnTo>
                    <a:cubicBezTo>
                      <a:pt x="80855" y="561"/>
                      <a:pt x="81976" y="0"/>
                      <a:pt x="83165" y="0"/>
                    </a:cubicBezTo>
                    <a:lnTo>
                      <a:pt x="115333" y="0"/>
                    </a:lnTo>
                    <a:cubicBezTo>
                      <a:pt x="117711" y="0"/>
                      <a:pt x="119133" y="2474"/>
                      <a:pt x="117834" y="4334"/>
                    </a:cubicBezTo>
                    <a:lnTo>
                      <a:pt x="82495" y="58306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46921ACE-E273-0A21-604A-6999BBCA0A6A}"/>
                  </a:ext>
                </a:extLst>
              </p:cNvPr>
              <p:cNvSpPr/>
              <p:nvPr/>
            </p:nvSpPr>
            <p:spPr>
              <a:xfrm>
                <a:off x="11284928" y="6472473"/>
                <a:ext cx="78825" cy="163762"/>
              </a:xfrm>
              <a:custGeom>
                <a:avLst/>
                <a:gdLst>
                  <a:gd name="connsiteX0" fmla="*/ 75722 w 78825"/>
                  <a:gd name="connsiteY0" fmla="*/ 14 h 163762"/>
                  <a:gd name="connsiteX1" fmla="*/ 50377 w 78825"/>
                  <a:gd name="connsiteY1" fmla="*/ 14 h 163762"/>
                  <a:gd name="connsiteX2" fmla="*/ 43801 w 78825"/>
                  <a:gd name="connsiteY2" fmla="*/ 2734 h 163762"/>
                  <a:gd name="connsiteX3" fmla="*/ 19987 w 78825"/>
                  <a:gd name="connsiteY3" fmla="*/ 26549 h 163762"/>
                  <a:gd name="connsiteX4" fmla="*/ 17266 w 78825"/>
                  <a:gd name="connsiteY4" fmla="*/ 33124 h 163762"/>
                  <a:gd name="connsiteX5" fmla="*/ 17266 w 78825"/>
                  <a:gd name="connsiteY5" fmla="*/ 51867 h 163762"/>
                  <a:gd name="connsiteX6" fmla="*/ 3049 w 78825"/>
                  <a:gd name="connsiteY6" fmla="*/ 51867 h 163762"/>
                  <a:gd name="connsiteX7" fmla="*/ 0 w 78825"/>
                  <a:gd name="connsiteY7" fmla="*/ 54916 h 163762"/>
                  <a:gd name="connsiteX8" fmla="*/ 0 w 78825"/>
                  <a:gd name="connsiteY8" fmla="*/ 75955 h 163762"/>
                  <a:gd name="connsiteX9" fmla="*/ 3049 w 78825"/>
                  <a:gd name="connsiteY9" fmla="*/ 79004 h 163762"/>
                  <a:gd name="connsiteX10" fmla="*/ 17266 w 78825"/>
                  <a:gd name="connsiteY10" fmla="*/ 79004 h 163762"/>
                  <a:gd name="connsiteX11" fmla="*/ 17266 w 78825"/>
                  <a:gd name="connsiteY11" fmla="*/ 160659 h 163762"/>
                  <a:gd name="connsiteX12" fmla="*/ 20369 w 78825"/>
                  <a:gd name="connsiteY12" fmla="*/ 163763 h 163762"/>
                  <a:gd name="connsiteX13" fmla="*/ 47109 w 78825"/>
                  <a:gd name="connsiteY13" fmla="*/ 163763 h 163762"/>
                  <a:gd name="connsiteX14" fmla="*/ 50213 w 78825"/>
                  <a:gd name="connsiteY14" fmla="*/ 160659 h 163762"/>
                  <a:gd name="connsiteX15" fmla="*/ 50213 w 78825"/>
                  <a:gd name="connsiteY15" fmla="*/ 78990 h 163762"/>
                  <a:gd name="connsiteX16" fmla="*/ 71443 w 78825"/>
                  <a:gd name="connsiteY16" fmla="*/ 78990 h 163762"/>
                  <a:gd name="connsiteX17" fmla="*/ 74492 w 78825"/>
                  <a:gd name="connsiteY17" fmla="*/ 75941 h 163762"/>
                  <a:gd name="connsiteX18" fmla="*/ 74492 w 78825"/>
                  <a:gd name="connsiteY18" fmla="*/ 54902 h 163762"/>
                  <a:gd name="connsiteX19" fmla="*/ 71443 w 78825"/>
                  <a:gd name="connsiteY19" fmla="*/ 51853 h 163762"/>
                  <a:gd name="connsiteX20" fmla="*/ 50213 w 78825"/>
                  <a:gd name="connsiteY20" fmla="*/ 51853 h 163762"/>
                  <a:gd name="connsiteX21" fmla="*/ 50213 w 78825"/>
                  <a:gd name="connsiteY21" fmla="*/ 38565 h 163762"/>
                  <a:gd name="connsiteX22" fmla="*/ 59509 w 78825"/>
                  <a:gd name="connsiteY22" fmla="*/ 29269 h 163762"/>
                  <a:gd name="connsiteX23" fmla="*/ 75722 w 78825"/>
                  <a:gd name="connsiteY23" fmla="*/ 29269 h 163762"/>
                  <a:gd name="connsiteX24" fmla="*/ 78826 w 78825"/>
                  <a:gd name="connsiteY24" fmla="*/ 26166 h 163762"/>
                  <a:gd name="connsiteX25" fmla="*/ 78826 w 78825"/>
                  <a:gd name="connsiteY25" fmla="*/ 3103 h 163762"/>
                  <a:gd name="connsiteX26" fmla="*/ 75722 w 78825"/>
                  <a:gd name="connsiteY26" fmla="*/ 0 h 163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78825" h="163762">
                    <a:moveTo>
                      <a:pt x="75722" y="14"/>
                    </a:moveTo>
                    <a:lnTo>
                      <a:pt x="50377" y="14"/>
                    </a:lnTo>
                    <a:cubicBezTo>
                      <a:pt x="47916" y="14"/>
                      <a:pt x="45551" y="998"/>
                      <a:pt x="43801" y="2734"/>
                    </a:cubicBezTo>
                    <a:lnTo>
                      <a:pt x="19987" y="26549"/>
                    </a:lnTo>
                    <a:cubicBezTo>
                      <a:pt x="18237" y="28299"/>
                      <a:pt x="17266" y="30664"/>
                      <a:pt x="17266" y="33124"/>
                    </a:cubicBezTo>
                    <a:lnTo>
                      <a:pt x="17266" y="51867"/>
                    </a:lnTo>
                    <a:lnTo>
                      <a:pt x="3049" y="51867"/>
                    </a:lnTo>
                    <a:cubicBezTo>
                      <a:pt x="1367" y="51867"/>
                      <a:pt x="0" y="53234"/>
                      <a:pt x="0" y="54916"/>
                    </a:cubicBezTo>
                    <a:lnTo>
                      <a:pt x="0" y="75955"/>
                    </a:lnTo>
                    <a:cubicBezTo>
                      <a:pt x="0" y="77636"/>
                      <a:pt x="1367" y="79004"/>
                      <a:pt x="3049" y="79004"/>
                    </a:cubicBezTo>
                    <a:lnTo>
                      <a:pt x="17266" y="79004"/>
                    </a:lnTo>
                    <a:lnTo>
                      <a:pt x="17266" y="160659"/>
                    </a:lnTo>
                    <a:cubicBezTo>
                      <a:pt x="17266" y="162368"/>
                      <a:pt x="18661" y="163763"/>
                      <a:pt x="20369" y="163763"/>
                    </a:cubicBezTo>
                    <a:lnTo>
                      <a:pt x="47109" y="163763"/>
                    </a:lnTo>
                    <a:cubicBezTo>
                      <a:pt x="48818" y="163763"/>
                      <a:pt x="50213" y="162368"/>
                      <a:pt x="50213" y="160659"/>
                    </a:cubicBezTo>
                    <a:lnTo>
                      <a:pt x="50213" y="78990"/>
                    </a:lnTo>
                    <a:lnTo>
                      <a:pt x="71443" y="78990"/>
                    </a:lnTo>
                    <a:cubicBezTo>
                      <a:pt x="73125" y="78990"/>
                      <a:pt x="74492" y="77623"/>
                      <a:pt x="74492" y="75941"/>
                    </a:cubicBezTo>
                    <a:lnTo>
                      <a:pt x="74492" y="54902"/>
                    </a:lnTo>
                    <a:cubicBezTo>
                      <a:pt x="74492" y="53220"/>
                      <a:pt x="73125" y="51853"/>
                      <a:pt x="71443" y="51853"/>
                    </a:cubicBezTo>
                    <a:lnTo>
                      <a:pt x="50213" y="51853"/>
                    </a:lnTo>
                    <a:lnTo>
                      <a:pt x="50213" y="38565"/>
                    </a:lnTo>
                    <a:cubicBezTo>
                      <a:pt x="50213" y="33425"/>
                      <a:pt x="54382" y="29269"/>
                      <a:pt x="59509" y="29269"/>
                    </a:cubicBezTo>
                    <a:lnTo>
                      <a:pt x="75722" y="29269"/>
                    </a:lnTo>
                    <a:cubicBezTo>
                      <a:pt x="77431" y="29269"/>
                      <a:pt x="78826" y="27875"/>
                      <a:pt x="78826" y="26166"/>
                    </a:cubicBezTo>
                    <a:lnTo>
                      <a:pt x="78826" y="3103"/>
                    </a:lnTo>
                    <a:cubicBezTo>
                      <a:pt x="78826" y="1394"/>
                      <a:pt x="77431" y="0"/>
                      <a:pt x="75722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0477F099-D30F-C59E-F60C-9AE2AC707D1E}"/>
                  </a:ext>
                </a:extLst>
              </p:cNvPr>
              <p:cNvSpPr/>
              <p:nvPr/>
            </p:nvSpPr>
            <p:spPr>
              <a:xfrm>
                <a:off x="11896791" y="6612367"/>
                <a:ext cx="25659" cy="25660"/>
              </a:xfrm>
              <a:custGeom>
                <a:avLst/>
                <a:gdLst>
                  <a:gd name="connsiteX0" fmla="*/ 25660 w 25659"/>
                  <a:gd name="connsiteY0" fmla="*/ 12810 h 25660"/>
                  <a:gd name="connsiteX1" fmla="*/ 12782 w 25659"/>
                  <a:gd name="connsiteY1" fmla="*/ 25660 h 25660"/>
                  <a:gd name="connsiteX2" fmla="*/ 0 w 25659"/>
                  <a:gd name="connsiteY2" fmla="*/ 12810 h 25660"/>
                  <a:gd name="connsiteX3" fmla="*/ 12823 w 25659"/>
                  <a:gd name="connsiteY3" fmla="*/ 0 h 25660"/>
                  <a:gd name="connsiteX4" fmla="*/ 25646 w 25659"/>
                  <a:gd name="connsiteY4" fmla="*/ 12810 h 25660"/>
                  <a:gd name="connsiteX5" fmla="*/ 23691 w 25659"/>
                  <a:gd name="connsiteY5" fmla="*/ 12864 h 25660"/>
                  <a:gd name="connsiteX6" fmla="*/ 12837 w 25659"/>
                  <a:gd name="connsiteY6" fmla="*/ 1832 h 25660"/>
                  <a:gd name="connsiteX7" fmla="*/ 1982 w 25659"/>
                  <a:gd name="connsiteY7" fmla="*/ 12851 h 25660"/>
                  <a:gd name="connsiteX8" fmla="*/ 12782 w 25659"/>
                  <a:gd name="connsiteY8" fmla="*/ 23856 h 25660"/>
                  <a:gd name="connsiteX9" fmla="*/ 23691 w 25659"/>
                  <a:gd name="connsiteY9" fmla="*/ 12864 h 25660"/>
                  <a:gd name="connsiteX10" fmla="*/ 15585 w 25659"/>
                  <a:gd name="connsiteY10" fmla="*/ 14888 h 25660"/>
                  <a:gd name="connsiteX11" fmla="*/ 18811 w 25659"/>
                  <a:gd name="connsiteY11" fmla="*/ 19905 h 25660"/>
                  <a:gd name="connsiteX12" fmla="*/ 16678 w 25659"/>
                  <a:gd name="connsiteY12" fmla="*/ 19905 h 25660"/>
                  <a:gd name="connsiteX13" fmla="*/ 13097 w 25659"/>
                  <a:gd name="connsiteY13" fmla="*/ 14218 h 25660"/>
                  <a:gd name="connsiteX14" fmla="*/ 9829 w 25659"/>
                  <a:gd name="connsiteY14" fmla="*/ 14218 h 25660"/>
                  <a:gd name="connsiteX15" fmla="*/ 9829 w 25659"/>
                  <a:gd name="connsiteY15" fmla="*/ 19905 h 25660"/>
                  <a:gd name="connsiteX16" fmla="*/ 8038 w 25659"/>
                  <a:gd name="connsiteY16" fmla="*/ 19905 h 25660"/>
                  <a:gd name="connsiteX17" fmla="*/ 8038 w 25659"/>
                  <a:gd name="connsiteY17" fmla="*/ 5523 h 25660"/>
                  <a:gd name="connsiteX18" fmla="*/ 13616 w 25659"/>
                  <a:gd name="connsiteY18" fmla="*/ 5523 h 25660"/>
                  <a:gd name="connsiteX19" fmla="*/ 18155 w 25659"/>
                  <a:gd name="connsiteY19" fmla="*/ 9761 h 25660"/>
                  <a:gd name="connsiteX20" fmla="*/ 14887 w 25659"/>
                  <a:gd name="connsiteY20" fmla="*/ 13917 h 25660"/>
                  <a:gd name="connsiteX21" fmla="*/ 15585 w 25659"/>
                  <a:gd name="connsiteY21" fmla="*/ 14901 h 25660"/>
                  <a:gd name="connsiteX22" fmla="*/ 13015 w 25659"/>
                  <a:gd name="connsiteY22" fmla="*/ 12522 h 25660"/>
                  <a:gd name="connsiteX23" fmla="*/ 16282 w 25659"/>
                  <a:gd name="connsiteY23" fmla="*/ 9870 h 25660"/>
                  <a:gd name="connsiteX24" fmla="*/ 13657 w 25659"/>
                  <a:gd name="connsiteY24" fmla="*/ 7191 h 25660"/>
                  <a:gd name="connsiteX25" fmla="*/ 9816 w 25659"/>
                  <a:gd name="connsiteY25" fmla="*/ 7191 h 25660"/>
                  <a:gd name="connsiteX26" fmla="*/ 9816 w 25659"/>
                  <a:gd name="connsiteY26" fmla="*/ 12509 h 25660"/>
                  <a:gd name="connsiteX27" fmla="*/ 13015 w 25659"/>
                  <a:gd name="connsiteY27" fmla="*/ 12509 h 25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25659" h="25660">
                    <a:moveTo>
                      <a:pt x="25660" y="12810"/>
                    </a:moveTo>
                    <a:cubicBezTo>
                      <a:pt x="25660" y="19946"/>
                      <a:pt x="19946" y="25660"/>
                      <a:pt x="12782" y="25660"/>
                    </a:cubicBezTo>
                    <a:cubicBezTo>
                      <a:pt x="5619" y="25660"/>
                      <a:pt x="0" y="19891"/>
                      <a:pt x="0" y="12810"/>
                    </a:cubicBezTo>
                    <a:cubicBezTo>
                      <a:pt x="0" y="5728"/>
                      <a:pt x="5714" y="0"/>
                      <a:pt x="12823" y="0"/>
                    </a:cubicBezTo>
                    <a:cubicBezTo>
                      <a:pt x="19932" y="0"/>
                      <a:pt x="25646" y="5687"/>
                      <a:pt x="25646" y="12810"/>
                    </a:cubicBezTo>
                    <a:close/>
                    <a:moveTo>
                      <a:pt x="23691" y="12864"/>
                    </a:moveTo>
                    <a:cubicBezTo>
                      <a:pt x="23691" y="6712"/>
                      <a:pt x="18838" y="1832"/>
                      <a:pt x="12837" y="1832"/>
                    </a:cubicBezTo>
                    <a:cubicBezTo>
                      <a:pt x="6835" y="1832"/>
                      <a:pt x="1982" y="6658"/>
                      <a:pt x="1982" y="12851"/>
                    </a:cubicBezTo>
                    <a:cubicBezTo>
                      <a:pt x="1982" y="19043"/>
                      <a:pt x="6890" y="23856"/>
                      <a:pt x="12782" y="23856"/>
                    </a:cubicBezTo>
                    <a:cubicBezTo>
                      <a:pt x="18674" y="23856"/>
                      <a:pt x="23691" y="19002"/>
                      <a:pt x="23691" y="12864"/>
                    </a:cubicBezTo>
                    <a:close/>
                    <a:moveTo>
                      <a:pt x="15585" y="14888"/>
                    </a:moveTo>
                    <a:lnTo>
                      <a:pt x="18811" y="19905"/>
                    </a:lnTo>
                    <a:lnTo>
                      <a:pt x="16678" y="19905"/>
                    </a:lnTo>
                    <a:lnTo>
                      <a:pt x="13097" y="14218"/>
                    </a:lnTo>
                    <a:lnTo>
                      <a:pt x="9829" y="14218"/>
                    </a:lnTo>
                    <a:lnTo>
                      <a:pt x="9829" y="19905"/>
                    </a:lnTo>
                    <a:lnTo>
                      <a:pt x="8038" y="19905"/>
                    </a:lnTo>
                    <a:lnTo>
                      <a:pt x="8038" y="5523"/>
                    </a:lnTo>
                    <a:lnTo>
                      <a:pt x="13616" y="5523"/>
                    </a:lnTo>
                    <a:cubicBezTo>
                      <a:pt x="16364" y="5523"/>
                      <a:pt x="18155" y="6999"/>
                      <a:pt x="18155" y="9761"/>
                    </a:cubicBezTo>
                    <a:cubicBezTo>
                      <a:pt x="18155" y="11989"/>
                      <a:pt x="16801" y="13370"/>
                      <a:pt x="14887" y="13917"/>
                    </a:cubicBezTo>
                    <a:cubicBezTo>
                      <a:pt x="15147" y="14204"/>
                      <a:pt x="15407" y="14559"/>
                      <a:pt x="15585" y="14901"/>
                    </a:cubicBezTo>
                    <a:close/>
                    <a:moveTo>
                      <a:pt x="13015" y="12522"/>
                    </a:moveTo>
                    <a:cubicBezTo>
                      <a:pt x="15038" y="12522"/>
                      <a:pt x="16282" y="11565"/>
                      <a:pt x="16282" y="9870"/>
                    </a:cubicBezTo>
                    <a:cubicBezTo>
                      <a:pt x="16282" y="8175"/>
                      <a:pt x="15421" y="7191"/>
                      <a:pt x="13657" y="7191"/>
                    </a:cubicBezTo>
                    <a:lnTo>
                      <a:pt x="9816" y="7191"/>
                    </a:lnTo>
                    <a:lnTo>
                      <a:pt x="9816" y="12509"/>
                    </a:lnTo>
                    <a:lnTo>
                      <a:pt x="13015" y="12509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FDFF7ECB-137D-E7DF-768C-51A871FCA32C}"/>
                  </a:ext>
                </a:extLst>
              </p:cNvPr>
              <p:cNvSpPr/>
              <p:nvPr/>
            </p:nvSpPr>
            <p:spPr>
              <a:xfrm>
                <a:off x="11620956" y="6472487"/>
                <a:ext cx="32932" cy="163721"/>
              </a:xfrm>
              <a:custGeom>
                <a:avLst/>
                <a:gdLst>
                  <a:gd name="connsiteX0" fmla="*/ 29830 w 32932"/>
                  <a:gd name="connsiteY0" fmla="*/ 0 h 163721"/>
                  <a:gd name="connsiteX1" fmla="*/ 32933 w 32932"/>
                  <a:gd name="connsiteY1" fmla="*/ 3103 h 163721"/>
                  <a:gd name="connsiteX2" fmla="*/ 32933 w 32932"/>
                  <a:gd name="connsiteY2" fmla="*/ 160618 h 163721"/>
                  <a:gd name="connsiteX3" fmla="*/ 29830 w 32932"/>
                  <a:gd name="connsiteY3" fmla="*/ 163722 h 163721"/>
                  <a:gd name="connsiteX4" fmla="*/ 3103 w 32932"/>
                  <a:gd name="connsiteY4" fmla="*/ 163722 h 163721"/>
                  <a:gd name="connsiteX5" fmla="*/ 0 w 32932"/>
                  <a:gd name="connsiteY5" fmla="*/ 160618 h 163721"/>
                  <a:gd name="connsiteX6" fmla="*/ 0 w 32932"/>
                  <a:gd name="connsiteY6" fmla="*/ 3103 h 163721"/>
                  <a:gd name="connsiteX7" fmla="*/ 3103 w 32932"/>
                  <a:gd name="connsiteY7" fmla="*/ 0 h 163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2932" h="163721">
                    <a:moveTo>
                      <a:pt x="29830" y="0"/>
                    </a:moveTo>
                    <a:cubicBezTo>
                      <a:pt x="31544" y="0"/>
                      <a:pt x="32933" y="1389"/>
                      <a:pt x="32933" y="3103"/>
                    </a:cubicBezTo>
                    <a:lnTo>
                      <a:pt x="32933" y="160618"/>
                    </a:lnTo>
                    <a:cubicBezTo>
                      <a:pt x="32933" y="162332"/>
                      <a:pt x="31543" y="163722"/>
                      <a:pt x="29830" y="163722"/>
                    </a:cubicBezTo>
                    <a:lnTo>
                      <a:pt x="3103" y="163722"/>
                    </a:lnTo>
                    <a:cubicBezTo>
                      <a:pt x="1389" y="163722"/>
                      <a:pt x="0" y="162332"/>
                      <a:pt x="0" y="160618"/>
                    </a:cubicBezTo>
                    <a:lnTo>
                      <a:pt x="0" y="3103"/>
                    </a:lnTo>
                    <a:cubicBezTo>
                      <a:pt x="0" y="1389"/>
                      <a:pt x="1389" y="0"/>
                      <a:pt x="3103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C28DC5C1-10B4-4AAC-1392-40F4E45DA37B}"/>
                  </a:ext>
                </a:extLst>
              </p:cNvPr>
              <p:cNvSpPr/>
              <p:nvPr/>
            </p:nvSpPr>
            <p:spPr>
              <a:xfrm>
                <a:off x="11488486" y="6472473"/>
                <a:ext cx="123638" cy="166086"/>
              </a:xfrm>
              <a:custGeom>
                <a:avLst/>
                <a:gdLst>
                  <a:gd name="connsiteX0" fmla="*/ 68737 w 123638"/>
                  <a:gd name="connsiteY0" fmla="*/ 44663 h 166086"/>
                  <a:gd name="connsiteX1" fmla="*/ 32947 w 123638"/>
                  <a:gd name="connsiteY1" fmla="*/ 62052 h 166086"/>
                  <a:gd name="connsiteX2" fmla="*/ 32947 w 123638"/>
                  <a:gd name="connsiteY2" fmla="*/ 3103 h 166086"/>
                  <a:gd name="connsiteX3" fmla="*/ 29843 w 123638"/>
                  <a:gd name="connsiteY3" fmla="*/ 0 h 166086"/>
                  <a:gd name="connsiteX4" fmla="*/ 3103 w 123638"/>
                  <a:gd name="connsiteY4" fmla="*/ 0 h 166086"/>
                  <a:gd name="connsiteX5" fmla="*/ 0 w 123638"/>
                  <a:gd name="connsiteY5" fmla="*/ 3103 h 166086"/>
                  <a:gd name="connsiteX6" fmla="*/ 0 w 123638"/>
                  <a:gd name="connsiteY6" fmla="*/ 160632 h 166086"/>
                  <a:gd name="connsiteX7" fmla="*/ 3103 w 123638"/>
                  <a:gd name="connsiteY7" fmla="*/ 163735 h 166086"/>
                  <a:gd name="connsiteX8" fmla="*/ 29843 w 123638"/>
                  <a:gd name="connsiteY8" fmla="*/ 163735 h 166086"/>
                  <a:gd name="connsiteX9" fmla="*/ 32947 w 123638"/>
                  <a:gd name="connsiteY9" fmla="*/ 160632 h 166086"/>
                  <a:gd name="connsiteX10" fmla="*/ 32947 w 123638"/>
                  <a:gd name="connsiteY10" fmla="*/ 149025 h 166086"/>
                  <a:gd name="connsiteX11" fmla="*/ 68983 w 123638"/>
                  <a:gd name="connsiteY11" fmla="*/ 166087 h 166086"/>
                  <a:gd name="connsiteX12" fmla="*/ 123638 w 123638"/>
                  <a:gd name="connsiteY12" fmla="*/ 105539 h 166086"/>
                  <a:gd name="connsiteX13" fmla="*/ 68750 w 123638"/>
                  <a:gd name="connsiteY13" fmla="*/ 44663 h 166086"/>
                  <a:gd name="connsiteX14" fmla="*/ 62188 w 123638"/>
                  <a:gd name="connsiteY14" fmla="*/ 135163 h 166086"/>
                  <a:gd name="connsiteX15" fmla="*/ 32947 w 123638"/>
                  <a:gd name="connsiteY15" fmla="*/ 105552 h 166086"/>
                  <a:gd name="connsiteX16" fmla="*/ 62188 w 123638"/>
                  <a:gd name="connsiteY16" fmla="*/ 76174 h 166086"/>
                  <a:gd name="connsiteX17" fmla="*/ 90965 w 123638"/>
                  <a:gd name="connsiteY17" fmla="*/ 105552 h 166086"/>
                  <a:gd name="connsiteX18" fmla="*/ 62188 w 123638"/>
                  <a:gd name="connsiteY18" fmla="*/ 135163 h 166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23638" h="166086">
                    <a:moveTo>
                      <a:pt x="68737" y="44663"/>
                    </a:moveTo>
                    <a:cubicBezTo>
                      <a:pt x="53535" y="44663"/>
                      <a:pt x="40889" y="51252"/>
                      <a:pt x="32947" y="62052"/>
                    </a:cubicBezTo>
                    <a:lnTo>
                      <a:pt x="32947" y="3103"/>
                    </a:lnTo>
                    <a:cubicBezTo>
                      <a:pt x="32947" y="1394"/>
                      <a:pt x="31552" y="0"/>
                      <a:pt x="29843" y="0"/>
                    </a:cubicBezTo>
                    <a:lnTo>
                      <a:pt x="3103" y="0"/>
                    </a:lnTo>
                    <a:cubicBezTo>
                      <a:pt x="1394" y="0"/>
                      <a:pt x="0" y="1394"/>
                      <a:pt x="0" y="3103"/>
                    </a:cubicBezTo>
                    <a:lnTo>
                      <a:pt x="0" y="160632"/>
                    </a:lnTo>
                    <a:cubicBezTo>
                      <a:pt x="0" y="162341"/>
                      <a:pt x="1394" y="163735"/>
                      <a:pt x="3103" y="163735"/>
                    </a:cubicBezTo>
                    <a:lnTo>
                      <a:pt x="29843" y="163735"/>
                    </a:lnTo>
                    <a:cubicBezTo>
                      <a:pt x="31552" y="163735"/>
                      <a:pt x="32947" y="162341"/>
                      <a:pt x="32947" y="160632"/>
                    </a:cubicBezTo>
                    <a:lnTo>
                      <a:pt x="32947" y="149025"/>
                    </a:lnTo>
                    <a:cubicBezTo>
                      <a:pt x="40903" y="159839"/>
                      <a:pt x="53535" y="166087"/>
                      <a:pt x="68983" y="166087"/>
                    </a:cubicBezTo>
                    <a:cubicBezTo>
                      <a:pt x="101505" y="166087"/>
                      <a:pt x="123638" y="139852"/>
                      <a:pt x="123638" y="105539"/>
                    </a:cubicBezTo>
                    <a:cubicBezTo>
                      <a:pt x="123638" y="71225"/>
                      <a:pt x="101505" y="44663"/>
                      <a:pt x="68750" y="44663"/>
                    </a:cubicBezTo>
                    <a:close/>
                    <a:moveTo>
                      <a:pt x="62188" y="135163"/>
                    </a:moveTo>
                    <a:cubicBezTo>
                      <a:pt x="45346" y="135163"/>
                      <a:pt x="32947" y="121533"/>
                      <a:pt x="32947" y="105552"/>
                    </a:cubicBezTo>
                    <a:cubicBezTo>
                      <a:pt x="32947" y="89571"/>
                      <a:pt x="45346" y="76174"/>
                      <a:pt x="62188" y="76174"/>
                    </a:cubicBezTo>
                    <a:cubicBezTo>
                      <a:pt x="79031" y="76174"/>
                      <a:pt x="90965" y="89571"/>
                      <a:pt x="90965" y="105552"/>
                    </a:cubicBezTo>
                    <a:cubicBezTo>
                      <a:pt x="90965" y="121533"/>
                      <a:pt x="78798" y="135163"/>
                      <a:pt x="62188" y="13516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F299DD92-C584-9A97-6406-CB99053E61E9}"/>
                  </a:ext>
                </a:extLst>
              </p:cNvPr>
              <p:cNvSpPr/>
              <p:nvPr/>
            </p:nvSpPr>
            <p:spPr>
              <a:xfrm>
                <a:off x="11359421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6A923CBF-FACB-A30A-01FC-FC8AB67D370F}"/>
                  </a:ext>
                </a:extLst>
              </p:cNvPr>
              <p:cNvSpPr/>
              <p:nvPr/>
            </p:nvSpPr>
            <p:spPr>
              <a:xfrm>
                <a:off x="11662542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DD95B3CC-6B43-360D-550B-AE10F13BC1CB}"/>
                  </a:ext>
                </a:extLst>
              </p:cNvPr>
              <p:cNvSpPr/>
              <p:nvPr/>
            </p:nvSpPr>
            <p:spPr>
              <a:xfrm>
                <a:off x="11122821" y="6519528"/>
                <a:ext cx="32932" cy="116680"/>
              </a:xfrm>
              <a:custGeom>
                <a:avLst/>
                <a:gdLst>
                  <a:gd name="connsiteX0" fmla="*/ 29843 w 32932"/>
                  <a:gd name="connsiteY0" fmla="*/ 116680 h 116680"/>
                  <a:gd name="connsiteX1" fmla="*/ 3103 w 32932"/>
                  <a:gd name="connsiteY1" fmla="*/ 116680 h 116680"/>
                  <a:gd name="connsiteX2" fmla="*/ 0 w 32932"/>
                  <a:gd name="connsiteY2" fmla="*/ 113577 h 116680"/>
                  <a:gd name="connsiteX3" fmla="*/ 0 w 32932"/>
                  <a:gd name="connsiteY3" fmla="*/ 30554 h 116680"/>
                  <a:gd name="connsiteX4" fmla="*/ 1859 w 32932"/>
                  <a:gd name="connsiteY4" fmla="*/ 26125 h 116680"/>
                  <a:gd name="connsiteX5" fmla="*/ 27670 w 32932"/>
                  <a:gd name="connsiteY5" fmla="*/ 888 h 116680"/>
                  <a:gd name="connsiteX6" fmla="*/ 32933 w 32932"/>
                  <a:gd name="connsiteY6" fmla="*/ 3103 h 116680"/>
                  <a:gd name="connsiteX7" fmla="*/ 32933 w 32932"/>
                  <a:gd name="connsiteY7" fmla="*/ 113577 h 116680"/>
                  <a:gd name="connsiteX8" fmla="*/ 29830 w 32932"/>
                  <a:gd name="connsiteY8" fmla="*/ 116680 h 116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932" h="116680">
                    <a:moveTo>
                      <a:pt x="29843" y="116680"/>
                    </a:moveTo>
                    <a:lnTo>
                      <a:pt x="3103" y="116680"/>
                    </a:lnTo>
                    <a:cubicBezTo>
                      <a:pt x="1394" y="116680"/>
                      <a:pt x="0" y="115286"/>
                      <a:pt x="0" y="113577"/>
                    </a:cubicBezTo>
                    <a:lnTo>
                      <a:pt x="0" y="30554"/>
                    </a:lnTo>
                    <a:cubicBezTo>
                      <a:pt x="0" y="28886"/>
                      <a:pt x="670" y="27287"/>
                      <a:pt x="1859" y="26125"/>
                    </a:cubicBezTo>
                    <a:lnTo>
                      <a:pt x="27670" y="888"/>
                    </a:lnTo>
                    <a:cubicBezTo>
                      <a:pt x="29638" y="-1026"/>
                      <a:pt x="32933" y="355"/>
                      <a:pt x="32933" y="3103"/>
                    </a:cubicBezTo>
                    <a:lnTo>
                      <a:pt x="32933" y="113577"/>
                    </a:lnTo>
                    <a:cubicBezTo>
                      <a:pt x="32933" y="115286"/>
                      <a:pt x="31538" y="116680"/>
                      <a:pt x="29830" y="11668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2E7C85C6-EB48-5DA2-CC21-DF5BF3B777B6}"/>
                  </a:ext>
                </a:extLst>
              </p:cNvPr>
              <p:cNvSpPr/>
              <p:nvPr/>
            </p:nvSpPr>
            <p:spPr>
              <a:xfrm>
                <a:off x="11173074" y="6517105"/>
                <a:ext cx="107493" cy="119116"/>
              </a:xfrm>
              <a:custGeom>
                <a:avLst/>
                <a:gdLst>
                  <a:gd name="connsiteX0" fmla="*/ 107480 w 107493"/>
                  <a:gd name="connsiteY0" fmla="*/ 41877 h 119116"/>
                  <a:gd name="connsiteX1" fmla="*/ 65237 w 107493"/>
                  <a:gd name="connsiteY1" fmla="*/ 3 h 119116"/>
                  <a:gd name="connsiteX2" fmla="*/ 32947 w 107493"/>
                  <a:gd name="connsiteY2" fmla="*/ 17474 h 119116"/>
                  <a:gd name="connsiteX3" fmla="*/ 32947 w 107493"/>
                  <a:gd name="connsiteY3" fmla="*/ 5581 h 119116"/>
                  <a:gd name="connsiteX4" fmla="*/ 29843 w 107493"/>
                  <a:gd name="connsiteY4" fmla="*/ 2478 h 119116"/>
                  <a:gd name="connsiteX5" fmla="*/ 3103 w 107493"/>
                  <a:gd name="connsiteY5" fmla="*/ 2478 h 119116"/>
                  <a:gd name="connsiteX6" fmla="*/ 0 w 107493"/>
                  <a:gd name="connsiteY6" fmla="*/ 5581 h 119116"/>
                  <a:gd name="connsiteX7" fmla="*/ 0 w 107493"/>
                  <a:gd name="connsiteY7" fmla="*/ 116000 h 119116"/>
                  <a:gd name="connsiteX8" fmla="*/ 3103 w 107493"/>
                  <a:gd name="connsiteY8" fmla="*/ 119103 h 119116"/>
                  <a:gd name="connsiteX9" fmla="*/ 29843 w 107493"/>
                  <a:gd name="connsiteY9" fmla="*/ 119103 h 119116"/>
                  <a:gd name="connsiteX10" fmla="*/ 32947 w 107493"/>
                  <a:gd name="connsiteY10" fmla="*/ 116000 h 119116"/>
                  <a:gd name="connsiteX11" fmla="*/ 32947 w 107493"/>
                  <a:gd name="connsiteY11" fmla="*/ 51788 h 119116"/>
                  <a:gd name="connsiteX12" fmla="*/ 53740 w 107493"/>
                  <a:gd name="connsiteY12" fmla="*/ 31747 h 119116"/>
                  <a:gd name="connsiteX13" fmla="*/ 74547 w 107493"/>
                  <a:gd name="connsiteY13" fmla="*/ 53210 h 119116"/>
                  <a:gd name="connsiteX14" fmla="*/ 74547 w 107493"/>
                  <a:gd name="connsiteY14" fmla="*/ 116014 h 119116"/>
                  <a:gd name="connsiteX15" fmla="*/ 77650 w 107493"/>
                  <a:gd name="connsiteY15" fmla="*/ 119117 h 119116"/>
                  <a:gd name="connsiteX16" fmla="*/ 104390 w 107493"/>
                  <a:gd name="connsiteY16" fmla="*/ 119117 h 119116"/>
                  <a:gd name="connsiteX17" fmla="*/ 107493 w 107493"/>
                  <a:gd name="connsiteY17" fmla="*/ 116014 h 119116"/>
                  <a:gd name="connsiteX18" fmla="*/ 107493 w 107493"/>
                  <a:gd name="connsiteY18" fmla="*/ 41890 h 119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7493" h="119116">
                    <a:moveTo>
                      <a:pt x="107480" y="41877"/>
                    </a:moveTo>
                    <a:cubicBezTo>
                      <a:pt x="107480" y="19252"/>
                      <a:pt x="88792" y="277"/>
                      <a:pt x="65237" y="3"/>
                    </a:cubicBezTo>
                    <a:cubicBezTo>
                      <a:pt x="49912" y="-175"/>
                      <a:pt x="39563" y="7331"/>
                      <a:pt x="32947" y="17474"/>
                    </a:cubicBezTo>
                    <a:lnTo>
                      <a:pt x="32947" y="5581"/>
                    </a:lnTo>
                    <a:cubicBezTo>
                      <a:pt x="32947" y="3872"/>
                      <a:pt x="31552" y="2478"/>
                      <a:pt x="29843" y="2478"/>
                    </a:cubicBezTo>
                    <a:lnTo>
                      <a:pt x="3103" y="2478"/>
                    </a:lnTo>
                    <a:cubicBezTo>
                      <a:pt x="1394" y="2478"/>
                      <a:pt x="0" y="3872"/>
                      <a:pt x="0" y="5581"/>
                    </a:cubicBezTo>
                    <a:lnTo>
                      <a:pt x="0" y="116000"/>
                    </a:lnTo>
                    <a:cubicBezTo>
                      <a:pt x="0" y="117709"/>
                      <a:pt x="1394" y="119103"/>
                      <a:pt x="3103" y="119103"/>
                    </a:cubicBezTo>
                    <a:lnTo>
                      <a:pt x="29843" y="119103"/>
                    </a:lnTo>
                    <a:cubicBezTo>
                      <a:pt x="31552" y="119103"/>
                      <a:pt x="32947" y="117709"/>
                      <a:pt x="32947" y="116000"/>
                    </a:cubicBezTo>
                    <a:lnTo>
                      <a:pt x="32947" y="51788"/>
                    </a:lnTo>
                    <a:cubicBezTo>
                      <a:pt x="33685" y="39430"/>
                      <a:pt x="41518" y="31747"/>
                      <a:pt x="53740" y="31747"/>
                    </a:cubicBezTo>
                    <a:cubicBezTo>
                      <a:pt x="65961" y="31747"/>
                      <a:pt x="74547" y="40373"/>
                      <a:pt x="74547" y="53210"/>
                    </a:cubicBezTo>
                    <a:lnTo>
                      <a:pt x="74547" y="116014"/>
                    </a:lnTo>
                    <a:cubicBezTo>
                      <a:pt x="74547" y="117722"/>
                      <a:pt x="75941" y="119117"/>
                      <a:pt x="77650" y="119117"/>
                    </a:cubicBezTo>
                    <a:lnTo>
                      <a:pt x="104390" y="119117"/>
                    </a:lnTo>
                    <a:cubicBezTo>
                      <a:pt x="106099" y="119117"/>
                      <a:pt x="107493" y="117722"/>
                      <a:pt x="107493" y="116014"/>
                    </a:cubicBezTo>
                    <a:lnTo>
                      <a:pt x="107493" y="41890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219A740-91A4-702D-F150-6D9E505676A7}"/>
              </a:ext>
            </a:extLst>
          </p:cNvPr>
          <p:cNvCxnSpPr>
            <a:cxnSpLocks/>
          </p:cNvCxnSpPr>
          <p:nvPr userDrawn="1"/>
        </p:nvCxnSpPr>
        <p:spPr>
          <a:xfrm>
            <a:off x="7852229" y="1420464"/>
            <a:ext cx="0" cy="3978850"/>
          </a:xfrm>
          <a:prstGeom prst="line">
            <a:avLst/>
          </a:prstGeom>
          <a:ln w="12700">
            <a:solidFill>
              <a:srgbClr val="00BD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4D6FE247-0E74-A625-337B-99E04CC575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923" y="755585"/>
            <a:ext cx="5954015" cy="1008821"/>
          </a:xfrm>
          <a:prstGeom prst="rect">
            <a:avLst/>
          </a:prstGeom>
        </p:spPr>
        <p:txBody>
          <a:bodyPr anchor="b" anchorCtr="0"/>
          <a:lstStyle>
            <a:lvl1pPr>
              <a:defRPr sz="3400" b="1" i="0" cap="all" baseline="0">
                <a:latin typeface="Lato" panose="020F0502020204030203" pitchFamily="34" charset="77"/>
              </a:defRPr>
            </a:lvl1pPr>
          </a:lstStyle>
          <a:p>
            <a:r>
              <a:rPr lang="en-US" dirty="0"/>
              <a:t>title style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59E3C22D-E22C-737C-E68C-F9213EBC24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922" y="2614246"/>
            <a:ext cx="5954018" cy="3851960"/>
          </a:xfrm>
          <a:prstGeom prst="rect">
            <a:avLst/>
          </a:prstGeom>
        </p:spPr>
        <p:txBody>
          <a:bodyPr anchor="t"/>
          <a:lstStyle>
            <a:lvl1pPr marL="216000" indent="-216000">
              <a:buClr>
                <a:srgbClr val="00BD4D"/>
              </a:buClr>
              <a:defRPr sz="2000" b="0" i="0">
                <a:latin typeface="Lato" panose="020F0502020204030203" pitchFamily="34" charset="77"/>
              </a:defRPr>
            </a:lvl1pPr>
            <a:lvl2pPr marL="432000" indent="-216000">
              <a:buClr>
                <a:srgbClr val="00BD4D"/>
              </a:buClr>
              <a:defRPr sz="1800" b="0" i="0">
                <a:latin typeface="Lato" panose="020F0502020204030203" pitchFamily="34" charset="77"/>
              </a:defRPr>
            </a:lvl2pPr>
            <a:lvl3pPr marL="648000" indent="-216000">
              <a:buClr>
                <a:srgbClr val="00BD4D"/>
              </a:buClr>
              <a:defRPr sz="1600" b="0" i="0">
                <a:latin typeface="Lato" panose="020F0502020204030203" pitchFamily="34" charset="77"/>
              </a:defRPr>
            </a:lvl3pPr>
            <a:lvl4pPr marL="864000" indent="-216000">
              <a:buClr>
                <a:srgbClr val="00BD4D"/>
              </a:buClr>
              <a:defRPr sz="1400" b="0" i="0">
                <a:latin typeface="Lato" panose="020F0502020204030203" pitchFamily="34" charset="77"/>
              </a:defRPr>
            </a:lvl4pPr>
            <a:lvl5pPr marL="1080000" indent="-216000">
              <a:buClr>
                <a:srgbClr val="00BD4D"/>
              </a:buClr>
              <a:defRPr sz="1400" b="0" i="0">
                <a:latin typeface="Lato" panose="020F0502020204030203" pitchFamily="34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DC3DD1A2-B414-8C5D-8E0C-8E8C59208C1B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95924" y="1950576"/>
            <a:ext cx="5954016" cy="3816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="0" i="0" cap="all" baseline="0">
                <a:solidFill>
                  <a:schemeClr val="tx1"/>
                </a:solidFill>
                <a:latin typeface="Lato" panose="020F0502020204030203" pitchFamily="34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EE1B5432-EBE1-4EA9-71A6-1B7B0C8A48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01100" y="1505420"/>
            <a:ext cx="3436322" cy="3877250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>
            <a:lvl1pPr marL="0" indent="0">
              <a:buNone/>
              <a:defRPr lang="en-US" sz="2000" b="0" i="0" dirty="0" smtClean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pPr marL="0" lvl="0">
              <a:lnSpc>
                <a:spcPct val="120000"/>
              </a:lnSpc>
            </a:pPr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2505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642B26FE-2907-AE81-0DC9-82D9EEBF2AD5}"/>
              </a:ext>
            </a:extLst>
          </p:cNvPr>
          <p:cNvPicPr>
            <a:picLocks noChangeAspect="1"/>
          </p:cNvPicPr>
          <p:nvPr userDrawn="1"/>
        </p:nvPicPr>
        <p:blipFill rotWithShape="1">
          <a:blip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 l="4477" r="5042"/>
          <a:stretch/>
        </p:blipFill>
        <p:spPr>
          <a:xfrm>
            <a:off x="4749825" y="1"/>
            <a:ext cx="9020576" cy="68580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80FE1B5-C5E8-9149-28BC-CF5EAA92F2F6}"/>
              </a:ext>
            </a:extLst>
          </p:cNvPr>
          <p:cNvSpPr txBox="1"/>
          <p:nvPr userDrawn="1"/>
        </p:nvSpPr>
        <p:spPr>
          <a:xfrm>
            <a:off x="979929" y="771190"/>
            <a:ext cx="994014" cy="781838"/>
          </a:xfrm>
          <a:custGeom>
            <a:avLst/>
            <a:gdLst/>
            <a:ahLst/>
            <a:cxnLst/>
            <a:rect l="l" t="t" r="r" b="b"/>
            <a:pathLst>
              <a:path w="794523" h="624929">
                <a:moveTo>
                  <a:pt x="737992" y="0"/>
                </a:moveTo>
                <a:lnTo>
                  <a:pt x="794523" y="119230"/>
                </a:lnTo>
                <a:cubicBezTo>
                  <a:pt x="736964" y="138416"/>
                  <a:pt x="695679" y="165140"/>
                  <a:pt x="670668" y="199401"/>
                </a:cubicBezTo>
                <a:cubicBezTo>
                  <a:pt x="645657" y="233663"/>
                  <a:pt x="632466" y="279231"/>
                  <a:pt x="631096" y="336105"/>
                </a:cubicBezTo>
                <a:lnTo>
                  <a:pt x="770883" y="336105"/>
                </a:lnTo>
                <a:lnTo>
                  <a:pt x="770883" y="624929"/>
                </a:lnTo>
                <a:lnTo>
                  <a:pt x="482059" y="624929"/>
                </a:lnTo>
                <a:lnTo>
                  <a:pt x="482059" y="418332"/>
                </a:lnTo>
                <a:cubicBezTo>
                  <a:pt x="482059" y="334049"/>
                  <a:pt x="489425" y="267924"/>
                  <a:pt x="504157" y="219958"/>
                </a:cubicBezTo>
                <a:cubicBezTo>
                  <a:pt x="518890" y="171992"/>
                  <a:pt x="546299" y="128823"/>
                  <a:pt x="586385" y="90450"/>
                </a:cubicBezTo>
                <a:cubicBezTo>
                  <a:pt x="626471" y="52077"/>
                  <a:pt x="677006" y="21927"/>
                  <a:pt x="737992" y="0"/>
                </a:cubicBezTo>
                <a:close/>
                <a:moveTo>
                  <a:pt x="255933" y="0"/>
                </a:moveTo>
                <a:lnTo>
                  <a:pt x="312464" y="119230"/>
                </a:lnTo>
                <a:cubicBezTo>
                  <a:pt x="254905" y="138416"/>
                  <a:pt x="213620" y="165140"/>
                  <a:pt x="188609" y="199401"/>
                </a:cubicBezTo>
                <a:cubicBezTo>
                  <a:pt x="163598" y="233663"/>
                  <a:pt x="150407" y="279231"/>
                  <a:pt x="149037" y="336105"/>
                </a:cubicBezTo>
                <a:lnTo>
                  <a:pt x="288824" y="336105"/>
                </a:lnTo>
                <a:lnTo>
                  <a:pt x="288824" y="624929"/>
                </a:lnTo>
                <a:lnTo>
                  <a:pt x="0" y="624929"/>
                </a:lnTo>
                <a:lnTo>
                  <a:pt x="0" y="418332"/>
                </a:lnTo>
                <a:cubicBezTo>
                  <a:pt x="0" y="334734"/>
                  <a:pt x="7366" y="268781"/>
                  <a:pt x="22098" y="220472"/>
                </a:cubicBezTo>
                <a:cubicBezTo>
                  <a:pt x="36831" y="172164"/>
                  <a:pt x="64069" y="128823"/>
                  <a:pt x="103812" y="90450"/>
                </a:cubicBezTo>
                <a:cubicBezTo>
                  <a:pt x="143555" y="52077"/>
                  <a:pt x="194262" y="21927"/>
                  <a:pt x="255933" y="0"/>
                </a:cubicBezTo>
                <a:close/>
              </a:path>
            </a:pathLst>
          </a:custGeom>
          <a:solidFill>
            <a:srgbClr val="00BD4D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6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Arial" panose="020B0604020202020204" pitchFamily="34" charset="0"/>
              <a:ea typeface="Roboto Slab" pitchFamily="2" charset="0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8556DBF-CE23-B51E-730B-3598A3C610E1}"/>
              </a:ext>
            </a:extLst>
          </p:cNvPr>
          <p:cNvSpPr txBox="1"/>
          <p:nvPr userDrawn="1"/>
        </p:nvSpPr>
        <p:spPr>
          <a:xfrm rot="10800000">
            <a:off x="11364685" y="5603188"/>
            <a:ext cx="469007" cy="368896"/>
          </a:xfrm>
          <a:custGeom>
            <a:avLst/>
            <a:gdLst/>
            <a:ahLst/>
            <a:cxnLst/>
            <a:rect l="l" t="t" r="r" b="b"/>
            <a:pathLst>
              <a:path w="794523" h="624929">
                <a:moveTo>
                  <a:pt x="737992" y="0"/>
                </a:moveTo>
                <a:lnTo>
                  <a:pt x="794523" y="119230"/>
                </a:lnTo>
                <a:cubicBezTo>
                  <a:pt x="736964" y="138416"/>
                  <a:pt x="695679" y="165140"/>
                  <a:pt x="670668" y="199401"/>
                </a:cubicBezTo>
                <a:cubicBezTo>
                  <a:pt x="645657" y="233663"/>
                  <a:pt x="632466" y="279231"/>
                  <a:pt x="631096" y="336105"/>
                </a:cubicBezTo>
                <a:lnTo>
                  <a:pt x="770883" y="336105"/>
                </a:lnTo>
                <a:lnTo>
                  <a:pt x="770883" y="624929"/>
                </a:lnTo>
                <a:lnTo>
                  <a:pt x="482059" y="624929"/>
                </a:lnTo>
                <a:lnTo>
                  <a:pt x="482059" y="418332"/>
                </a:lnTo>
                <a:cubicBezTo>
                  <a:pt x="482059" y="334049"/>
                  <a:pt x="489425" y="267924"/>
                  <a:pt x="504157" y="219958"/>
                </a:cubicBezTo>
                <a:cubicBezTo>
                  <a:pt x="518890" y="171992"/>
                  <a:pt x="546299" y="128823"/>
                  <a:pt x="586385" y="90450"/>
                </a:cubicBezTo>
                <a:cubicBezTo>
                  <a:pt x="626471" y="52077"/>
                  <a:pt x="677006" y="21927"/>
                  <a:pt x="737992" y="0"/>
                </a:cubicBezTo>
                <a:close/>
                <a:moveTo>
                  <a:pt x="255933" y="0"/>
                </a:moveTo>
                <a:lnTo>
                  <a:pt x="312464" y="119230"/>
                </a:lnTo>
                <a:cubicBezTo>
                  <a:pt x="254905" y="138416"/>
                  <a:pt x="213620" y="165140"/>
                  <a:pt x="188609" y="199401"/>
                </a:cubicBezTo>
                <a:cubicBezTo>
                  <a:pt x="163598" y="233663"/>
                  <a:pt x="150407" y="279231"/>
                  <a:pt x="149037" y="336105"/>
                </a:cubicBezTo>
                <a:lnTo>
                  <a:pt x="288824" y="336105"/>
                </a:lnTo>
                <a:lnTo>
                  <a:pt x="288824" y="624929"/>
                </a:lnTo>
                <a:lnTo>
                  <a:pt x="0" y="624929"/>
                </a:lnTo>
                <a:lnTo>
                  <a:pt x="0" y="418332"/>
                </a:lnTo>
                <a:cubicBezTo>
                  <a:pt x="0" y="334734"/>
                  <a:pt x="7366" y="268781"/>
                  <a:pt x="22098" y="220472"/>
                </a:cubicBezTo>
                <a:cubicBezTo>
                  <a:pt x="36831" y="172164"/>
                  <a:pt x="64069" y="128823"/>
                  <a:pt x="103812" y="90450"/>
                </a:cubicBezTo>
                <a:cubicBezTo>
                  <a:pt x="143555" y="52077"/>
                  <a:pt x="194262" y="21927"/>
                  <a:pt x="255933" y="0"/>
                </a:cubicBezTo>
                <a:close/>
              </a:path>
            </a:pathLst>
          </a:custGeom>
          <a:solidFill>
            <a:srgbClr val="00BD4D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6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Arial" panose="020B0604020202020204" pitchFamily="34" charset="0"/>
              <a:ea typeface="Roboto Slab" pitchFamily="2" charset="0"/>
              <a:cs typeface="Arial" panose="020B0604020202020204" pitchFamily="34" charset="0"/>
            </a:endParaRP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107125D9-C661-760E-3D31-07D56DE392B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7357" y="1953562"/>
            <a:ext cx="8788186" cy="340220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indent="0">
              <a:buNone/>
              <a:defRPr lang="en-US" b="0" i="0" dirty="0">
                <a:solidFill>
                  <a:schemeClr val="tx1"/>
                </a:solidFill>
                <a:latin typeface="Lato" panose="020F0502020204030203" pitchFamily="34" charset="77"/>
              </a:defRPr>
            </a:lvl1pPr>
          </a:lstStyle>
          <a:p>
            <a:pPr marL="0" lvl="0">
              <a:lnSpc>
                <a:spcPct val="120000"/>
              </a:lnSpc>
            </a:pPr>
            <a:r>
              <a:rPr lang="en-GB"/>
              <a:t>Click to edit Master text styles</a:t>
            </a:r>
          </a:p>
        </p:txBody>
      </p:sp>
      <p:sp>
        <p:nvSpPr>
          <p:cNvPr id="25" name="Text Placeholder 34">
            <a:extLst>
              <a:ext uri="{FF2B5EF4-FFF2-40B4-BE49-F238E27FC236}">
                <a16:creationId xmlns:a16="http://schemas.microsoft.com/office/drawing/2014/main" id="{9E8436B3-A98A-274E-8B4C-EAECB4DA3B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07357" y="5565372"/>
            <a:ext cx="3436322" cy="444526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>
            <a:lvl1pPr marL="0" indent="0">
              <a:buNone/>
              <a:defRPr lang="en-US" sz="1800" b="0" i="0" dirty="0" smtClean="0">
                <a:solidFill>
                  <a:srgbClr val="00BD4D"/>
                </a:solidFill>
                <a:latin typeface="Lato" panose="020F0502020204030203" pitchFamily="34" charset="77"/>
              </a:defRPr>
            </a:lvl1pPr>
          </a:lstStyle>
          <a:p>
            <a:pPr marL="0" lvl="0">
              <a:lnSpc>
                <a:spcPct val="120000"/>
              </a:lnSpc>
            </a:pPr>
            <a:r>
              <a:rPr lang="en-GB"/>
              <a:t>Click to edit Master text styles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8ABBB55-D57A-2C99-633C-9578F914AC43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2821" y="6467484"/>
            <a:ext cx="799740" cy="170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5517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preserve="1" userDrawn="1">
  <p:cSld name="2_Title Slide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oogle Shape;11;p57"/>
          <p:cNvSpPr/>
          <p:nvPr/>
        </p:nvSpPr>
        <p:spPr>
          <a:xfrm>
            <a:off x="-13077" y="-37244"/>
            <a:ext cx="12205077" cy="6895244"/>
          </a:xfrm>
          <a:prstGeom prst="rect">
            <a:avLst/>
          </a:prstGeom>
          <a:solidFill>
            <a:srgbClr val="D9E1E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101820"/>
              </a:solidFill>
              <a:latin typeface="Lato"/>
              <a:ea typeface="Lato"/>
              <a:cs typeface="Lato"/>
              <a:sym typeface="Lato"/>
            </a:endParaRPr>
          </a:p>
        </p:txBody>
      </p:sp>
      <p:pic>
        <p:nvPicPr>
          <p:cNvPr id="12" name="Google Shape;12;p57"/>
          <p:cNvPicPr preferRelativeResize="0"/>
          <p:nvPr/>
        </p:nvPicPr>
        <p:blipFill>
          <a:blip r:embed="rId2"/>
          <a:srcRect/>
          <a:stretch/>
        </p:blipFill>
        <p:spPr>
          <a:xfrm>
            <a:off x="279968" y="-37244"/>
            <a:ext cx="11911121" cy="689524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5" name="Google Shape;15;p57"/>
          <p:cNvGrpSpPr/>
          <p:nvPr/>
        </p:nvGrpSpPr>
        <p:grpSpPr>
          <a:xfrm>
            <a:off x="733434" y="523004"/>
            <a:ext cx="2455606" cy="529325"/>
            <a:chOff x="733434" y="857052"/>
            <a:chExt cx="2455606" cy="529325"/>
          </a:xfrm>
        </p:grpSpPr>
        <p:sp>
          <p:nvSpPr>
            <p:cNvPr id="16" name="Google Shape;16;p57"/>
            <p:cNvSpPr/>
            <p:nvPr/>
          </p:nvSpPr>
          <p:spPr>
            <a:xfrm rot="-2700000">
              <a:off x="770705" y="879406"/>
              <a:ext cx="107935" cy="107935"/>
            </a:xfrm>
            <a:custGeom>
              <a:avLst/>
              <a:gdLst/>
              <a:ahLst/>
              <a:cxnLst/>
              <a:rect l="l" t="t" r="r" b="b"/>
              <a:pathLst>
                <a:path w="73496" h="73496" extrusionOk="0">
                  <a:moveTo>
                    <a:pt x="67007" y="0"/>
                  </a:moveTo>
                  <a:cubicBezTo>
                    <a:pt x="70591" y="0"/>
                    <a:pt x="73497" y="2905"/>
                    <a:pt x="73497" y="6489"/>
                  </a:cubicBezTo>
                  <a:lnTo>
                    <a:pt x="73497" y="67007"/>
                  </a:lnTo>
                  <a:cubicBezTo>
                    <a:pt x="73497" y="70591"/>
                    <a:pt x="70591" y="73496"/>
                    <a:pt x="67007" y="73496"/>
                  </a:cubicBezTo>
                  <a:lnTo>
                    <a:pt x="6489" y="73496"/>
                  </a:lnTo>
                  <a:cubicBezTo>
                    <a:pt x="2905" y="73496"/>
                    <a:pt x="0" y="70591"/>
                    <a:pt x="0" y="67007"/>
                  </a:cubicBezTo>
                  <a:lnTo>
                    <a:pt x="0" y="6489"/>
                  </a:lnTo>
                  <a:cubicBezTo>
                    <a:pt x="0" y="2905"/>
                    <a:pt x="2905" y="0"/>
                    <a:pt x="6489" y="0"/>
                  </a:cubicBezTo>
                  <a:close/>
                </a:path>
              </a:pathLst>
            </a:custGeom>
            <a:solidFill>
              <a:srgbClr val="00B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endParaRPr>
            </a:p>
          </p:txBody>
        </p:sp>
        <p:grpSp>
          <p:nvGrpSpPr>
            <p:cNvPr id="17" name="Google Shape;17;p57"/>
            <p:cNvGrpSpPr/>
            <p:nvPr/>
          </p:nvGrpSpPr>
          <p:grpSpPr>
            <a:xfrm>
              <a:off x="733434" y="876300"/>
              <a:ext cx="2455606" cy="510077"/>
              <a:chOff x="9242171" y="3011696"/>
              <a:chExt cx="1672097" cy="347327"/>
            </a:xfrm>
          </p:grpSpPr>
          <p:sp>
            <p:nvSpPr>
              <p:cNvPr id="18" name="Google Shape;18;p57"/>
              <p:cNvSpPr/>
              <p:nvPr/>
            </p:nvSpPr>
            <p:spPr>
              <a:xfrm>
                <a:off x="10604432" y="3110234"/>
                <a:ext cx="249644" cy="243844"/>
              </a:xfrm>
              <a:custGeom>
                <a:avLst/>
                <a:gdLst/>
                <a:ahLst/>
                <a:cxnLst/>
                <a:rect l="l" t="t" r="r" b="b"/>
                <a:pathLst>
                  <a:path w="249644" h="243844" extrusionOk="0">
                    <a:moveTo>
                      <a:pt x="172562" y="121922"/>
                    </a:moveTo>
                    <a:lnTo>
                      <a:pt x="248603" y="234754"/>
                    </a:lnTo>
                    <a:cubicBezTo>
                      <a:pt x="251347" y="238642"/>
                      <a:pt x="248346" y="243845"/>
                      <a:pt x="243372" y="243845"/>
                    </a:cubicBezTo>
                    <a:lnTo>
                      <a:pt x="179480" y="243845"/>
                    </a:lnTo>
                    <a:cubicBezTo>
                      <a:pt x="175221" y="243845"/>
                      <a:pt x="171219" y="241729"/>
                      <a:pt x="168789" y="238213"/>
                    </a:cubicBezTo>
                    <a:lnTo>
                      <a:pt x="124822" y="170949"/>
                    </a:lnTo>
                    <a:lnTo>
                      <a:pt x="80856" y="238213"/>
                    </a:lnTo>
                    <a:cubicBezTo>
                      <a:pt x="78426" y="241729"/>
                      <a:pt x="74452" y="243845"/>
                      <a:pt x="70164" y="243845"/>
                    </a:cubicBezTo>
                    <a:lnTo>
                      <a:pt x="6273" y="243845"/>
                    </a:lnTo>
                    <a:cubicBezTo>
                      <a:pt x="1299" y="243845"/>
                      <a:pt x="-1703" y="238671"/>
                      <a:pt x="1042" y="234754"/>
                    </a:cubicBezTo>
                    <a:lnTo>
                      <a:pt x="76854" y="121922"/>
                    </a:lnTo>
                    <a:lnTo>
                      <a:pt x="1042" y="9091"/>
                    </a:lnTo>
                    <a:cubicBezTo>
                      <a:pt x="-1703" y="5203"/>
                      <a:pt x="1299" y="0"/>
                      <a:pt x="6273" y="0"/>
                    </a:cubicBezTo>
                    <a:lnTo>
                      <a:pt x="72880" y="0"/>
                    </a:lnTo>
                    <a:cubicBezTo>
                      <a:pt x="75367" y="0"/>
                      <a:pt x="77683" y="1143"/>
                      <a:pt x="78998" y="3030"/>
                    </a:cubicBezTo>
                    <a:lnTo>
                      <a:pt x="124794" y="72782"/>
                    </a:lnTo>
                    <a:lnTo>
                      <a:pt x="167788" y="3059"/>
                    </a:lnTo>
                    <a:cubicBezTo>
                      <a:pt x="169075" y="1172"/>
                      <a:pt x="171419" y="0"/>
                      <a:pt x="173906" y="0"/>
                    </a:cubicBezTo>
                    <a:lnTo>
                      <a:pt x="241171" y="0"/>
                    </a:lnTo>
                    <a:cubicBezTo>
                      <a:pt x="246145" y="0"/>
                      <a:pt x="249118" y="5174"/>
                      <a:pt x="246402" y="9062"/>
                    </a:cubicBezTo>
                    <a:lnTo>
                      <a:pt x="172505" y="121922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Lato"/>
                  <a:ea typeface="Lato"/>
                  <a:cs typeface="Lato"/>
                  <a:sym typeface="Lato"/>
                </a:endParaRPr>
              </a:p>
            </p:txBody>
          </p:sp>
          <p:sp>
            <p:nvSpPr>
              <p:cNvPr id="19" name="Google Shape;19;p57"/>
              <p:cNvSpPr/>
              <p:nvPr/>
            </p:nvSpPr>
            <p:spPr>
              <a:xfrm>
                <a:off x="9581152" y="3011696"/>
                <a:ext cx="164831" cy="342440"/>
              </a:xfrm>
              <a:custGeom>
                <a:avLst/>
                <a:gdLst/>
                <a:ahLst/>
                <a:cxnLst/>
                <a:rect l="l" t="t" r="r" b="b"/>
                <a:pathLst>
                  <a:path w="164831" h="342440" extrusionOk="0">
                    <a:moveTo>
                      <a:pt x="158342" y="29"/>
                    </a:moveTo>
                    <a:lnTo>
                      <a:pt x="105342" y="29"/>
                    </a:lnTo>
                    <a:cubicBezTo>
                      <a:pt x="100197" y="29"/>
                      <a:pt x="95251" y="2087"/>
                      <a:pt x="91592" y="5717"/>
                    </a:cubicBezTo>
                    <a:lnTo>
                      <a:pt x="41794" y="55515"/>
                    </a:lnTo>
                    <a:cubicBezTo>
                      <a:pt x="38135" y="59175"/>
                      <a:pt x="36105" y="64120"/>
                      <a:pt x="36105" y="69266"/>
                    </a:cubicBezTo>
                    <a:lnTo>
                      <a:pt x="36105" y="108458"/>
                    </a:lnTo>
                    <a:lnTo>
                      <a:pt x="6375" y="108458"/>
                    </a:lnTo>
                    <a:cubicBezTo>
                      <a:pt x="2859" y="108458"/>
                      <a:pt x="0" y="111317"/>
                      <a:pt x="0" y="114833"/>
                    </a:cubicBezTo>
                    <a:lnTo>
                      <a:pt x="0" y="158828"/>
                    </a:lnTo>
                    <a:cubicBezTo>
                      <a:pt x="0" y="162344"/>
                      <a:pt x="2859" y="165203"/>
                      <a:pt x="6375" y="165203"/>
                    </a:cubicBezTo>
                    <a:lnTo>
                      <a:pt x="36105" y="165203"/>
                    </a:lnTo>
                    <a:lnTo>
                      <a:pt x="36105" y="335951"/>
                    </a:lnTo>
                    <a:cubicBezTo>
                      <a:pt x="36105" y="339524"/>
                      <a:pt x="39021" y="342440"/>
                      <a:pt x="42594" y="342440"/>
                    </a:cubicBezTo>
                    <a:lnTo>
                      <a:pt x="98510" y="342440"/>
                    </a:lnTo>
                    <a:cubicBezTo>
                      <a:pt x="102083" y="342440"/>
                      <a:pt x="104999" y="339524"/>
                      <a:pt x="104999" y="335951"/>
                    </a:cubicBezTo>
                    <a:lnTo>
                      <a:pt x="104999" y="165174"/>
                    </a:lnTo>
                    <a:lnTo>
                      <a:pt x="149394" y="165174"/>
                    </a:lnTo>
                    <a:cubicBezTo>
                      <a:pt x="152911" y="165174"/>
                      <a:pt x="155769" y="162315"/>
                      <a:pt x="155769" y="158799"/>
                    </a:cubicBezTo>
                    <a:lnTo>
                      <a:pt x="155769" y="114804"/>
                    </a:lnTo>
                    <a:cubicBezTo>
                      <a:pt x="155769" y="111288"/>
                      <a:pt x="152911" y="108429"/>
                      <a:pt x="149394" y="108429"/>
                    </a:cubicBezTo>
                    <a:lnTo>
                      <a:pt x="104999" y="108429"/>
                    </a:lnTo>
                    <a:lnTo>
                      <a:pt x="104999" y="80643"/>
                    </a:lnTo>
                    <a:cubicBezTo>
                      <a:pt x="104999" y="69895"/>
                      <a:pt x="113718" y="61204"/>
                      <a:pt x="124438" y="61204"/>
                    </a:cubicBezTo>
                    <a:lnTo>
                      <a:pt x="158342" y="61204"/>
                    </a:lnTo>
                    <a:cubicBezTo>
                      <a:pt x="161915" y="61204"/>
                      <a:pt x="164831" y="58288"/>
                      <a:pt x="164831" y="54715"/>
                    </a:cubicBezTo>
                    <a:lnTo>
                      <a:pt x="164831" y="6489"/>
                    </a:lnTo>
                    <a:cubicBezTo>
                      <a:pt x="164831" y="2916"/>
                      <a:pt x="161915" y="0"/>
                      <a:pt x="158342" y="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Lato"/>
                  <a:ea typeface="Lato"/>
                  <a:cs typeface="Lato"/>
                  <a:sym typeface="Lato"/>
                </a:endParaRPr>
              </a:p>
            </p:txBody>
          </p:sp>
          <p:sp>
            <p:nvSpPr>
              <p:cNvPr id="20" name="Google Shape;20;p57"/>
              <p:cNvSpPr/>
              <p:nvPr/>
            </p:nvSpPr>
            <p:spPr>
              <a:xfrm>
                <a:off x="10860611" y="3304224"/>
                <a:ext cx="53657" cy="53657"/>
              </a:xfrm>
              <a:custGeom>
                <a:avLst/>
                <a:gdLst/>
                <a:ahLst/>
                <a:cxnLst/>
                <a:rect l="l" t="t" r="r" b="b"/>
                <a:pathLst>
                  <a:path w="53657" h="53657" extrusionOk="0">
                    <a:moveTo>
                      <a:pt x="53657" y="26786"/>
                    </a:moveTo>
                    <a:cubicBezTo>
                      <a:pt x="53657" y="41708"/>
                      <a:pt x="41708" y="53657"/>
                      <a:pt x="26729" y="53657"/>
                    </a:cubicBezTo>
                    <a:cubicBezTo>
                      <a:pt x="11749" y="53657"/>
                      <a:pt x="0" y="41594"/>
                      <a:pt x="0" y="26786"/>
                    </a:cubicBezTo>
                    <a:cubicBezTo>
                      <a:pt x="0" y="11978"/>
                      <a:pt x="11949" y="0"/>
                      <a:pt x="26814" y="0"/>
                    </a:cubicBezTo>
                    <a:cubicBezTo>
                      <a:pt x="41679" y="0"/>
                      <a:pt x="53629" y="11892"/>
                      <a:pt x="53629" y="26786"/>
                    </a:cubicBezTo>
                    <a:close/>
                    <a:moveTo>
                      <a:pt x="49541" y="26900"/>
                    </a:moveTo>
                    <a:cubicBezTo>
                      <a:pt x="49541" y="14036"/>
                      <a:pt x="39392" y="3831"/>
                      <a:pt x="26843" y="3831"/>
                    </a:cubicBezTo>
                    <a:cubicBezTo>
                      <a:pt x="14293" y="3831"/>
                      <a:pt x="4145" y="13922"/>
                      <a:pt x="4145" y="26872"/>
                    </a:cubicBezTo>
                    <a:cubicBezTo>
                      <a:pt x="4145" y="39821"/>
                      <a:pt x="14408" y="49884"/>
                      <a:pt x="26729" y="49884"/>
                    </a:cubicBezTo>
                    <a:cubicBezTo>
                      <a:pt x="39049" y="49884"/>
                      <a:pt x="49541" y="39736"/>
                      <a:pt x="49541" y="26900"/>
                    </a:cubicBezTo>
                    <a:close/>
                    <a:moveTo>
                      <a:pt x="32589" y="31131"/>
                    </a:moveTo>
                    <a:lnTo>
                      <a:pt x="39335" y="41622"/>
                    </a:lnTo>
                    <a:lnTo>
                      <a:pt x="34876" y="41622"/>
                    </a:lnTo>
                    <a:lnTo>
                      <a:pt x="27386" y="29730"/>
                    </a:lnTo>
                    <a:lnTo>
                      <a:pt x="20554" y="29730"/>
                    </a:lnTo>
                    <a:lnTo>
                      <a:pt x="20554" y="41622"/>
                    </a:lnTo>
                    <a:lnTo>
                      <a:pt x="16809" y="41622"/>
                    </a:lnTo>
                    <a:lnTo>
                      <a:pt x="16809" y="11549"/>
                    </a:lnTo>
                    <a:lnTo>
                      <a:pt x="28472" y="11549"/>
                    </a:lnTo>
                    <a:cubicBezTo>
                      <a:pt x="34218" y="11549"/>
                      <a:pt x="37963" y="14636"/>
                      <a:pt x="37963" y="20411"/>
                    </a:cubicBezTo>
                    <a:cubicBezTo>
                      <a:pt x="37963" y="25071"/>
                      <a:pt x="35133" y="27958"/>
                      <a:pt x="31131" y="29101"/>
                    </a:cubicBezTo>
                    <a:cubicBezTo>
                      <a:pt x="31674" y="29702"/>
                      <a:pt x="32217" y="30445"/>
                      <a:pt x="32589" y="31160"/>
                    </a:cubicBezTo>
                    <a:close/>
                    <a:moveTo>
                      <a:pt x="27214" y="26185"/>
                    </a:moveTo>
                    <a:cubicBezTo>
                      <a:pt x="31445" y="26185"/>
                      <a:pt x="34047" y="24184"/>
                      <a:pt x="34047" y="20640"/>
                    </a:cubicBezTo>
                    <a:cubicBezTo>
                      <a:pt x="34047" y="17095"/>
                      <a:pt x="32246" y="15037"/>
                      <a:pt x="28558" y="15037"/>
                    </a:cubicBezTo>
                    <a:lnTo>
                      <a:pt x="20525" y="15037"/>
                    </a:lnTo>
                    <a:lnTo>
                      <a:pt x="20525" y="26157"/>
                    </a:lnTo>
                    <a:lnTo>
                      <a:pt x="27214" y="26157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Lato"/>
                  <a:ea typeface="Lato"/>
                  <a:cs typeface="Lato"/>
                  <a:sym typeface="Lato"/>
                </a:endParaRPr>
              </a:p>
            </p:txBody>
          </p:sp>
          <p:sp>
            <p:nvSpPr>
              <p:cNvPr id="21" name="Google Shape;21;p57"/>
              <p:cNvSpPr/>
              <p:nvPr/>
            </p:nvSpPr>
            <p:spPr>
              <a:xfrm>
                <a:off x="10283815" y="3011724"/>
                <a:ext cx="68865" cy="342354"/>
              </a:xfrm>
              <a:custGeom>
                <a:avLst/>
                <a:gdLst/>
                <a:ahLst/>
                <a:cxnLst/>
                <a:rect l="l" t="t" r="r" b="b"/>
                <a:pathLst>
                  <a:path w="68865" h="342354" extrusionOk="0">
                    <a:moveTo>
                      <a:pt x="62376" y="0"/>
                    </a:moveTo>
                    <a:cubicBezTo>
                      <a:pt x="65960" y="0"/>
                      <a:pt x="68866" y="2905"/>
                      <a:pt x="68866" y="6489"/>
                    </a:cubicBezTo>
                    <a:lnTo>
                      <a:pt x="68866" y="335865"/>
                    </a:lnTo>
                    <a:cubicBezTo>
                      <a:pt x="68866" y="339449"/>
                      <a:pt x="65960" y="342355"/>
                      <a:pt x="62376" y="342355"/>
                    </a:cubicBezTo>
                    <a:lnTo>
                      <a:pt x="6489" y="342355"/>
                    </a:lnTo>
                    <a:cubicBezTo>
                      <a:pt x="2905" y="342355"/>
                      <a:pt x="0" y="339449"/>
                      <a:pt x="0" y="335865"/>
                    </a:cubicBezTo>
                    <a:lnTo>
                      <a:pt x="0" y="6489"/>
                    </a:lnTo>
                    <a:cubicBezTo>
                      <a:pt x="0" y="2905"/>
                      <a:pt x="2905" y="0"/>
                      <a:pt x="6489" y="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Lato"/>
                  <a:ea typeface="Lato"/>
                  <a:cs typeface="Lato"/>
                  <a:sym typeface="Lato"/>
                </a:endParaRPr>
              </a:p>
            </p:txBody>
          </p:sp>
          <p:sp>
            <p:nvSpPr>
              <p:cNvPr id="22" name="Google Shape;22;p57"/>
              <p:cNvSpPr/>
              <p:nvPr/>
            </p:nvSpPr>
            <p:spPr>
              <a:xfrm>
                <a:off x="10006809" y="3011696"/>
                <a:ext cx="258538" cy="347300"/>
              </a:xfrm>
              <a:custGeom>
                <a:avLst/>
                <a:gdLst/>
                <a:ahLst/>
                <a:cxnLst/>
                <a:rect l="l" t="t" r="r" b="b"/>
                <a:pathLst>
                  <a:path w="258538" h="347300" extrusionOk="0">
                    <a:moveTo>
                      <a:pt x="143734" y="93393"/>
                    </a:moveTo>
                    <a:cubicBezTo>
                      <a:pt x="111946" y="93393"/>
                      <a:pt x="85503" y="107172"/>
                      <a:pt x="68894" y="129755"/>
                    </a:cubicBezTo>
                    <a:lnTo>
                      <a:pt x="68894" y="6489"/>
                    </a:lnTo>
                    <a:cubicBezTo>
                      <a:pt x="68894" y="2916"/>
                      <a:pt x="65978" y="0"/>
                      <a:pt x="62405" y="0"/>
                    </a:cubicBezTo>
                    <a:lnTo>
                      <a:pt x="6489" y="0"/>
                    </a:lnTo>
                    <a:cubicBezTo>
                      <a:pt x="2916" y="0"/>
                      <a:pt x="0" y="2916"/>
                      <a:pt x="0" y="6489"/>
                    </a:cubicBezTo>
                    <a:lnTo>
                      <a:pt x="0" y="335894"/>
                    </a:lnTo>
                    <a:cubicBezTo>
                      <a:pt x="0" y="339467"/>
                      <a:pt x="2916" y="342383"/>
                      <a:pt x="6489" y="342383"/>
                    </a:cubicBezTo>
                    <a:lnTo>
                      <a:pt x="62405" y="342383"/>
                    </a:lnTo>
                    <a:cubicBezTo>
                      <a:pt x="65978" y="342383"/>
                      <a:pt x="68894" y="339467"/>
                      <a:pt x="68894" y="335894"/>
                    </a:cubicBezTo>
                    <a:lnTo>
                      <a:pt x="68894" y="311624"/>
                    </a:lnTo>
                    <a:cubicBezTo>
                      <a:pt x="85532" y="334236"/>
                      <a:pt x="111946" y="347300"/>
                      <a:pt x="144249" y="347300"/>
                    </a:cubicBezTo>
                    <a:cubicBezTo>
                      <a:pt x="212257" y="347300"/>
                      <a:pt x="258539" y="292442"/>
                      <a:pt x="258539" y="220689"/>
                    </a:cubicBezTo>
                    <a:cubicBezTo>
                      <a:pt x="258539" y="148937"/>
                      <a:pt x="212257" y="93393"/>
                      <a:pt x="143763" y="93393"/>
                    </a:cubicBezTo>
                    <a:close/>
                    <a:moveTo>
                      <a:pt x="130041" y="282637"/>
                    </a:moveTo>
                    <a:cubicBezTo>
                      <a:pt x="94822" y="282637"/>
                      <a:pt x="68894" y="254136"/>
                      <a:pt x="68894" y="220718"/>
                    </a:cubicBezTo>
                    <a:cubicBezTo>
                      <a:pt x="68894" y="187300"/>
                      <a:pt x="94822" y="159285"/>
                      <a:pt x="130041" y="159285"/>
                    </a:cubicBezTo>
                    <a:cubicBezTo>
                      <a:pt x="165260" y="159285"/>
                      <a:pt x="190216" y="187300"/>
                      <a:pt x="190216" y="220718"/>
                    </a:cubicBezTo>
                    <a:cubicBezTo>
                      <a:pt x="190216" y="254136"/>
                      <a:pt x="164774" y="282637"/>
                      <a:pt x="130041" y="282637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Lato"/>
                  <a:ea typeface="Lato"/>
                  <a:cs typeface="Lato"/>
                  <a:sym typeface="Lato"/>
                </a:endParaRPr>
              </a:p>
            </p:txBody>
          </p:sp>
          <p:sp>
            <p:nvSpPr>
              <p:cNvPr id="23" name="Google Shape;23;p57"/>
              <p:cNvSpPr/>
              <p:nvPr/>
            </p:nvSpPr>
            <p:spPr>
              <a:xfrm>
                <a:off x="9736922" y="3105088"/>
                <a:ext cx="251792" cy="253935"/>
              </a:xfrm>
              <a:custGeom>
                <a:avLst/>
                <a:gdLst/>
                <a:ahLst/>
                <a:cxnLst/>
                <a:rect l="l" t="t" r="r" b="b"/>
                <a:pathLst>
                  <a:path w="251792" h="253935" extrusionOk="0">
                    <a:moveTo>
                      <a:pt x="125896" y="0"/>
                    </a:moveTo>
                    <a:cubicBezTo>
                      <a:pt x="54944" y="0"/>
                      <a:pt x="0" y="55287"/>
                      <a:pt x="0" y="126725"/>
                    </a:cubicBezTo>
                    <a:cubicBezTo>
                      <a:pt x="0" y="198163"/>
                      <a:pt x="54915" y="253936"/>
                      <a:pt x="125896" y="253936"/>
                    </a:cubicBezTo>
                    <a:cubicBezTo>
                      <a:pt x="196877" y="253936"/>
                      <a:pt x="251792" y="198163"/>
                      <a:pt x="251792" y="126725"/>
                    </a:cubicBezTo>
                    <a:cubicBezTo>
                      <a:pt x="251792" y="55287"/>
                      <a:pt x="196877" y="0"/>
                      <a:pt x="125896" y="0"/>
                    </a:cubicBezTo>
                    <a:close/>
                    <a:moveTo>
                      <a:pt x="126153" y="188558"/>
                    </a:moveTo>
                    <a:cubicBezTo>
                      <a:pt x="91506" y="188558"/>
                      <a:pt x="65378" y="160314"/>
                      <a:pt x="65378" y="126725"/>
                    </a:cubicBezTo>
                    <a:cubicBezTo>
                      <a:pt x="65378" y="93136"/>
                      <a:pt x="91506" y="65378"/>
                      <a:pt x="126153" y="65378"/>
                    </a:cubicBezTo>
                    <a:cubicBezTo>
                      <a:pt x="160801" y="65378"/>
                      <a:pt x="186443" y="93136"/>
                      <a:pt x="186443" y="126725"/>
                    </a:cubicBezTo>
                    <a:cubicBezTo>
                      <a:pt x="186443" y="160314"/>
                      <a:pt x="161315" y="188558"/>
                      <a:pt x="126153" y="188558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Lato"/>
                  <a:ea typeface="Lato"/>
                  <a:cs typeface="Lato"/>
                  <a:sym typeface="Lato"/>
                </a:endParaRPr>
              </a:p>
            </p:txBody>
          </p:sp>
          <p:sp>
            <p:nvSpPr>
              <p:cNvPr id="24" name="Google Shape;24;p57"/>
              <p:cNvSpPr/>
              <p:nvPr/>
            </p:nvSpPr>
            <p:spPr>
              <a:xfrm>
                <a:off x="10370776" y="3105088"/>
                <a:ext cx="251792" cy="253935"/>
              </a:xfrm>
              <a:custGeom>
                <a:avLst/>
                <a:gdLst/>
                <a:ahLst/>
                <a:cxnLst/>
                <a:rect l="l" t="t" r="r" b="b"/>
                <a:pathLst>
                  <a:path w="251792" h="253935" extrusionOk="0">
                    <a:moveTo>
                      <a:pt x="125896" y="0"/>
                    </a:moveTo>
                    <a:cubicBezTo>
                      <a:pt x="54944" y="0"/>
                      <a:pt x="0" y="55287"/>
                      <a:pt x="0" y="126725"/>
                    </a:cubicBezTo>
                    <a:cubicBezTo>
                      <a:pt x="0" y="198163"/>
                      <a:pt x="54915" y="253936"/>
                      <a:pt x="125896" y="253936"/>
                    </a:cubicBezTo>
                    <a:cubicBezTo>
                      <a:pt x="196877" y="253936"/>
                      <a:pt x="251792" y="198163"/>
                      <a:pt x="251792" y="126725"/>
                    </a:cubicBezTo>
                    <a:cubicBezTo>
                      <a:pt x="251792" y="55287"/>
                      <a:pt x="196877" y="0"/>
                      <a:pt x="125896" y="0"/>
                    </a:cubicBezTo>
                    <a:close/>
                    <a:moveTo>
                      <a:pt x="126153" y="188558"/>
                    </a:moveTo>
                    <a:cubicBezTo>
                      <a:pt x="91506" y="188558"/>
                      <a:pt x="65378" y="160314"/>
                      <a:pt x="65378" y="126725"/>
                    </a:cubicBezTo>
                    <a:cubicBezTo>
                      <a:pt x="65378" y="93136"/>
                      <a:pt x="91506" y="65378"/>
                      <a:pt x="126153" y="65378"/>
                    </a:cubicBezTo>
                    <a:cubicBezTo>
                      <a:pt x="160801" y="65378"/>
                      <a:pt x="186443" y="93136"/>
                      <a:pt x="186443" y="126725"/>
                    </a:cubicBezTo>
                    <a:cubicBezTo>
                      <a:pt x="186443" y="160314"/>
                      <a:pt x="161315" y="188558"/>
                      <a:pt x="126153" y="188558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Lato"/>
                  <a:ea typeface="Lato"/>
                  <a:cs typeface="Lato"/>
                  <a:sym typeface="Lato"/>
                </a:endParaRPr>
              </a:p>
            </p:txBody>
          </p:sp>
          <p:sp>
            <p:nvSpPr>
              <p:cNvPr id="25" name="Google Shape;25;p57"/>
              <p:cNvSpPr/>
              <p:nvPr/>
            </p:nvSpPr>
            <p:spPr>
              <a:xfrm>
                <a:off x="9242171" y="3110092"/>
                <a:ext cx="68865" cy="243987"/>
              </a:xfrm>
              <a:custGeom>
                <a:avLst/>
                <a:gdLst/>
                <a:ahLst/>
                <a:cxnLst/>
                <a:rect l="l" t="t" r="r" b="b"/>
                <a:pathLst>
                  <a:path w="68865" h="243987" extrusionOk="0">
                    <a:moveTo>
                      <a:pt x="62405" y="243987"/>
                    </a:moveTo>
                    <a:lnTo>
                      <a:pt x="6489" y="243987"/>
                    </a:lnTo>
                    <a:cubicBezTo>
                      <a:pt x="2916" y="243987"/>
                      <a:pt x="0" y="241071"/>
                      <a:pt x="0" y="237498"/>
                    </a:cubicBezTo>
                    <a:lnTo>
                      <a:pt x="0" y="63891"/>
                    </a:lnTo>
                    <a:cubicBezTo>
                      <a:pt x="0" y="60403"/>
                      <a:pt x="1401" y="57059"/>
                      <a:pt x="3888" y="54629"/>
                    </a:cubicBezTo>
                    <a:lnTo>
                      <a:pt x="57860" y="1858"/>
                    </a:lnTo>
                    <a:cubicBezTo>
                      <a:pt x="61976" y="-2144"/>
                      <a:pt x="68866" y="743"/>
                      <a:pt x="68866" y="6489"/>
                    </a:cubicBezTo>
                    <a:lnTo>
                      <a:pt x="68866" y="237498"/>
                    </a:lnTo>
                    <a:cubicBezTo>
                      <a:pt x="68866" y="241071"/>
                      <a:pt x="65950" y="243987"/>
                      <a:pt x="62376" y="243987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Lato"/>
                  <a:ea typeface="Lato"/>
                  <a:cs typeface="Lato"/>
                  <a:sym typeface="Lato"/>
                </a:endParaRPr>
              </a:p>
            </p:txBody>
          </p:sp>
          <p:sp>
            <p:nvSpPr>
              <p:cNvPr id="26" name="Google Shape;26;p57"/>
              <p:cNvSpPr/>
              <p:nvPr/>
            </p:nvSpPr>
            <p:spPr>
              <a:xfrm>
                <a:off x="9347255" y="3105025"/>
                <a:ext cx="224777" cy="249082"/>
              </a:xfrm>
              <a:custGeom>
                <a:avLst/>
                <a:gdLst/>
                <a:ahLst/>
                <a:cxnLst/>
                <a:rect l="l" t="t" r="r" b="b"/>
                <a:pathLst>
                  <a:path w="224777" h="249082" extrusionOk="0">
                    <a:moveTo>
                      <a:pt x="224749" y="87568"/>
                    </a:moveTo>
                    <a:cubicBezTo>
                      <a:pt x="224749" y="40257"/>
                      <a:pt x="185671" y="578"/>
                      <a:pt x="136416" y="6"/>
                    </a:cubicBezTo>
                    <a:cubicBezTo>
                      <a:pt x="104370" y="-365"/>
                      <a:pt x="82730" y="15329"/>
                      <a:pt x="68894" y="36540"/>
                    </a:cubicBezTo>
                    <a:lnTo>
                      <a:pt x="68894" y="11670"/>
                    </a:lnTo>
                    <a:cubicBezTo>
                      <a:pt x="68894" y="8097"/>
                      <a:pt x="65978" y="5181"/>
                      <a:pt x="62405" y="5181"/>
                    </a:cubicBezTo>
                    <a:lnTo>
                      <a:pt x="6489" y="5181"/>
                    </a:lnTo>
                    <a:cubicBezTo>
                      <a:pt x="2916" y="5181"/>
                      <a:pt x="0" y="8097"/>
                      <a:pt x="0" y="11670"/>
                    </a:cubicBezTo>
                    <a:lnTo>
                      <a:pt x="0" y="242565"/>
                    </a:lnTo>
                    <a:cubicBezTo>
                      <a:pt x="0" y="246138"/>
                      <a:pt x="2916" y="249054"/>
                      <a:pt x="6489" y="249054"/>
                    </a:cubicBezTo>
                    <a:lnTo>
                      <a:pt x="62405" y="249054"/>
                    </a:lnTo>
                    <a:cubicBezTo>
                      <a:pt x="65978" y="249054"/>
                      <a:pt x="68894" y="246138"/>
                      <a:pt x="68894" y="242565"/>
                    </a:cubicBezTo>
                    <a:lnTo>
                      <a:pt x="68894" y="108293"/>
                    </a:lnTo>
                    <a:cubicBezTo>
                      <a:pt x="70438" y="82451"/>
                      <a:pt x="86818" y="66385"/>
                      <a:pt x="112375" y="66385"/>
                    </a:cubicBezTo>
                    <a:cubicBezTo>
                      <a:pt x="137931" y="66385"/>
                      <a:pt x="155884" y="84423"/>
                      <a:pt x="155884" y="111266"/>
                    </a:cubicBezTo>
                    <a:lnTo>
                      <a:pt x="155884" y="242593"/>
                    </a:lnTo>
                    <a:cubicBezTo>
                      <a:pt x="155884" y="246167"/>
                      <a:pt x="158800" y="249083"/>
                      <a:pt x="162373" y="249083"/>
                    </a:cubicBezTo>
                    <a:lnTo>
                      <a:pt x="218289" y="249083"/>
                    </a:lnTo>
                    <a:cubicBezTo>
                      <a:pt x="221862" y="249083"/>
                      <a:pt x="224778" y="246167"/>
                      <a:pt x="224778" y="242593"/>
                    </a:cubicBezTo>
                    <a:lnTo>
                      <a:pt x="224778" y="87596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Lato"/>
                  <a:ea typeface="Lato"/>
                  <a:cs typeface="Lato"/>
                  <a:sym typeface="Lato"/>
                </a:endParaRPr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F134448-90B8-113F-DAE3-038951C5698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9" y="2281370"/>
            <a:ext cx="5305856" cy="1477907"/>
          </a:xfrm>
          <a:prstGeom prst="rect">
            <a:avLst/>
          </a:prstGeom>
        </p:spPr>
        <p:txBody>
          <a:bodyPr anchor="b" anchorCtr="0"/>
          <a:lstStyle>
            <a:lvl1pPr algn="l">
              <a:defRPr sz="3800" b="1" i="0" cap="all" baseline="0">
                <a:solidFill>
                  <a:schemeClr val="tx1"/>
                </a:solidFill>
                <a:latin typeface="Lato" panose="020F0502020204030203" pitchFamily="34" charset="77"/>
              </a:defRPr>
            </a:lvl1pPr>
          </a:lstStyle>
          <a:p>
            <a:r>
              <a:rPr lang="en-US" noProof="0" dirty="0"/>
              <a:t>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AECEABB-CEE1-7106-30FC-5ADF58FF47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" y="3845658"/>
            <a:ext cx="5305855" cy="1406620"/>
          </a:xfrm>
          <a:prstGeom prst="rect">
            <a:avLst/>
          </a:prstGeom>
        </p:spPr>
        <p:txBody>
          <a:bodyPr anchor="t" anchorCtr="0"/>
          <a:lstStyle>
            <a:lvl1pPr marL="0" indent="0" algn="l">
              <a:buNone/>
              <a:defRPr sz="2200" b="0" i="0" cap="all" baseline="0">
                <a:solidFill>
                  <a:schemeClr val="tx1"/>
                </a:solidFill>
                <a:latin typeface="Lato" panose="020F0502020204030203" pitchFamily="34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substyle</a:t>
            </a:r>
          </a:p>
        </p:txBody>
      </p:sp>
    </p:spTree>
    <p:extLst>
      <p:ext uri="{BB962C8B-B14F-4D97-AF65-F5344CB8AC3E}">
        <p14:creationId xmlns:p14="http://schemas.microsoft.com/office/powerpoint/2010/main" val="1919574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642B26FE-2907-AE81-0DC9-82D9EEBF2AD5}"/>
              </a:ext>
            </a:extLst>
          </p:cNvPr>
          <p:cNvPicPr>
            <a:picLocks noChangeAspect="1"/>
          </p:cNvPicPr>
          <p:nvPr userDrawn="1"/>
        </p:nvPicPr>
        <p:blipFill rotWithShape="1">
          <a:blip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 l="4477" r="5042"/>
          <a:stretch/>
        </p:blipFill>
        <p:spPr>
          <a:xfrm>
            <a:off x="4749825" y="1"/>
            <a:ext cx="9020576" cy="6858000"/>
          </a:xfrm>
          <a:prstGeom prst="rect">
            <a:avLst/>
          </a:prstGeom>
        </p:spPr>
      </p:pic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107125D9-C661-760E-3D31-07D56DE392B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7357" y="1953562"/>
            <a:ext cx="8788186" cy="340220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indent="0">
              <a:buNone/>
              <a:defRPr lang="en-US" b="0" i="0" dirty="0">
                <a:solidFill>
                  <a:schemeClr val="tx1"/>
                </a:solidFill>
                <a:latin typeface="Lato" panose="020F0502020204030203" pitchFamily="34" charset="77"/>
              </a:defRPr>
            </a:lvl1pPr>
          </a:lstStyle>
          <a:p>
            <a:pPr marL="0" lvl="0">
              <a:lnSpc>
                <a:spcPct val="120000"/>
              </a:lnSpc>
            </a:pPr>
            <a:r>
              <a:rPr lang="en-GB"/>
              <a:t>Click to edit Master text styles</a:t>
            </a:r>
          </a:p>
        </p:txBody>
      </p:sp>
      <p:sp>
        <p:nvSpPr>
          <p:cNvPr id="25" name="Text Placeholder 34">
            <a:extLst>
              <a:ext uri="{FF2B5EF4-FFF2-40B4-BE49-F238E27FC236}">
                <a16:creationId xmlns:a16="http://schemas.microsoft.com/office/drawing/2014/main" id="{9E8436B3-A98A-274E-8B4C-EAECB4DA3B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07357" y="5565372"/>
            <a:ext cx="3436322" cy="444526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>
            <a:lvl1pPr marL="0" indent="0">
              <a:buNone/>
              <a:defRPr lang="en-US" sz="1800" b="0" i="0" dirty="0" smtClean="0">
                <a:solidFill>
                  <a:srgbClr val="00BD4D"/>
                </a:solidFill>
                <a:latin typeface="Lato" panose="020F0502020204030203" pitchFamily="34" charset="77"/>
              </a:defRPr>
            </a:lvl1pPr>
          </a:lstStyle>
          <a:p>
            <a:pPr marL="0" lvl="0">
              <a:lnSpc>
                <a:spcPct val="120000"/>
              </a:lnSpc>
            </a:pPr>
            <a:r>
              <a:rPr lang="en-GB"/>
              <a:t>Click to edit Master text styles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8ABBB55-D57A-2C99-633C-9578F914AC43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2821" y="6467484"/>
            <a:ext cx="799740" cy="170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6110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7C53E63-7A0E-6347-626C-609D43F218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3258511"/>
            <a:ext cx="12437462" cy="907089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0C9301CF-7C17-5CF5-0976-B470215653BE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22821" y="6467484"/>
            <a:ext cx="799740" cy="170885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6A33756D-6398-5F2E-41ED-7AF0D7E37C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978" y="297451"/>
            <a:ext cx="11118522" cy="630213"/>
          </a:xfrm>
          <a:prstGeom prst="rect">
            <a:avLst/>
          </a:prstGeom>
        </p:spPr>
        <p:txBody>
          <a:bodyPr/>
          <a:lstStyle>
            <a:lvl1pPr>
              <a:defRPr sz="3400" b="1" i="0" cap="all" baseline="0">
                <a:latin typeface="Lato" panose="020F0502020204030203" pitchFamily="34" charset="77"/>
              </a:defRPr>
            </a:lvl1pPr>
          </a:lstStyle>
          <a:p>
            <a:r>
              <a:rPr lang="en-US" dirty="0"/>
              <a:t>title style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0C16AEDE-834A-86B0-C50E-36CA900204C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55199" y="1485952"/>
            <a:ext cx="2874083" cy="1351351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indent="0" algn="ctr">
              <a:spcBef>
                <a:spcPts val="600"/>
              </a:spcBef>
              <a:buClr>
                <a:srgbClr val="00BD4D"/>
              </a:buClr>
              <a:buFont typeface="Arial" panose="020B0604020202020204" pitchFamily="34" charset="0"/>
              <a:buNone/>
              <a:defRPr lang="en-US" sz="1600" b="0" i="0" dirty="0">
                <a:solidFill>
                  <a:schemeClr val="tx1"/>
                </a:solidFill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GB"/>
              <a:t>Click to edit Master text styles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5460865F-3B2D-2B35-263A-DCF5F1CA3D71}"/>
              </a:ext>
            </a:extLst>
          </p:cNvPr>
          <p:cNvSpPr>
            <a:spLocks noGrp="1"/>
          </p:cNvSpPr>
          <p:nvPr>
            <p:ph type="body" sz="half" idx="10"/>
          </p:nvPr>
        </p:nvSpPr>
        <p:spPr>
          <a:xfrm>
            <a:off x="4652728" y="1485952"/>
            <a:ext cx="2874083" cy="1351351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indent="0" algn="ctr">
              <a:spcBef>
                <a:spcPts val="600"/>
              </a:spcBef>
              <a:buClr>
                <a:srgbClr val="00BD4D"/>
              </a:buClr>
              <a:buFont typeface="Arial" panose="020B0604020202020204" pitchFamily="34" charset="0"/>
              <a:buNone/>
              <a:defRPr lang="en-US" sz="1600" b="0" i="0" dirty="0">
                <a:solidFill>
                  <a:schemeClr val="tx1"/>
                </a:solidFill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GB"/>
              <a:t>Click to edit Master text styl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4BC68EC-7AC8-6518-FEA0-D4B82CEAB0E1}"/>
              </a:ext>
            </a:extLst>
          </p:cNvPr>
          <p:cNvSpPr>
            <a:spLocks noGrp="1"/>
          </p:cNvSpPr>
          <p:nvPr>
            <p:ph type="body" sz="half" idx="11"/>
          </p:nvPr>
        </p:nvSpPr>
        <p:spPr>
          <a:xfrm>
            <a:off x="8450257" y="1485952"/>
            <a:ext cx="2874083" cy="1351351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indent="0" algn="ctr">
              <a:spcBef>
                <a:spcPts val="600"/>
              </a:spcBef>
              <a:buClr>
                <a:srgbClr val="00BD4D"/>
              </a:buClr>
              <a:buFont typeface="Arial" panose="020B0604020202020204" pitchFamily="34" charset="0"/>
              <a:buNone/>
              <a:defRPr lang="en-US" sz="1600" b="0" i="0" dirty="0">
                <a:solidFill>
                  <a:schemeClr val="tx1"/>
                </a:solidFill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GB"/>
              <a:t>Click to 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D9893986-DC8F-71E4-BA73-15612F1C2AE1}"/>
              </a:ext>
            </a:extLst>
          </p:cNvPr>
          <p:cNvSpPr>
            <a:spLocks noGrp="1"/>
          </p:cNvSpPr>
          <p:nvPr>
            <p:ph type="body" sz="half" idx="12"/>
          </p:nvPr>
        </p:nvSpPr>
        <p:spPr>
          <a:xfrm>
            <a:off x="2753964" y="4696372"/>
            <a:ext cx="2874083" cy="1351351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indent="0" algn="ctr">
              <a:spcBef>
                <a:spcPts val="600"/>
              </a:spcBef>
              <a:buClr>
                <a:srgbClr val="00BD4D"/>
              </a:buClr>
              <a:buFont typeface="Arial" panose="020B0604020202020204" pitchFamily="34" charset="0"/>
              <a:buNone/>
              <a:defRPr lang="en-US" sz="1600" b="0" i="0" dirty="0">
                <a:solidFill>
                  <a:schemeClr val="tx1"/>
                </a:solidFill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GB"/>
              <a:t>Click to edit Master text style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C4787B99-0571-1982-F845-1806B0FCDC4B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6551493" y="4696372"/>
            <a:ext cx="2874083" cy="1351351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indent="0" algn="ctr">
              <a:spcBef>
                <a:spcPts val="600"/>
              </a:spcBef>
              <a:buClr>
                <a:srgbClr val="00BD4D"/>
              </a:buClr>
              <a:buFont typeface="Arial" panose="020B0604020202020204" pitchFamily="34" charset="0"/>
              <a:buNone/>
              <a:defRPr lang="en-US" sz="1600" b="0" i="0" dirty="0">
                <a:solidFill>
                  <a:schemeClr val="tx1"/>
                </a:solidFill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9417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Stor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C442303-6FFE-F37A-E16F-56955B1E0F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271" r="27083" b="43333"/>
          <a:stretch/>
        </p:blipFill>
        <p:spPr>
          <a:xfrm>
            <a:off x="1652816" y="0"/>
            <a:ext cx="7150100" cy="3886200"/>
          </a:xfrm>
          <a:prstGeom prst="rect">
            <a:avLst/>
          </a:prstGeom>
        </p:spPr>
      </p:pic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245F5619-BE7E-C85F-EF79-A58E93AECCE2}"/>
              </a:ext>
            </a:extLst>
          </p:cNvPr>
          <p:cNvSpPr/>
          <p:nvPr userDrawn="1"/>
        </p:nvSpPr>
        <p:spPr>
          <a:xfrm>
            <a:off x="7137895" y="1103087"/>
            <a:ext cx="5689106" cy="1576643"/>
          </a:xfrm>
          <a:prstGeom prst="roundRect">
            <a:avLst>
              <a:gd name="adj" fmla="val 4152"/>
            </a:avLst>
          </a:prstGeom>
          <a:noFill/>
          <a:ln>
            <a:solidFill>
              <a:srgbClr val="00BD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F0BFE176-24F2-35B4-7209-D82733203016}"/>
              </a:ext>
            </a:extLst>
          </p:cNvPr>
          <p:cNvSpPr/>
          <p:nvPr userDrawn="1"/>
        </p:nvSpPr>
        <p:spPr>
          <a:xfrm>
            <a:off x="7137895" y="2883479"/>
            <a:ext cx="5689106" cy="1576643"/>
          </a:xfrm>
          <a:prstGeom prst="roundRect">
            <a:avLst>
              <a:gd name="adj" fmla="val 4152"/>
            </a:avLst>
          </a:prstGeom>
          <a:noFill/>
          <a:ln>
            <a:solidFill>
              <a:srgbClr val="00BD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0ECC751C-5A4E-0F76-950E-CA027C208043}"/>
              </a:ext>
            </a:extLst>
          </p:cNvPr>
          <p:cNvSpPr/>
          <p:nvPr userDrawn="1"/>
        </p:nvSpPr>
        <p:spPr>
          <a:xfrm>
            <a:off x="7137895" y="4663870"/>
            <a:ext cx="5689106" cy="1576643"/>
          </a:xfrm>
          <a:prstGeom prst="roundRect">
            <a:avLst>
              <a:gd name="adj" fmla="val 4152"/>
            </a:avLst>
          </a:prstGeom>
          <a:noFill/>
          <a:ln>
            <a:solidFill>
              <a:srgbClr val="00BD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5492DAF-27B0-EC96-F1F2-AD99AD526376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2821" y="6467484"/>
            <a:ext cx="799740" cy="170885"/>
          </a:xfrm>
          <a:prstGeom prst="rect">
            <a:avLst/>
          </a:prstGeom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D8D64587-B846-D17A-11D3-B833B185C0A9}"/>
              </a:ext>
            </a:extLst>
          </p:cNvPr>
          <p:cNvSpPr>
            <a:spLocks noGrp="1"/>
          </p:cNvSpPr>
          <p:nvPr userDrawn="1">
            <p:ph type="body" idx="10"/>
          </p:nvPr>
        </p:nvSpPr>
        <p:spPr>
          <a:xfrm>
            <a:off x="4673600" y="1977626"/>
            <a:ext cx="2262174" cy="348567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>
            <a:lvl1pPr marL="0" indent="0" algn="r">
              <a:buNone/>
              <a:defRPr kumimoji="0" lang="en-US" sz="2000" b="1" i="0" u="none" strike="noStrike" cap="all" spc="0" normalizeH="0" baseline="0" dirty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Lato" panose="020F0502020204030203" pitchFamily="34" charset="77"/>
              </a:defRPr>
            </a:lvl1pPr>
          </a:lstStyle>
          <a:p>
            <a:pPr marL="228600" marR="0" lvl="0" indent="-22860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Click to edit Master text styles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163230DA-4CDF-D0B0-A6F0-707B4F01401B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4673600" y="3818970"/>
            <a:ext cx="2262174" cy="348567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>
            <a:lvl1pPr marL="0" indent="0" algn="r">
              <a:buNone/>
              <a:defRPr kumimoji="0" lang="en-US" sz="2000" b="1" i="0" u="none" strike="noStrike" cap="all" spc="0" normalizeH="0" baseline="0" dirty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Lato" panose="020F0502020204030203" pitchFamily="34" charset="77"/>
              </a:defRPr>
            </a:lvl1pPr>
          </a:lstStyle>
          <a:p>
            <a:pPr marL="228600" marR="0" lvl="0" indent="-22860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Click to edit Master text styles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AE64CA30-2049-A971-3D4A-B9030E4E0252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4673600" y="5539676"/>
            <a:ext cx="2262174" cy="348567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>
            <a:lvl1pPr marL="0" indent="0" algn="r">
              <a:buNone/>
              <a:defRPr kumimoji="0" lang="en-US" sz="2000" b="1" i="0" u="none" strike="noStrike" cap="all" spc="0" normalizeH="0" baseline="0" dirty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Lato" panose="020F0502020204030203" pitchFamily="34" charset="77"/>
              </a:defRPr>
            </a:lvl1pPr>
          </a:lstStyle>
          <a:p>
            <a:pPr marL="228600" marR="0" lvl="0" indent="-22860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Click to edit Master text styles</a:t>
            </a:r>
          </a:p>
        </p:txBody>
      </p:sp>
      <p:sp>
        <p:nvSpPr>
          <p:cNvPr id="54" name="Picture Placeholder 53">
            <a:extLst>
              <a:ext uri="{FF2B5EF4-FFF2-40B4-BE49-F238E27FC236}">
                <a16:creationId xmlns:a16="http://schemas.microsoft.com/office/drawing/2014/main" id="{57137FA4-02B8-7255-9D51-0EC64055B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110663" y="248206"/>
            <a:ext cx="2624138" cy="72016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="0" i="0">
                <a:latin typeface="Lato" panose="020F0502020204030203" pitchFamily="34" charset="77"/>
              </a:defRPr>
            </a:lvl1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58" name="Text Placeholder 3">
            <a:extLst>
              <a:ext uri="{FF2B5EF4-FFF2-40B4-BE49-F238E27FC236}">
                <a16:creationId xmlns:a16="http://schemas.microsoft.com/office/drawing/2014/main" id="{D5727BDC-CC35-ADF5-B9A6-4714E2FE20B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353301" y="1312608"/>
            <a:ext cx="4381500" cy="115760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180000" indent="-180000">
              <a:spcBef>
                <a:spcPts val="600"/>
              </a:spcBef>
              <a:buClr>
                <a:srgbClr val="00BD4D"/>
              </a:buClr>
              <a:buFont typeface="Arial" panose="020B0604020202020204" pitchFamily="34" charset="0"/>
              <a:buChar char="•"/>
              <a:defRPr lang="en-US" sz="1600" b="0" i="0" dirty="0"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GB"/>
              <a:t>Click to edit Master text styles</a:t>
            </a:r>
          </a:p>
        </p:txBody>
      </p:sp>
      <p:sp>
        <p:nvSpPr>
          <p:cNvPr id="59" name="Text Placeholder 3">
            <a:extLst>
              <a:ext uri="{FF2B5EF4-FFF2-40B4-BE49-F238E27FC236}">
                <a16:creationId xmlns:a16="http://schemas.microsoft.com/office/drawing/2014/main" id="{9840D914-DF6C-72D0-2AF1-3131C54AB135}"/>
              </a:ext>
            </a:extLst>
          </p:cNvPr>
          <p:cNvSpPr>
            <a:spLocks noGrp="1"/>
          </p:cNvSpPr>
          <p:nvPr>
            <p:ph type="body" sz="half" idx="15"/>
          </p:nvPr>
        </p:nvSpPr>
        <p:spPr>
          <a:xfrm>
            <a:off x="7353301" y="3093000"/>
            <a:ext cx="4381500" cy="115760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180000" indent="-180000">
              <a:spcBef>
                <a:spcPts val="600"/>
              </a:spcBef>
              <a:buClr>
                <a:srgbClr val="00BD4D"/>
              </a:buClr>
              <a:buFont typeface="Arial" panose="020B0604020202020204" pitchFamily="34" charset="0"/>
              <a:buChar char="•"/>
              <a:defRPr lang="en-US" sz="1600" b="0" i="0" dirty="0"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GB"/>
              <a:t>Click to edit Master text styles</a:t>
            </a:r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DD0DEE89-6099-F679-9F52-0B51633EDDF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7353301" y="4873391"/>
            <a:ext cx="4381500" cy="115760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180000" indent="-180000">
              <a:spcBef>
                <a:spcPts val="600"/>
              </a:spcBef>
              <a:buClr>
                <a:srgbClr val="00BD4D"/>
              </a:buClr>
              <a:buFont typeface="Arial" panose="020B0604020202020204" pitchFamily="34" charset="0"/>
              <a:buChar char="•"/>
              <a:defRPr lang="en-US" sz="1600" b="0" i="0" dirty="0"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GB"/>
              <a:t>Click to edit Master text styles</a:t>
            </a:r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61D9B2E2-146B-CFCC-4E57-419E5CFE78D7}"/>
              </a:ext>
            </a:extLst>
          </p:cNvPr>
          <p:cNvSpPr/>
          <p:nvPr userDrawn="1"/>
        </p:nvSpPr>
        <p:spPr>
          <a:xfrm rot="10800000" flipH="1" flipV="1">
            <a:off x="-2241125" y="639297"/>
            <a:ext cx="7295231" cy="7382142"/>
          </a:xfrm>
          <a:custGeom>
            <a:avLst/>
            <a:gdLst>
              <a:gd name="connsiteX0" fmla="*/ 3985217 w 4062497"/>
              <a:gd name="connsiteY0" fmla="*/ 1844654 h 4062497"/>
              <a:gd name="connsiteX1" fmla="*/ 2217844 w 4062497"/>
              <a:gd name="connsiteY1" fmla="*/ 77281 h 4062497"/>
              <a:gd name="connsiteX2" fmla="*/ 1844654 w 4062497"/>
              <a:gd name="connsiteY2" fmla="*/ 77281 h 4062497"/>
              <a:gd name="connsiteX3" fmla="*/ 77281 w 4062497"/>
              <a:gd name="connsiteY3" fmla="*/ 1844654 h 4062497"/>
              <a:gd name="connsiteX4" fmla="*/ 77281 w 4062497"/>
              <a:gd name="connsiteY4" fmla="*/ 2217844 h 4062497"/>
              <a:gd name="connsiteX5" fmla="*/ 1844654 w 4062497"/>
              <a:gd name="connsiteY5" fmla="*/ 3985217 h 4062497"/>
              <a:gd name="connsiteX6" fmla="*/ 2217844 w 4062497"/>
              <a:gd name="connsiteY6" fmla="*/ 3985217 h 4062497"/>
              <a:gd name="connsiteX7" fmla="*/ 3985217 w 4062497"/>
              <a:gd name="connsiteY7" fmla="*/ 2217844 h 4062497"/>
              <a:gd name="connsiteX8" fmla="*/ 3985217 w 4062497"/>
              <a:gd name="connsiteY8" fmla="*/ 1844654 h 4062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2497" h="4062497">
                <a:moveTo>
                  <a:pt x="3985217" y="1844654"/>
                </a:moveTo>
                <a:lnTo>
                  <a:pt x="2217844" y="77281"/>
                </a:lnTo>
                <a:cubicBezTo>
                  <a:pt x="2114803" y="-25760"/>
                  <a:pt x="1947695" y="-25760"/>
                  <a:pt x="1844654" y="77281"/>
                </a:cubicBezTo>
                <a:lnTo>
                  <a:pt x="77281" y="1844654"/>
                </a:lnTo>
                <a:cubicBezTo>
                  <a:pt x="-25760" y="1947695"/>
                  <a:pt x="-25760" y="2114803"/>
                  <a:pt x="77281" y="2217844"/>
                </a:cubicBezTo>
                <a:lnTo>
                  <a:pt x="1844654" y="3985217"/>
                </a:lnTo>
                <a:cubicBezTo>
                  <a:pt x="1947695" y="4088258"/>
                  <a:pt x="2114803" y="4088258"/>
                  <a:pt x="2217844" y="3985217"/>
                </a:cubicBezTo>
                <a:lnTo>
                  <a:pt x="3985217" y="2217844"/>
                </a:lnTo>
                <a:cubicBezTo>
                  <a:pt x="4088258" y="2114803"/>
                  <a:pt x="4088258" y="1947695"/>
                  <a:pt x="3985217" y="1844654"/>
                </a:cubicBezTo>
                <a:close/>
              </a:path>
            </a:pathLst>
          </a:custGeom>
          <a:gradFill>
            <a:gsLst>
              <a:gs pos="12000">
                <a:srgbClr val="D9E1E2">
                  <a:alpha val="54000"/>
                </a:srgbClr>
              </a:gs>
              <a:gs pos="74000">
                <a:srgbClr val="D9E1E2">
                  <a:alpha val="0"/>
                </a:srgbClr>
              </a:gs>
            </a:gsLst>
            <a:lin ang="8100000" scaled="1"/>
          </a:gradFill>
          <a:ln w="685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3070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74023803-DC59-23B4-6AED-559A4725A5D5}"/>
              </a:ext>
            </a:extLst>
          </p:cNvPr>
          <p:cNvSpPr/>
          <p:nvPr userDrawn="1"/>
        </p:nvSpPr>
        <p:spPr>
          <a:xfrm>
            <a:off x="0" y="0"/>
            <a:ext cx="8181022" cy="5586670"/>
          </a:xfrm>
          <a:custGeom>
            <a:avLst/>
            <a:gdLst>
              <a:gd name="connsiteX0" fmla="*/ 0 w 8181022"/>
              <a:gd name="connsiteY0" fmla="*/ 0 h 5586670"/>
              <a:gd name="connsiteX1" fmla="*/ 7430093 w 8181022"/>
              <a:gd name="connsiteY1" fmla="*/ 0 h 5586670"/>
              <a:gd name="connsiteX2" fmla="*/ 8006437 w 8181022"/>
              <a:gd name="connsiteY2" fmla="*/ 576344 h 5586670"/>
              <a:gd name="connsiteX3" fmla="*/ 8006437 w 8181022"/>
              <a:gd name="connsiteY3" fmla="*/ 1419416 h 5586670"/>
              <a:gd name="connsiteX4" fmla="*/ 4013766 w 8181022"/>
              <a:gd name="connsiteY4" fmla="*/ 5412085 h 5586670"/>
              <a:gd name="connsiteX5" fmla="*/ 3170693 w 8181022"/>
              <a:gd name="connsiteY5" fmla="*/ 5412085 h 5586670"/>
              <a:gd name="connsiteX6" fmla="*/ 0 w 8181022"/>
              <a:gd name="connsiteY6" fmla="*/ 2241394 h 55866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181022" h="5586670">
                <a:moveTo>
                  <a:pt x="0" y="0"/>
                </a:moveTo>
                <a:lnTo>
                  <a:pt x="7430093" y="0"/>
                </a:lnTo>
                <a:lnTo>
                  <a:pt x="8006437" y="576344"/>
                </a:lnTo>
                <a:cubicBezTo>
                  <a:pt x="8239217" y="809124"/>
                  <a:pt x="8239217" y="1186635"/>
                  <a:pt x="8006437" y="1419416"/>
                </a:cubicBezTo>
                <a:lnTo>
                  <a:pt x="4013766" y="5412085"/>
                </a:lnTo>
                <a:cubicBezTo>
                  <a:pt x="3780985" y="5644865"/>
                  <a:pt x="3403473" y="5644865"/>
                  <a:pt x="3170693" y="5412085"/>
                </a:cubicBezTo>
                <a:lnTo>
                  <a:pt x="0" y="2241394"/>
                </a:lnTo>
                <a:close/>
              </a:path>
            </a:pathLst>
          </a:custGeom>
          <a:solidFill>
            <a:schemeClr val="accent2"/>
          </a:solidFill>
          <a:ln w="685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4603AAFF-36CE-D906-6D45-80F463194F99}"/>
              </a:ext>
            </a:extLst>
          </p:cNvPr>
          <p:cNvSpPr/>
          <p:nvPr userDrawn="1"/>
        </p:nvSpPr>
        <p:spPr>
          <a:xfrm>
            <a:off x="660400" y="1655936"/>
            <a:ext cx="3196532" cy="4196440"/>
          </a:xfrm>
          <a:prstGeom prst="roundRect">
            <a:avLst>
              <a:gd name="adj" fmla="val 4152"/>
            </a:avLst>
          </a:prstGeom>
          <a:solidFill>
            <a:schemeClr val="bg1"/>
          </a:solidFill>
          <a:ln>
            <a:noFill/>
          </a:ln>
          <a:effectLst>
            <a:outerShdw blurRad="330200" dist="152400" dir="8100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b="0" i="0" noProof="0" dirty="0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01C48D76-22B7-0ABC-2AEF-B4A44EAA11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5553" y="372228"/>
            <a:ext cx="5753956" cy="630213"/>
          </a:xfrm>
          <a:prstGeom prst="rect">
            <a:avLst/>
          </a:prstGeom>
        </p:spPr>
        <p:txBody>
          <a:bodyPr/>
          <a:lstStyle>
            <a:lvl1pPr>
              <a:defRPr sz="3400" b="1" i="0" cap="all" baseline="0">
                <a:solidFill>
                  <a:schemeClr val="tx1"/>
                </a:solidFill>
                <a:latin typeface="Lato" panose="020F0502020204030203" pitchFamily="34" charset="77"/>
              </a:defRPr>
            </a:lvl1pPr>
          </a:lstStyle>
          <a:p>
            <a:r>
              <a:rPr lang="en-US" dirty="0"/>
              <a:t>title style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F44DC92A-47C8-FFBC-7AED-4A613BC18DA7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1488803" y="1968359"/>
            <a:ext cx="2087295" cy="55661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2000" b="0" i="0" cap="all" baseline="0">
                <a:solidFill>
                  <a:schemeClr val="tx1"/>
                </a:solidFill>
                <a:latin typeface="Lato" panose="020F0502020204030203" pitchFamily="34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D58D18F9-C3AF-A4DC-4A97-7D963813391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41234" y="2824023"/>
            <a:ext cx="2634864" cy="258324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360000" indent="-180000">
              <a:spcBef>
                <a:spcPts val="800"/>
              </a:spcBef>
              <a:buClr>
                <a:srgbClr val="00BD4D"/>
              </a:buClr>
              <a:buFont typeface="Arial" panose="020B0604020202020204" pitchFamily="34" charset="0"/>
              <a:buChar char="•"/>
              <a:defRPr lang="en-US" sz="1600" b="0" i="0" dirty="0"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GB"/>
              <a:t>Click to edit Master text styles</a:t>
            </a: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921B60C4-9A91-19E6-5CC4-25AE088C7B41}"/>
              </a:ext>
            </a:extLst>
          </p:cNvPr>
          <p:cNvSpPr/>
          <p:nvPr userDrawn="1"/>
        </p:nvSpPr>
        <p:spPr>
          <a:xfrm>
            <a:off x="4191393" y="1655936"/>
            <a:ext cx="3196532" cy="4196440"/>
          </a:xfrm>
          <a:prstGeom prst="roundRect">
            <a:avLst>
              <a:gd name="adj" fmla="val 4152"/>
            </a:avLst>
          </a:prstGeom>
          <a:solidFill>
            <a:schemeClr val="bg1"/>
          </a:solidFill>
          <a:ln>
            <a:noFill/>
          </a:ln>
          <a:effectLst>
            <a:outerShdw blurRad="330200" dist="152400" dir="8100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b="0" i="0" noProof="0" dirty="0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0B84025F-6386-5003-7391-48EE3708243F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5019796" y="1968359"/>
            <a:ext cx="2087295" cy="55661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2000" b="0" i="0" cap="all" baseline="0">
                <a:solidFill>
                  <a:schemeClr val="tx1"/>
                </a:solidFill>
                <a:latin typeface="Lato" panose="020F0502020204030203" pitchFamily="34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98DB43D0-F190-A165-B520-8AD40F80228A}"/>
              </a:ext>
            </a:extLst>
          </p:cNvPr>
          <p:cNvSpPr>
            <a:spLocks noGrp="1"/>
          </p:cNvSpPr>
          <p:nvPr>
            <p:ph type="body" sz="half" idx="12"/>
          </p:nvPr>
        </p:nvSpPr>
        <p:spPr>
          <a:xfrm>
            <a:off x="4472227" y="2824023"/>
            <a:ext cx="2634864" cy="258324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360000" indent="-180000">
              <a:spcBef>
                <a:spcPts val="800"/>
              </a:spcBef>
              <a:buClr>
                <a:srgbClr val="00BD4D"/>
              </a:buClr>
              <a:buFont typeface="Arial" panose="020B0604020202020204" pitchFamily="34" charset="0"/>
              <a:buChar char="•"/>
              <a:defRPr lang="en-US" sz="1600" b="0" i="0" dirty="0"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GB"/>
              <a:t>Click to edit Master text styles</a:t>
            </a: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6AFC7E7F-22BE-A13D-E985-67B69ABB6BA5}"/>
              </a:ext>
            </a:extLst>
          </p:cNvPr>
          <p:cNvSpPr/>
          <p:nvPr userDrawn="1"/>
        </p:nvSpPr>
        <p:spPr>
          <a:xfrm>
            <a:off x="7722386" y="1655936"/>
            <a:ext cx="3196532" cy="4196440"/>
          </a:xfrm>
          <a:prstGeom prst="roundRect">
            <a:avLst>
              <a:gd name="adj" fmla="val 4152"/>
            </a:avLst>
          </a:prstGeom>
          <a:solidFill>
            <a:schemeClr val="bg1"/>
          </a:solidFill>
          <a:ln>
            <a:noFill/>
          </a:ln>
          <a:effectLst>
            <a:outerShdw blurRad="330200" dist="152400" dir="8100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b="0" i="0" noProof="0" dirty="0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BFB09001-510A-E422-474A-9885E7717340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550789" y="1968359"/>
            <a:ext cx="2087295" cy="55661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2000" b="0" i="0" cap="all" baseline="0">
                <a:solidFill>
                  <a:schemeClr val="tx1"/>
                </a:solidFill>
                <a:latin typeface="Lato" panose="020F0502020204030203" pitchFamily="34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1" name="Text Placeholder 3">
            <a:extLst>
              <a:ext uri="{FF2B5EF4-FFF2-40B4-BE49-F238E27FC236}">
                <a16:creationId xmlns:a16="http://schemas.microsoft.com/office/drawing/2014/main" id="{242A9256-1045-D7C8-28B8-D73749640C0E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8003220" y="2824023"/>
            <a:ext cx="2634864" cy="258324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360000" indent="-180000">
              <a:spcBef>
                <a:spcPts val="800"/>
              </a:spcBef>
              <a:buClr>
                <a:srgbClr val="00BD4D"/>
              </a:buClr>
              <a:buFont typeface="Arial" panose="020B0604020202020204" pitchFamily="34" charset="0"/>
              <a:buChar char="•"/>
              <a:defRPr lang="en-US" sz="1600" b="0" i="0" dirty="0"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GB"/>
              <a:t>Click to edit Master text styl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45A94A3-757C-44DA-BB80-263FB039B4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198216" y="5779325"/>
            <a:ext cx="2120900" cy="7553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54A3E6A-6946-4BE9-8E0B-A19795A8203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4759564" y="5779325"/>
            <a:ext cx="2120900" cy="7553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7CE8DC2-8C8D-FDE8-18D3-FE7050E9FB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8328933" y="5779325"/>
            <a:ext cx="2120900" cy="75531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D77A7A58-198F-604D-E780-759E686B896C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2821" y="6467484"/>
            <a:ext cx="799740" cy="170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488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: Shape 1">
            <a:extLst>
              <a:ext uri="{FF2B5EF4-FFF2-40B4-BE49-F238E27FC236}">
                <a16:creationId xmlns:a16="http://schemas.microsoft.com/office/drawing/2014/main" id="{739C0CFE-2E50-94E8-36C4-9BD7BEAC5FF4}"/>
              </a:ext>
            </a:extLst>
          </p:cNvPr>
          <p:cNvSpPr/>
          <p:nvPr userDrawn="1"/>
        </p:nvSpPr>
        <p:spPr>
          <a:xfrm>
            <a:off x="5410200" y="0"/>
            <a:ext cx="6781800" cy="6858000"/>
          </a:xfrm>
          <a:custGeom>
            <a:avLst/>
            <a:gdLst>
              <a:gd name="connsiteX0" fmla="*/ 4085881 w 6781800"/>
              <a:gd name="connsiteY0" fmla="*/ 0 h 6858000"/>
              <a:gd name="connsiteX1" fmla="*/ 5248622 w 6781800"/>
              <a:gd name="connsiteY1" fmla="*/ 0 h 6858000"/>
              <a:gd name="connsiteX2" fmla="*/ 6781800 w 6781800"/>
              <a:gd name="connsiteY2" fmla="*/ 1533177 h 6858000"/>
              <a:gd name="connsiteX3" fmla="*/ 6781800 w 6781800"/>
              <a:gd name="connsiteY3" fmla="*/ 6858000 h 6858000"/>
              <a:gd name="connsiteX4" fmla="*/ 2269777 w 6781800"/>
              <a:gd name="connsiteY4" fmla="*/ 6858000 h 6858000"/>
              <a:gd name="connsiteX5" fmla="*/ 177571 w 6781800"/>
              <a:gd name="connsiteY5" fmla="*/ 4765795 h 6858000"/>
              <a:gd name="connsiteX6" fmla="*/ 177571 w 6781800"/>
              <a:gd name="connsiteY6" fmla="*/ 390830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81800" h="6858000">
                <a:moveTo>
                  <a:pt x="4085881" y="0"/>
                </a:moveTo>
                <a:lnTo>
                  <a:pt x="5248622" y="0"/>
                </a:lnTo>
                <a:lnTo>
                  <a:pt x="6781800" y="1533177"/>
                </a:lnTo>
                <a:lnTo>
                  <a:pt x="6781800" y="6858000"/>
                </a:lnTo>
                <a:lnTo>
                  <a:pt x="2269777" y="6858000"/>
                </a:lnTo>
                <a:lnTo>
                  <a:pt x="177571" y="4765795"/>
                </a:lnTo>
                <a:cubicBezTo>
                  <a:pt x="-59191" y="4529034"/>
                  <a:pt x="-59191" y="4145068"/>
                  <a:pt x="177571" y="3908308"/>
                </a:cubicBezTo>
                <a:close/>
              </a:path>
            </a:pathLst>
          </a:custGeom>
          <a:solidFill>
            <a:schemeClr val="accent2"/>
          </a:solidFill>
          <a:ln w="685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4603AAFF-36CE-D906-6D45-80F463194F99}"/>
              </a:ext>
            </a:extLst>
          </p:cNvPr>
          <p:cNvSpPr/>
          <p:nvPr userDrawn="1"/>
        </p:nvSpPr>
        <p:spPr>
          <a:xfrm>
            <a:off x="5905500" y="598596"/>
            <a:ext cx="6629400" cy="1763602"/>
          </a:xfrm>
          <a:prstGeom prst="roundRect">
            <a:avLst>
              <a:gd name="adj" fmla="val 4152"/>
            </a:avLst>
          </a:prstGeom>
          <a:solidFill>
            <a:schemeClr val="bg1"/>
          </a:solidFill>
          <a:ln>
            <a:noFill/>
          </a:ln>
          <a:effectLst>
            <a:outerShdw blurRad="330200" dist="152400" dir="8100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b="0" i="0" noProof="0" dirty="0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01C48D76-22B7-0ABC-2AEF-B4A44EAA11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840" y="2522752"/>
            <a:ext cx="4472288" cy="1812497"/>
          </a:xfrm>
          <a:prstGeom prst="rect">
            <a:avLst/>
          </a:prstGeom>
        </p:spPr>
        <p:txBody>
          <a:bodyPr anchor="ctr"/>
          <a:lstStyle>
            <a:lvl1pPr>
              <a:defRPr sz="3400" b="1" i="0" cap="all" baseline="0">
                <a:solidFill>
                  <a:schemeClr val="accent1"/>
                </a:solidFill>
                <a:latin typeface="Lato" panose="020F0502020204030203" pitchFamily="34" charset="77"/>
              </a:defRPr>
            </a:lvl1pPr>
          </a:lstStyle>
          <a:p>
            <a:r>
              <a:rPr lang="en-US" dirty="0"/>
              <a:t>title style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F44DC92A-47C8-FFBC-7AED-4A613BC18DA7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6774162" y="809420"/>
            <a:ext cx="5027767" cy="31779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0" i="0" cap="all" baseline="0">
                <a:solidFill>
                  <a:schemeClr val="tx1"/>
                </a:solidFill>
                <a:latin typeface="Lato" panose="020F0502020204030203" pitchFamily="34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D58D18F9-C3AF-A4DC-4A97-7D963813391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774162" y="1220583"/>
            <a:ext cx="5027766" cy="100191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360000" indent="-180000">
              <a:spcBef>
                <a:spcPts val="800"/>
              </a:spcBef>
              <a:buClr>
                <a:srgbClr val="00BD4D"/>
              </a:buClr>
              <a:buFont typeface="Arial" panose="020B0604020202020204" pitchFamily="34" charset="0"/>
              <a:buChar char="•"/>
              <a:defRPr lang="en-US" sz="1600" b="0" i="0" dirty="0"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GB"/>
              <a:t>Click to edit Master text styles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3A6C73A5-3F42-B765-DD82-A7AD78FB028F}"/>
              </a:ext>
            </a:extLst>
          </p:cNvPr>
          <p:cNvSpPr/>
          <p:nvPr userDrawn="1"/>
        </p:nvSpPr>
        <p:spPr>
          <a:xfrm>
            <a:off x="5905500" y="2563521"/>
            <a:ext cx="6629400" cy="1763602"/>
          </a:xfrm>
          <a:prstGeom prst="roundRect">
            <a:avLst>
              <a:gd name="adj" fmla="val 4152"/>
            </a:avLst>
          </a:prstGeom>
          <a:solidFill>
            <a:schemeClr val="bg1"/>
          </a:solidFill>
          <a:ln>
            <a:noFill/>
          </a:ln>
          <a:effectLst>
            <a:outerShdw blurRad="330200" dist="152400" dir="8100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b="0" i="0" noProof="0" dirty="0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25E8343F-F334-C76C-0D6E-A42BCCAA2E8F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6774162" y="2778313"/>
            <a:ext cx="5027767" cy="31779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0" i="0" cap="all" baseline="0">
                <a:solidFill>
                  <a:schemeClr val="tx1"/>
                </a:solidFill>
                <a:latin typeface="Lato" panose="020F0502020204030203" pitchFamily="34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63A6A8C8-DF9D-DA03-D78B-F22BA910F6CE}"/>
              </a:ext>
            </a:extLst>
          </p:cNvPr>
          <p:cNvSpPr>
            <a:spLocks noGrp="1"/>
          </p:cNvSpPr>
          <p:nvPr>
            <p:ph type="body" sz="half" idx="12"/>
          </p:nvPr>
        </p:nvSpPr>
        <p:spPr>
          <a:xfrm>
            <a:off x="6774162" y="3189476"/>
            <a:ext cx="5027766" cy="100191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360000" indent="-180000">
              <a:spcBef>
                <a:spcPts val="800"/>
              </a:spcBef>
              <a:buClr>
                <a:srgbClr val="00BD4D"/>
              </a:buClr>
              <a:buFont typeface="Arial" panose="020B0604020202020204" pitchFamily="34" charset="0"/>
              <a:buChar char="•"/>
              <a:defRPr lang="en-US" sz="1600" b="0" i="0" dirty="0"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GB"/>
              <a:t>Click to edit Master text styles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C7A6530D-A434-F304-DECA-101956ED5418}"/>
              </a:ext>
            </a:extLst>
          </p:cNvPr>
          <p:cNvSpPr/>
          <p:nvPr userDrawn="1"/>
        </p:nvSpPr>
        <p:spPr>
          <a:xfrm>
            <a:off x="5905500" y="4528446"/>
            <a:ext cx="6629400" cy="1763602"/>
          </a:xfrm>
          <a:prstGeom prst="roundRect">
            <a:avLst>
              <a:gd name="adj" fmla="val 4152"/>
            </a:avLst>
          </a:prstGeom>
          <a:solidFill>
            <a:schemeClr val="bg1"/>
          </a:solidFill>
          <a:ln>
            <a:noFill/>
          </a:ln>
          <a:effectLst>
            <a:outerShdw blurRad="330200" dist="152400" dir="8100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b="0" i="0" noProof="0" dirty="0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B9CD627-CC11-FB27-034D-C06EB7F2CA70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774162" y="4739270"/>
            <a:ext cx="5027767" cy="31779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0" i="0" cap="all" baseline="0">
                <a:solidFill>
                  <a:schemeClr val="tx1"/>
                </a:solidFill>
                <a:latin typeface="Lato" panose="020F0502020204030203" pitchFamily="34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7AB5D135-E8D1-C8C3-453C-CD8EE11857E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6774162" y="5150433"/>
            <a:ext cx="5027766" cy="100191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360000" indent="-180000">
              <a:spcBef>
                <a:spcPts val="800"/>
              </a:spcBef>
              <a:buClr>
                <a:srgbClr val="00BD4D"/>
              </a:buClr>
              <a:buFont typeface="Arial" panose="020B0604020202020204" pitchFamily="34" charset="0"/>
              <a:buChar char="•"/>
              <a:defRPr lang="en-US" sz="1600" b="0" i="0" dirty="0"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GB"/>
              <a:t>Click to edit Master text styles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DD3A4FCA-61B8-1F16-5BD4-5B16DE0D9398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1122821" y="6467484"/>
            <a:ext cx="799740" cy="170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677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: Shape 1">
            <a:extLst>
              <a:ext uri="{FF2B5EF4-FFF2-40B4-BE49-F238E27FC236}">
                <a16:creationId xmlns:a16="http://schemas.microsoft.com/office/drawing/2014/main" id="{7DF29992-39A7-7995-F698-4CD59C47BF20}"/>
              </a:ext>
            </a:extLst>
          </p:cNvPr>
          <p:cNvSpPr/>
          <p:nvPr userDrawn="1"/>
        </p:nvSpPr>
        <p:spPr>
          <a:xfrm>
            <a:off x="5410200" y="0"/>
            <a:ext cx="6781800" cy="6858000"/>
          </a:xfrm>
          <a:custGeom>
            <a:avLst/>
            <a:gdLst>
              <a:gd name="connsiteX0" fmla="*/ 4085881 w 6781800"/>
              <a:gd name="connsiteY0" fmla="*/ 0 h 6858000"/>
              <a:gd name="connsiteX1" fmla="*/ 5248622 w 6781800"/>
              <a:gd name="connsiteY1" fmla="*/ 0 h 6858000"/>
              <a:gd name="connsiteX2" fmla="*/ 6781800 w 6781800"/>
              <a:gd name="connsiteY2" fmla="*/ 1533177 h 6858000"/>
              <a:gd name="connsiteX3" fmla="*/ 6781800 w 6781800"/>
              <a:gd name="connsiteY3" fmla="*/ 6858000 h 6858000"/>
              <a:gd name="connsiteX4" fmla="*/ 2269777 w 6781800"/>
              <a:gd name="connsiteY4" fmla="*/ 6858000 h 6858000"/>
              <a:gd name="connsiteX5" fmla="*/ 177571 w 6781800"/>
              <a:gd name="connsiteY5" fmla="*/ 4765795 h 6858000"/>
              <a:gd name="connsiteX6" fmla="*/ 177571 w 6781800"/>
              <a:gd name="connsiteY6" fmla="*/ 390830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81800" h="6858000">
                <a:moveTo>
                  <a:pt x="4085881" y="0"/>
                </a:moveTo>
                <a:lnTo>
                  <a:pt x="5248622" y="0"/>
                </a:lnTo>
                <a:lnTo>
                  <a:pt x="6781800" y="1533177"/>
                </a:lnTo>
                <a:lnTo>
                  <a:pt x="6781800" y="6858000"/>
                </a:lnTo>
                <a:lnTo>
                  <a:pt x="2269777" y="6858000"/>
                </a:lnTo>
                <a:lnTo>
                  <a:pt x="177571" y="4765795"/>
                </a:lnTo>
                <a:cubicBezTo>
                  <a:pt x="-59191" y="4529034"/>
                  <a:pt x="-59191" y="4145068"/>
                  <a:pt x="177571" y="3908308"/>
                </a:cubicBezTo>
                <a:close/>
              </a:path>
            </a:pathLst>
          </a:custGeom>
          <a:gradFill>
            <a:gsLst>
              <a:gs pos="0">
                <a:srgbClr val="D9E1E2"/>
              </a:gs>
              <a:gs pos="9000">
                <a:srgbClr val="D9E1E2">
                  <a:alpha val="87843"/>
                </a:srgbClr>
              </a:gs>
              <a:gs pos="34000">
                <a:srgbClr val="D9E1E2">
                  <a:alpha val="56863"/>
                </a:srgbClr>
              </a:gs>
              <a:gs pos="56000">
                <a:srgbClr val="D9E1E2">
                  <a:alpha val="31765"/>
                </a:srgbClr>
              </a:gs>
              <a:gs pos="76000">
                <a:srgbClr val="D9E1E2">
                  <a:alpha val="14902"/>
                </a:srgbClr>
              </a:gs>
              <a:gs pos="91000">
                <a:srgbClr val="D9E1E2">
                  <a:alpha val="3922"/>
                </a:srgbClr>
              </a:gs>
              <a:gs pos="100000">
                <a:srgbClr val="D9E1E2">
                  <a:alpha val="0"/>
                </a:srgbClr>
              </a:gs>
            </a:gsLst>
            <a:lin ang="0" scaled="0"/>
          </a:gradFill>
          <a:ln w="548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b="0" i="0" dirty="0">
              <a:latin typeface="Lato" panose="020F0502020204030203" pitchFamily="34" charset="77"/>
            </a:endParaRPr>
          </a:p>
        </p:txBody>
      </p:sp>
      <p:sp>
        <p:nvSpPr>
          <p:cNvPr id="35" name="Rectangle: Top Corners Rounded 34">
            <a:extLst>
              <a:ext uri="{FF2B5EF4-FFF2-40B4-BE49-F238E27FC236}">
                <a16:creationId xmlns:a16="http://schemas.microsoft.com/office/drawing/2014/main" id="{C48C1EB8-3B85-5A27-4113-E6E84B6360FE}"/>
              </a:ext>
            </a:extLst>
          </p:cNvPr>
          <p:cNvSpPr/>
          <p:nvPr userDrawn="1"/>
        </p:nvSpPr>
        <p:spPr>
          <a:xfrm rot="16200000">
            <a:off x="6705600" y="450850"/>
            <a:ext cx="5016499" cy="5956300"/>
          </a:xfrm>
          <a:prstGeom prst="round2SameRect">
            <a:avLst>
              <a:gd name="adj1" fmla="val 2743"/>
              <a:gd name="adj2" fmla="val 0"/>
            </a:avLst>
          </a:prstGeom>
          <a:solidFill>
            <a:schemeClr val="bg1"/>
          </a:solidFill>
          <a:ln>
            <a:noFill/>
          </a:ln>
          <a:effectLst>
            <a:outerShdw blurRad="330200" dist="152400" dir="8100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b="0" i="0" dirty="0" err="1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D503847C-9003-E040-935D-DE31526E6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6766" y="991583"/>
            <a:ext cx="4783434" cy="1251383"/>
          </a:xfrm>
          <a:prstGeom prst="rect">
            <a:avLst/>
          </a:prstGeom>
        </p:spPr>
        <p:txBody>
          <a:bodyPr/>
          <a:lstStyle>
            <a:lvl1pPr>
              <a:defRPr sz="3400" b="1" i="0" cap="all" baseline="0">
                <a:latin typeface="Lato" panose="020F0502020204030203" pitchFamily="34" charset="77"/>
              </a:defRPr>
            </a:lvl1pPr>
          </a:lstStyle>
          <a:p>
            <a:r>
              <a:rPr lang="en-US" dirty="0"/>
              <a:t>title styl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127512C2-B557-56E8-E630-799A43D4E4D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6766" y="2242966"/>
            <a:ext cx="4427833" cy="5834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 i="0" cap="all" baseline="0">
                <a:solidFill>
                  <a:schemeClr val="tx1"/>
                </a:solidFill>
                <a:latin typeface="Lato" panose="020F0502020204030203" pitchFamily="34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2D0CD0BE-B4D4-419E-70D3-54CCB7FAF67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6766" y="3340099"/>
            <a:ext cx="4427832" cy="252631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indent="0">
              <a:buNone/>
              <a:defRPr lang="en-US" sz="1800" b="0" i="0" dirty="0"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GB"/>
              <a:t>Click to edit Master text styles</a:t>
            </a:r>
          </a:p>
        </p:txBody>
      </p:sp>
      <p:sp>
        <p:nvSpPr>
          <p:cNvPr id="34" name="Chart Placeholder 33">
            <a:extLst>
              <a:ext uri="{FF2B5EF4-FFF2-40B4-BE49-F238E27FC236}">
                <a16:creationId xmlns:a16="http://schemas.microsoft.com/office/drawing/2014/main" id="{FDE6CDA2-D77D-FE84-C82C-7CC25E1A5346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6464300" y="1162050"/>
            <a:ext cx="5309981" cy="45339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0" i="0">
                <a:solidFill>
                  <a:srgbClr val="000000"/>
                </a:solidFill>
                <a:latin typeface="Lato" panose="020F0502020204030203" pitchFamily="34" charset="77"/>
              </a:defRPr>
            </a:lvl1pPr>
          </a:lstStyle>
          <a:p>
            <a:r>
              <a:rPr lang="en-GB"/>
              <a:t>Click icon to add chart</a:t>
            </a:r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7E3F757-B131-CCE3-0850-ECFAC5BCE780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1122821" y="6467484"/>
            <a:ext cx="799740" cy="17088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46471ED-C30E-811F-4D60-ACB2C8A0F0C7}"/>
              </a:ext>
            </a:extLst>
          </p:cNvPr>
          <p:cNvPicPr preferRelativeResize="0"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698501" y="3034266"/>
            <a:ext cx="4356098" cy="27432"/>
          </a:xfrm>
          <a:prstGeom prst="rect">
            <a:avLst/>
          </a:prstGeom>
        </p:spPr>
      </p:pic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5DBFCD85-65EB-9E55-D07A-F7C0E01F2C41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6382653" y="6125964"/>
            <a:ext cx="3739357" cy="230037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indent="0">
              <a:buNone/>
              <a:defRPr lang="en-US" sz="1300" b="0" i="0" dirty="0"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23740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32A540F-5CFC-3634-1CD0-1AC14F1F72B8}"/>
              </a:ext>
            </a:extLst>
          </p:cNvPr>
          <p:cNvSpPr/>
          <p:nvPr userDrawn="1"/>
        </p:nvSpPr>
        <p:spPr>
          <a:xfrm>
            <a:off x="0" y="0"/>
            <a:ext cx="8991601" cy="6169038"/>
          </a:xfrm>
          <a:custGeom>
            <a:avLst/>
            <a:gdLst>
              <a:gd name="connsiteX0" fmla="*/ 0 w 8991601"/>
              <a:gd name="connsiteY0" fmla="*/ 0 h 6169038"/>
              <a:gd name="connsiteX1" fmla="*/ 8096302 w 8991601"/>
              <a:gd name="connsiteY1" fmla="*/ 0 h 6169038"/>
              <a:gd name="connsiteX2" fmla="*/ 8801203 w 8991601"/>
              <a:gd name="connsiteY2" fmla="*/ 704901 h 6169038"/>
              <a:gd name="connsiteX3" fmla="*/ 8801203 w 8991601"/>
              <a:gd name="connsiteY3" fmla="*/ 1624335 h 6169038"/>
              <a:gd name="connsiteX4" fmla="*/ 4446895 w 8991601"/>
              <a:gd name="connsiteY4" fmla="*/ 5978640 h 6169038"/>
              <a:gd name="connsiteX5" fmla="*/ 3527461 w 8991601"/>
              <a:gd name="connsiteY5" fmla="*/ 5978640 h 6169038"/>
              <a:gd name="connsiteX6" fmla="*/ 0 w 8991601"/>
              <a:gd name="connsiteY6" fmla="*/ 2451181 h 6169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91601" h="6169038">
                <a:moveTo>
                  <a:pt x="0" y="0"/>
                </a:moveTo>
                <a:lnTo>
                  <a:pt x="8096302" y="0"/>
                </a:lnTo>
                <a:lnTo>
                  <a:pt x="8801203" y="704901"/>
                </a:lnTo>
                <a:cubicBezTo>
                  <a:pt x="9055067" y="958765"/>
                  <a:pt x="9055067" y="1370469"/>
                  <a:pt x="8801203" y="1624335"/>
                </a:cubicBezTo>
                <a:lnTo>
                  <a:pt x="4446895" y="5978640"/>
                </a:lnTo>
                <a:cubicBezTo>
                  <a:pt x="4193030" y="6232504"/>
                  <a:pt x="3781325" y="6232504"/>
                  <a:pt x="3527461" y="5978640"/>
                </a:cubicBezTo>
                <a:lnTo>
                  <a:pt x="0" y="2451181"/>
                </a:lnTo>
                <a:close/>
              </a:path>
            </a:pathLst>
          </a:custGeom>
          <a:gradFill>
            <a:gsLst>
              <a:gs pos="0">
                <a:srgbClr val="D9E1E2"/>
              </a:gs>
              <a:gs pos="9000">
                <a:srgbClr val="D9E1E2">
                  <a:alpha val="87843"/>
                </a:srgbClr>
              </a:gs>
              <a:gs pos="34000">
                <a:srgbClr val="D9E1E2">
                  <a:alpha val="56863"/>
                </a:srgbClr>
              </a:gs>
              <a:gs pos="56000">
                <a:srgbClr val="D9E1E2">
                  <a:alpha val="31765"/>
                </a:srgbClr>
              </a:gs>
              <a:gs pos="76000">
                <a:srgbClr val="D9E1E2">
                  <a:alpha val="14902"/>
                </a:srgbClr>
              </a:gs>
              <a:gs pos="91000">
                <a:srgbClr val="D9E1E2">
                  <a:alpha val="3922"/>
                </a:srgbClr>
              </a:gs>
              <a:gs pos="100000">
                <a:srgbClr val="D9E1E2">
                  <a:alpha val="0"/>
                </a:srgbClr>
              </a:gs>
            </a:gsLst>
            <a:lin ang="5400000" scaled="0"/>
          </a:gradFill>
          <a:ln w="548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/>
            <a:endParaRPr lang="en-US" b="0" i="0" noProof="0" dirty="0">
              <a:latin typeface="Lato" panose="020F0502020204030203" pitchFamily="34" charset="77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35BFF19E-DF00-0331-3707-930819DDC21D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1122821" y="6245061"/>
            <a:ext cx="799740" cy="170885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89240545-DC37-463A-5650-455DEC798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978" y="348251"/>
            <a:ext cx="7816522" cy="630213"/>
          </a:xfrm>
          <a:prstGeom prst="rect">
            <a:avLst/>
          </a:prstGeom>
        </p:spPr>
        <p:txBody>
          <a:bodyPr/>
          <a:lstStyle>
            <a:lvl1pPr>
              <a:defRPr sz="3400" b="1" i="0" cap="all" baseline="0">
                <a:solidFill>
                  <a:schemeClr val="tx1"/>
                </a:solidFill>
                <a:latin typeface="Lato" panose="020F0502020204030203" pitchFamily="34" charset="77"/>
              </a:defRPr>
            </a:lvl1pPr>
          </a:lstStyle>
          <a:p>
            <a:r>
              <a:rPr lang="en-US" dirty="0"/>
              <a:t>title sty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184A066F-21C3-CC2E-634E-1F9DE98F52E1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501983" y="1000500"/>
            <a:ext cx="78165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kumimoji="0" lang="en-US" sz="2000" b="0" i="0" u="none" strike="noStrike" cap="all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Lato" panose="020F0502020204030203" pitchFamily="34" charset="77"/>
                <a:ea typeface="Roboto Slab" pitchFamily="2" charset="0"/>
                <a:cs typeface="Arial" panose="020B0604020202020204" pitchFamily="34" charset="0"/>
              </a:defRPr>
            </a:lvl1pPr>
          </a:lstStyle>
          <a:p>
            <a:pPr marL="228600" marR="0" lvl="0" indent="-22860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subtitle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27574343-DB0F-6155-112C-37B1D74F1747}"/>
              </a:ext>
            </a:extLst>
          </p:cNvPr>
          <p:cNvSpPr/>
          <p:nvPr userDrawn="1"/>
        </p:nvSpPr>
        <p:spPr>
          <a:xfrm>
            <a:off x="6314391" y="1606376"/>
            <a:ext cx="5337858" cy="4521201"/>
          </a:xfrm>
          <a:prstGeom prst="roundRect">
            <a:avLst>
              <a:gd name="adj" fmla="val 2208"/>
            </a:avLst>
          </a:prstGeom>
          <a:solidFill>
            <a:schemeClr val="bg1"/>
          </a:solidFill>
          <a:ln>
            <a:noFill/>
          </a:ln>
          <a:effectLst>
            <a:outerShdw blurRad="330200" dist="152400" dir="8100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b="0" i="0" noProof="0" dirty="0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3030EA19-8321-5357-3F9E-799868938533}"/>
              </a:ext>
            </a:extLst>
          </p:cNvPr>
          <p:cNvSpPr/>
          <p:nvPr userDrawn="1"/>
        </p:nvSpPr>
        <p:spPr>
          <a:xfrm>
            <a:off x="539751" y="1606376"/>
            <a:ext cx="5337858" cy="4521201"/>
          </a:xfrm>
          <a:prstGeom prst="roundRect">
            <a:avLst>
              <a:gd name="adj" fmla="val 2208"/>
            </a:avLst>
          </a:prstGeom>
          <a:solidFill>
            <a:schemeClr val="bg1"/>
          </a:solidFill>
          <a:ln>
            <a:noFill/>
          </a:ln>
          <a:effectLst>
            <a:outerShdw blurRad="330200" dist="152400" dir="8100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b="0" i="0" noProof="0" dirty="0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sp>
        <p:nvSpPr>
          <p:cNvPr id="11" name="Chart Placeholder 13">
            <a:extLst>
              <a:ext uri="{FF2B5EF4-FFF2-40B4-BE49-F238E27FC236}">
                <a16:creationId xmlns:a16="http://schemas.microsoft.com/office/drawing/2014/main" id="{DDD765BC-920E-46B8-A336-904EBB04E5B5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713130" y="1834976"/>
            <a:ext cx="4991100" cy="4064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0" i="0">
                <a:latin typeface="Lato" panose="020F0502020204030203" pitchFamily="34" charset="77"/>
              </a:defRPr>
            </a:lvl1pPr>
          </a:lstStyle>
          <a:p>
            <a:r>
              <a:rPr lang="en-GB"/>
              <a:t>Click icon to add chart</a:t>
            </a:r>
            <a:endParaRPr lang="en-US" dirty="0"/>
          </a:p>
        </p:txBody>
      </p:sp>
      <p:sp>
        <p:nvSpPr>
          <p:cNvPr id="13" name="Chart Placeholder 13">
            <a:extLst>
              <a:ext uri="{FF2B5EF4-FFF2-40B4-BE49-F238E27FC236}">
                <a16:creationId xmlns:a16="http://schemas.microsoft.com/office/drawing/2014/main" id="{2CA3FD43-DF19-54DD-7335-F42B8D2FA220}"/>
              </a:ext>
            </a:extLst>
          </p:cNvPr>
          <p:cNvSpPr>
            <a:spLocks noGrp="1"/>
          </p:cNvSpPr>
          <p:nvPr>
            <p:ph type="chart" sz="quarter" idx="11"/>
          </p:nvPr>
        </p:nvSpPr>
        <p:spPr>
          <a:xfrm>
            <a:off x="6487770" y="1834976"/>
            <a:ext cx="4991100" cy="4064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0" i="0">
                <a:latin typeface="Lato" panose="020F0502020204030203" pitchFamily="34" charset="77"/>
              </a:defRPr>
            </a:lvl1pPr>
          </a:lstStyle>
          <a:p>
            <a:r>
              <a:rPr lang="en-GB"/>
              <a:t>Click icon to add chart</a:t>
            </a:r>
            <a:endParaRPr lang="en-US" dirty="0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705E3E74-6C52-2C98-81AE-75C14458D54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0864" y="6287326"/>
            <a:ext cx="2840003" cy="230037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indent="0">
              <a:buNone/>
              <a:defRPr lang="en-US" sz="1300" b="0" i="0" dirty="0"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GB"/>
              <a:t>Click to edit Master text styles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EDA96977-C073-DAF5-1BB4-58A4429851F7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6399413" y="6287326"/>
            <a:ext cx="2840003" cy="230037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indent="0">
              <a:buNone/>
              <a:defRPr lang="en-US" sz="1300" b="0" i="0" dirty="0"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68276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E6B5A60-583D-D219-320C-61384AB7EA5F}"/>
              </a:ext>
            </a:extLst>
          </p:cNvPr>
          <p:cNvSpPr/>
          <p:nvPr userDrawn="1"/>
        </p:nvSpPr>
        <p:spPr>
          <a:xfrm>
            <a:off x="0" y="0"/>
            <a:ext cx="12192000" cy="1364204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Lato" panose="020F0502020204030203" pitchFamily="34" charset="77"/>
            </a:endParaRPr>
          </a:p>
        </p:txBody>
      </p:sp>
      <p:sp>
        <p:nvSpPr>
          <p:cNvPr id="8" name="Graphic 8">
            <a:extLst>
              <a:ext uri="{FF2B5EF4-FFF2-40B4-BE49-F238E27FC236}">
                <a16:creationId xmlns:a16="http://schemas.microsoft.com/office/drawing/2014/main" id="{06862B33-06B7-6B2F-9821-400620F3B27D}"/>
              </a:ext>
            </a:extLst>
          </p:cNvPr>
          <p:cNvSpPr/>
          <p:nvPr userDrawn="1"/>
        </p:nvSpPr>
        <p:spPr>
          <a:xfrm>
            <a:off x="3234463" y="-1610901"/>
            <a:ext cx="4833772" cy="4833772"/>
          </a:xfrm>
          <a:custGeom>
            <a:avLst/>
            <a:gdLst>
              <a:gd name="connsiteX0" fmla="*/ 3985217 w 4062497"/>
              <a:gd name="connsiteY0" fmla="*/ 1844654 h 4062497"/>
              <a:gd name="connsiteX1" fmla="*/ 2217844 w 4062497"/>
              <a:gd name="connsiteY1" fmla="*/ 77281 h 4062497"/>
              <a:gd name="connsiteX2" fmla="*/ 1844654 w 4062497"/>
              <a:gd name="connsiteY2" fmla="*/ 77281 h 4062497"/>
              <a:gd name="connsiteX3" fmla="*/ 77281 w 4062497"/>
              <a:gd name="connsiteY3" fmla="*/ 1844654 h 4062497"/>
              <a:gd name="connsiteX4" fmla="*/ 77281 w 4062497"/>
              <a:gd name="connsiteY4" fmla="*/ 2217844 h 4062497"/>
              <a:gd name="connsiteX5" fmla="*/ 1844654 w 4062497"/>
              <a:gd name="connsiteY5" fmla="*/ 3985217 h 4062497"/>
              <a:gd name="connsiteX6" fmla="*/ 2217844 w 4062497"/>
              <a:gd name="connsiteY6" fmla="*/ 3985217 h 4062497"/>
              <a:gd name="connsiteX7" fmla="*/ 3985217 w 4062497"/>
              <a:gd name="connsiteY7" fmla="*/ 2217844 h 4062497"/>
              <a:gd name="connsiteX8" fmla="*/ 3985217 w 4062497"/>
              <a:gd name="connsiteY8" fmla="*/ 1844654 h 4062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2497" h="4062497">
                <a:moveTo>
                  <a:pt x="3985217" y="1844654"/>
                </a:moveTo>
                <a:lnTo>
                  <a:pt x="2217844" y="77281"/>
                </a:lnTo>
                <a:cubicBezTo>
                  <a:pt x="2114803" y="-25760"/>
                  <a:pt x="1947695" y="-25760"/>
                  <a:pt x="1844654" y="77281"/>
                </a:cubicBezTo>
                <a:lnTo>
                  <a:pt x="77281" y="1844654"/>
                </a:lnTo>
                <a:cubicBezTo>
                  <a:pt x="-25760" y="1947695"/>
                  <a:pt x="-25760" y="2114803"/>
                  <a:pt x="77281" y="2217844"/>
                </a:cubicBezTo>
                <a:lnTo>
                  <a:pt x="1844654" y="3985217"/>
                </a:lnTo>
                <a:cubicBezTo>
                  <a:pt x="1947695" y="4088258"/>
                  <a:pt x="2114803" y="4088258"/>
                  <a:pt x="2217844" y="3985217"/>
                </a:cubicBezTo>
                <a:lnTo>
                  <a:pt x="3985217" y="2217844"/>
                </a:lnTo>
                <a:cubicBezTo>
                  <a:pt x="4088258" y="2114803"/>
                  <a:pt x="4088258" y="1947695"/>
                  <a:pt x="3985217" y="1844654"/>
                </a:cubicBezTo>
                <a:close/>
              </a:path>
            </a:pathLst>
          </a:custGeom>
          <a:gradFill>
            <a:gsLst>
              <a:gs pos="12000">
                <a:schemeClr val="bg1">
                  <a:alpha val="80000"/>
                </a:schemeClr>
              </a:gs>
              <a:gs pos="74000">
                <a:schemeClr val="bg1">
                  <a:alpha val="0"/>
                </a:schemeClr>
              </a:gs>
            </a:gsLst>
            <a:lin ang="8100000" scaled="1"/>
          </a:gradFill>
          <a:ln w="685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5F29E08A-E199-600C-F889-560F48F99936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1122821" y="6467484"/>
            <a:ext cx="799740" cy="170885"/>
          </a:xfrm>
          <a:prstGeom prst="rect">
            <a:avLst/>
          </a:prstGeom>
        </p:spPr>
      </p:pic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FC7A81F3-0889-B2AB-93B8-2F2E49B29A7B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501981" y="1638131"/>
            <a:ext cx="11188039" cy="473337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 b="0" i="0">
                <a:latin typeface="Lato" panose="020F0502020204030203" pitchFamily="34" charset="77"/>
              </a:defRPr>
            </a:lvl1pPr>
          </a:lstStyle>
          <a:p>
            <a:r>
              <a:rPr lang="en-GB"/>
              <a:t>Click icon to add tabl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5390277-5BEC-C3AA-2E1E-E0BF4C5ED8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978" y="297451"/>
            <a:ext cx="11118522" cy="630213"/>
          </a:xfrm>
          <a:prstGeom prst="rect">
            <a:avLst/>
          </a:prstGeom>
        </p:spPr>
        <p:txBody>
          <a:bodyPr/>
          <a:lstStyle>
            <a:lvl1pPr>
              <a:defRPr sz="3400" b="1" i="0" cap="all" baseline="0">
                <a:latin typeface="Lato" panose="020F0502020204030203" pitchFamily="34" charset="77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5FE8B5-2E05-549D-895E-1CC9CE4CC021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501983" y="898900"/>
            <a:ext cx="111185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kumimoji="0" lang="en-US" sz="2000" b="0" i="0" u="none" strike="noStrike" cap="all" spc="0" normalizeH="0" baseline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Lato" panose="020F0502020204030203" pitchFamily="34" charset="77"/>
                <a:ea typeface="Roboto Slab" pitchFamily="2" charset="0"/>
                <a:cs typeface="Arial" panose="020B0604020202020204" pitchFamily="34" charset="0"/>
              </a:defRPr>
            </a:lvl1pPr>
          </a:lstStyle>
          <a:p>
            <a:pPr marL="228600" marR="0" lvl="0" indent="-22860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4052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E6B5A60-583D-D219-320C-61384AB7EA5F}"/>
              </a:ext>
            </a:extLst>
          </p:cNvPr>
          <p:cNvSpPr/>
          <p:nvPr userDrawn="1"/>
        </p:nvSpPr>
        <p:spPr>
          <a:xfrm>
            <a:off x="0" y="0"/>
            <a:ext cx="12192000" cy="1390070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Lato" panose="020F0502020204030203" pitchFamily="34" charset="77"/>
            </a:endParaRPr>
          </a:p>
        </p:txBody>
      </p:sp>
      <p:sp>
        <p:nvSpPr>
          <p:cNvPr id="8" name="Graphic 8">
            <a:extLst>
              <a:ext uri="{FF2B5EF4-FFF2-40B4-BE49-F238E27FC236}">
                <a16:creationId xmlns:a16="http://schemas.microsoft.com/office/drawing/2014/main" id="{06862B33-06B7-6B2F-9821-400620F3B27D}"/>
              </a:ext>
            </a:extLst>
          </p:cNvPr>
          <p:cNvSpPr/>
          <p:nvPr userDrawn="1"/>
        </p:nvSpPr>
        <p:spPr>
          <a:xfrm>
            <a:off x="3234463" y="-1610901"/>
            <a:ext cx="4833772" cy="4833772"/>
          </a:xfrm>
          <a:custGeom>
            <a:avLst/>
            <a:gdLst>
              <a:gd name="connsiteX0" fmla="*/ 3985217 w 4062497"/>
              <a:gd name="connsiteY0" fmla="*/ 1844654 h 4062497"/>
              <a:gd name="connsiteX1" fmla="*/ 2217844 w 4062497"/>
              <a:gd name="connsiteY1" fmla="*/ 77281 h 4062497"/>
              <a:gd name="connsiteX2" fmla="*/ 1844654 w 4062497"/>
              <a:gd name="connsiteY2" fmla="*/ 77281 h 4062497"/>
              <a:gd name="connsiteX3" fmla="*/ 77281 w 4062497"/>
              <a:gd name="connsiteY3" fmla="*/ 1844654 h 4062497"/>
              <a:gd name="connsiteX4" fmla="*/ 77281 w 4062497"/>
              <a:gd name="connsiteY4" fmla="*/ 2217844 h 4062497"/>
              <a:gd name="connsiteX5" fmla="*/ 1844654 w 4062497"/>
              <a:gd name="connsiteY5" fmla="*/ 3985217 h 4062497"/>
              <a:gd name="connsiteX6" fmla="*/ 2217844 w 4062497"/>
              <a:gd name="connsiteY6" fmla="*/ 3985217 h 4062497"/>
              <a:gd name="connsiteX7" fmla="*/ 3985217 w 4062497"/>
              <a:gd name="connsiteY7" fmla="*/ 2217844 h 4062497"/>
              <a:gd name="connsiteX8" fmla="*/ 3985217 w 4062497"/>
              <a:gd name="connsiteY8" fmla="*/ 1844654 h 4062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2497" h="4062497">
                <a:moveTo>
                  <a:pt x="3985217" y="1844654"/>
                </a:moveTo>
                <a:lnTo>
                  <a:pt x="2217844" y="77281"/>
                </a:lnTo>
                <a:cubicBezTo>
                  <a:pt x="2114803" y="-25760"/>
                  <a:pt x="1947695" y="-25760"/>
                  <a:pt x="1844654" y="77281"/>
                </a:cubicBezTo>
                <a:lnTo>
                  <a:pt x="77281" y="1844654"/>
                </a:lnTo>
                <a:cubicBezTo>
                  <a:pt x="-25760" y="1947695"/>
                  <a:pt x="-25760" y="2114803"/>
                  <a:pt x="77281" y="2217844"/>
                </a:cubicBezTo>
                <a:lnTo>
                  <a:pt x="1844654" y="3985217"/>
                </a:lnTo>
                <a:cubicBezTo>
                  <a:pt x="1947695" y="4088258"/>
                  <a:pt x="2114803" y="4088258"/>
                  <a:pt x="2217844" y="3985217"/>
                </a:cubicBezTo>
                <a:lnTo>
                  <a:pt x="3985217" y="2217844"/>
                </a:lnTo>
                <a:cubicBezTo>
                  <a:pt x="4088258" y="2114803"/>
                  <a:pt x="4088258" y="1947695"/>
                  <a:pt x="3985217" y="1844654"/>
                </a:cubicBezTo>
                <a:close/>
              </a:path>
            </a:pathLst>
          </a:custGeom>
          <a:gradFill>
            <a:gsLst>
              <a:gs pos="12000">
                <a:schemeClr val="bg1">
                  <a:alpha val="80000"/>
                </a:schemeClr>
              </a:gs>
              <a:gs pos="74000">
                <a:schemeClr val="bg1">
                  <a:alpha val="0"/>
                </a:schemeClr>
              </a:gs>
            </a:gsLst>
            <a:lin ang="8100000" scaled="1"/>
          </a:gradFill>
          <a:ln w="685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5390277-5BEC-C3AA-2E1E-E0BF4C5ED8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978" y="297451"/>
            <a:ext cx="11118522" cy="630213"/>
          </a:xfrm>
          <a:prstGeom prst="rect">
            <a:avLst/>
          </a:prstGeom>
        </p:spPr>
        <p:txBody>
          <a:bodyPr/>
          <a:lstStyle>
            <a:lvl1pPr>
              <a:defRPr sz="3400" b="1" i="0" cap="all" baseline="0">
                <a:latin typeface="Lato" panose="020F0502020204030203" pitchFamily="34" charset="77"/>
              </a:defRPr>
            </a:lvl1pPr>
          </a:lstStyle>
          <a:p>
            <a:r>
              <a:rPr lang="en-US" dirty="0"/>
              <a:t>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5FE8B5-2E05-549D-895E-1CC9CE4CC021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501983" y="898900"/>
            <a:ext cx="111185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kumimoji="0" lang="en-US" sz="2000" b="0" i="0" u="none" strike="noStrike" cap="all" spc="0" normalizeH="0" baseline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Lato" panose="020F0502020204030203" pitchFamily="34" charset="77"/>
                <a:ea typeface="Roboto Slab" pitchFamily="2" charset="0"/>
                <a:cs typeface="Arial" panose="020B0604020202020204" pitchFamily="34" charset="0"/>
              </a:defRPr>
            </a:lvl1pPr>
          </a:lstStyle>
          <a:p>
            <a:pPr marL="228600" marR="0" lvl="0" indent="-22860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subtitle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83BB45DE-0EE7-B48B-F73B-239F0722443E}"/>
              </a:ext>
            </a:extLst>
          </p:cNvPr>
          <p:cNvSpPr/>
          <p:nvPr/>
        </p:nvSpPr>
        <p:spPr>
          <a:xfrm rot="2700000">
            <a:off x="1388650" y="2294613"/>
            <a:ext cx="304884" cy="304884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959EF125-FABF-7486-EAE4-9D9ECEA65A29}"/>
              </a:ext>
            </a:extLst>
          </p:cNvPr>
          <p:cNvSpPr/>
          <p:nvPr/>
        </p:nvSpPr>
        <p:spPr>
          <a:xfrm>
            <a:off x="758813" y="1849621"/>
            <a:ext cx="1564558" cy="630127"/>
          </a:xfrm>
          <a:prstGeom prst="roundRect">
            <a:avLst>
              <a:gd name="adj" fmla="val 18228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0" i="0" dirty="0">
              <a:solidFill>
                <a:schemeClr val="bg1"/>
              </a:solidFill>
              <a:latin typeface="Lato" panose="020F0502020204030203" pitchFamily="34" charset="77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27AF1EFF-56CF-EB64-EDDD-8C4B9A6AF9EB}"/>
              </a:ext>
            </a:extLst>
          </p:cNvPr>
          <p:cNvSpPr/>
          <p:nvPr/>
        </p:nvSpPr>
        <p:spPr>
          <a:xfrm rot="2700000">
            <a:off x="3686687" y="2294613"/>
            <a:ext cx="304884" cy="304884"/>
          </a:xfrm>
          <a:prstGeom prst="roundRect">
            <a:avLst/>
          </a:prstGeom>
          <a:solidFill>
            <a:srgbClr val="D9E1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solidFill>
                <a:schemeClr val="tx1"/>
              </a:solidFill>
              <a:latin typeface="Lato" panose="020F0502020204030203" pitchFamily="34" charset="77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57BE9A3D-7456-BFF6-490C-4A3A02DD667B}"/>
              </a:ext>
            </a:extLst>
          </p:cNvPr>
          <p:cNvSpPr/>
          <p:nvPr/>
        </p:nvSpPr>
        <p:spPr>
          <a:xfrm>
            <a:off x="3056850" y="1849621"/>
            <a:ext cx="1564558" cy="630127"/>
          </a:xfrm>
          <a:prstGeom prst="roundRect">
            <a:avLst>
              <a:gd name="adj" fmla="val 18228"/>
            </a:avLst>
          </a:prstGeom>
          <a:solidFill>
            <a:srgbClr val="D9E1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0" i="0" dirty="0">
              <a:solidFill>
                <a:schemeClr val="tx1"/>
              </a:solidFill>
              <a:latin typeface="Lato" panose="020F0502020204030203" pitchFamily="34" charset="77"/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2D90CC66-6B0E-86CA-A3A6-E0FEA23D692A}"/>
              </a:ext>
            </a:extLst>
          </p:cNvPr>
          <p:cNvSpPr/>
          <p:nvPr/>
        </p:nvSpPr>
        <p:spPr>
          <a:xfrm rot="2700000">
            <a:off x="5984724" y="2294613"/>
            <a:ext cx="304884" cy="304884"/>
          </a:xfrm>
          <a:prstGeom prst="roundRect">
            <a:avLst/>
          </a:prstGeom>
          <a:solidFill>
            <a:srgbClr val="00BD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solidFill>
                <a:schemeClr val="bg1"/>
              </a:solidFill>
              <a:latin typeface="Lato" panose="020F0502020204030203" pitchFamily="34" charset="77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FE42F555-15CD-C1D4-7F6B-869F16FD68EA}"/>
              </a:ext>
            </a:extLst>
          </p:cNvPr>
          <p:cNvSpPr/>
          <p:nvPr/>
        </p:nvSpPr>
        <p:spPr>
          <a:xfrm>
            <a:off x="5354887" y="1849621"/>
            <a:ext cx="1564558" cy="630127"/>
          </a:xfrm>
          <a:prstGeom prst="roundRect">
            <a:avLst>
              <a:gd name="adj" fmla="val 18228"/>
            </a:avLst>
          </a:prstGeom>
          <a:solidFill>
            <a:srgbClr val="00BD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0" i="0" dirty="0">
              <a:solidFill>
                <a:schemeClr val="bg1"/>
              </a:solidFill>
              <a:latin typeface="Lato" panose="020F0502020204030203" pitchFamily="34" charset="77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101CC67-0637-5EF1-C464-C4164E35D21F}"/>
              </a:ext>
            </a:extLst>
          </p:cNvPr>
          <p:cNvSpPr/>
          <p:nvPr/>
        </p:nvSpPr>
        <p:spPr>
          <a:xfrm rot="2700000">
            <a:off x="8282761" y="2294613"/>
            <a:ext cx="304884" cy="304884"/>
          </a:xfrm>
          <a:prstGeom prst="roundRect">
            <a:avLst/>
          </a:prstGeom>
          <a:solidFill>
            <a:srgbClr val="00E2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solidFill>
                <a:schemeClr val="tx1"/>
              </a:solidFill>
              <a:latin typeface="Lato" panose="020F0502020204030203" pitchFamily="34" charset="77"/>
            </a:endParaRP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919F3CD9-6925-0B3B-5B6F-B600FBC1B980}"/>
              </a:ext>
            </a:extLst>
          </p:cNvPr>
          <p:cNvSpPr/>
          <p:nvPr/>
        </p:nvSpPr>
        <p:spPr>
          <a:xfrm>
            <a:off x="7652924" y="1849621"/>
            <a:ext cx="1564558" cy="630127"/>
          </a:xfrm>
          <a:prstGeom prst="roundRect">
            <a:avLst>
              <a:gd name="adj" fmla="val 18228"/>
            </a:avLst>
          </a:prstGeom>
          <a:solidFill>
            <a:srgbClr val="00E2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0" i="0" dirty="0">
              <a:solidFill>
                <a:schemeClr val="tx1"/>
              </a:solidFill>
              <a:latin typeface="Lato" panose="020F0502020204030203" pitchFamily="34" charset="77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DA03626B-9E12-A3CA-0644-A0399E193911}"/>
              </a:ext>
            </a:extLst>
          </p:cNvPr>
          <p:cNvSpPr/>
          <p:nvPr/>
        </p:nvSpPr>
        <p:spPr>
          <a:xfrm rot="2700000">
            <a:off x="10580797" y="2294613"/>
            <a:ext cx="304884" cy="304884"/>
          </a:xfrm>
          <a:prstGeom prst="roundRect">
            <a:avLst/>
          </a:prstGeom>
          <a:solidFill>
            <a:srgbClr val="7D97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solidFill>
                <a:schemeClr val="bg1"/>
              </a:solidFill>
              <a:latin typeface="Lato" panose="020F0502020204030203" pitchFamily="34" charset="77"/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D2F138F2-4B12-B09E-8E63-04E426063BAE}"/>
              </a:ext>
            </a:extLst>
          </p:cNvPr>
          <p:cNvSpPr/>
          <p:nvPr/>
        </p:nvSpPr>
        <p:spPr>
          <a:xfrm>
            <a:off x="9950960" y="1849621"/>
            <a:ext cx="1564558" cy="630127"/>
          </a:xfrm>
          <a:prstGeom prst="roundRect">
            <a:avLst>
              <a:gd name="adj" fmla="val 18228"/>
            </a:avLst>
          </a:prstGeom>
          <a:solidFill>
            <a:srgbClr val="7D97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0" i="0" dirty="0">
              <a:solidFill>
                <a:schemeClr val="bg1"/>
              </a:solidFill>
              <a:latin typeface="Lato" panose="020F0502020204030203" pitchFamily="34" charset="77"/>
            </a:endParaRPr>
          </a:p>
        </p:txBody>
      </p:sp>
      <p:sp>
        <p:nvSpPr>
          <p:cNvPr id="54" name="Text Placeholder 3">
            <a:extLst>
              <a:ext uri="{FF2B5EF4-FFF2-40B4-BE49-F238E27FC236}">
                <a16:creationId xmlns:a16="http://schemas.microsoft.com/office/drawing/2014/main" id="{0168E3CC-CA88-266A-8DF2-58E1C73A12E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7819" y="3028849"/>
            <a:ext cx="1806547" cy="270480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indent="0">
              <a:buNone/>
              <a:defRPr lang="en-US" sz="1600" b="0" i="0" dirty="0"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GB"/>
              <a:t>Click to edit Master text styles</a:t>
            </a:r>
          </a:p>
        </p:txBody>
      </p:sp>
      <p:sp>
        <p:nvSpPr>
          <p:cNvPr id="55" name="Text Placeholder 3">
            <a:extLst>
              <a:ext uri="{FF2B5EF4-FFF2-40B4-BE49-F238E27FC236}">
                <a16:creationId xmlns:a16="http://schemas.microsoft.com/office/drawing/2014/main" id="{94FB15D2-7530-9D6B-13BF-BCE3E385261E}"/>
              </a:ext>
            </a:extLst>
          </p:cNvPr>
          <p:cNvSpPr>
            <a:spLocks noGrp="1"/>
          </p:cNvSpPr>
          <p:nvPr>
            <p:ph type="body" sz="half" idx="12"/>
          </p:nvPr>
        </p:nvSpPr>
        <p:spPr>
          <a:xfrm>
            <a:off x="2935856" y="3028849"/>
            <a:ext cx="1806547" cy="270480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indent="0">
              <a:buNone/>
              <a:defRPr lang="en-US" sz="1600" b="0" i="0" dirty="0"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GB"/>
              <a:t>Click to edit Master text styles</a:t>
            </a:r>
          </a:p>
        </p:txBody>
      </p:sp>
      <p:sp>
        <p:nvSpPr>
          <p:cNvPr id="56" name="Text Placeholder 3">
            <a:extLst>
              <a:ext uri="{FF2B5EF4-FFF2-40B4-BE49-F238E27FC236}">
                <a16:creationId xmlns:a16="http://schemas.microsoft.com/office/drawing/2014/main" id="{65B06F02-A0D4-51EF-C04D-77AE88C723C3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5233893" y="3028849"/>
            <a:ext cx="1806547" cy="270480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indent="0">
              <a:buNone/>
              <a:defRPr lang="en-US" sz="1600" b="0" i="0" dirty="0"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GB"/>
              <a:t>Click to edit Master text styles</a:t>
            </a:r>
          </a:p>
        </p:txBody>
      </p:sp>
      <p:sp>
        <p:nvSpPr>
          <p:cNvPr id="57" name="Text Placeholder 3">
            <a:extLst>
              <a:ext uri="{FF2B5EF4-FFF2-40B4-BE49-F238E27FC236}">
                <a16:creationId xmlns:a16="http://schemas.microsoft.com/office/drawing/2014/main" id="{F77C107E-3C3C-CE7D-282A-7ED13D6901A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531930" y="3028849"/>
            <a:ext cx="1806547" cy="270480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indent="0">
              <a:buNone/>
              <a:defRPr lang="en-US" sz="1600" b="0" i="0" dirty="0"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GB"/>
              <a:t>Click to edit Master text styles</a:t>
            </a:r>
          </a:p>
        </p:txBody>
      </p:sp>
      <p:sp>
        <p:nvSpPr>
          <p:cNvPr id="58" name="Text Placeholder 3">
            <a:extLst>
              <a:ext uri="{FF2B5EF4-FFF2-40B4-BE49-F238E27FC236}">
                <a16:creationId xmlns:a16="http://schemas.microsoft.com/office/drawing/2014/main" id="{53221023-388A-C190-3A68-46F97C9E429B}"/>
              </a:ext>
            </a:extLst>
          </p:cNvPr>
          <p:cNvSpPr>
            <a:spLocks noGrp="1"/>
          </p:cNvSpPr>
          <p:nvPr>
            <p:ph type="body" sz="half" idx="15"/>
          </p:nvPr>
        </p:nvSpPr>
        <p:spPr>
          <a:xfrm>
            <a:off x="9829966" y="3028849"/>
            <a:ext cx="1806547" cy="270480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indent="0">
              <a:buNone/>
              <a:defRPr lang="en-US" sz="1600" b="0" i="0" dirty="0"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GB"/>
              <a:t>Click to edit Master text styles</a:t>
            </a:r>
          </a:p>
        </p:txBody>
      </p:sp>
      <p:sp>
        <p:nvSpPr>
          <p:cNvPr id="62" name="Text Placeholder 3">
            <a:extLst>
              <a:ext uri="{FF2B5EF4-FFF2-40B4-BE49-F238E27FC236}">
                <a16:creationId xmlns:a16="http://schemas.microsoft.com/office/drawing/2014/main" id="{CDBAC31F-27D4-91E6-321F-ECA3A36DB07B}"/>
              </a:ext>
            </a:extLst>
          </p:cNvPr>
          <p:cNvSpPr>
            <a:spLocks noGrp="1"/>
          </p:cNvSpPr>
          <p:nvPr>
            <p:ph type="body" sz="half" idx="17"/>
          </p:nvPr>
        </p:nvSpPr>
        <p:spPr>
          <a:xfrm>
            <a:off x="794216" y="1869681"/>
            <a:ext cx="1468694" cy="61006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indent="0" algn="ctr">
              <a:buNone/>
              <a:defRPr lang="en-US" sz="1600" b="0" i="0" dirty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GB"/>
              <a:t>Click to edit Master text styles</a:t>
            </a:r>
          </a:p>
        </p:txBody>
      </p:sp>
      <p:sp>
        <p:nvSpPr>
          <p:cNvPr id="63" name="Text Placeholder 3">
            <a:extLst>
              <a:ext uri="{FF2B5EF4-FFF2-40B4-BE49-F238E27FC236}">
                <a16:creationId xmlns:a16="http://schemas.microsoft.com/office/drawing/2014/main" id="{C206456F-B2D1-D2CB-4584-A53EA675BA5F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3095385" y="1869681"/>
            <a:ext cx="1468694" cy="61006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indent="0" algn="ctr">
              <a:buNone/>
              <a:defRPr lang="en-US" sz="1600" b="0" i="0" dirty="0">
                <a:solidFill>
                  <a:schemeClr val="tx1"/>
                </a:solidFill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GB"/>
              <a:t>Click to edit Master text styles</a:t>
            </a:r>
          </a:p>
        </p:txBody>
      </p:sp>
      <p:sp>
        <p:nvSpPr>
          <p:cNvPr id="64" name="Text Placeholder 3">
            <a:extLst>
              <a:ext uri="{FF2B5EF4-FFF2-40B4-BE49-F238E27FC236}">
                <a16:creationId xmlns:a16="http://schemas.microsoft.com/office/drawing/2014/main" id="{7637B0F8-176E-894E-F2D2-0361B4D3D510}"/>
              </a:ext>
            </a:extLst>
          </p:cNvPr>
          <p:cNvSpPr>
            <a:spLocks noGrp="1"/>
          </p:cNvSpPr>
          <p:nvPr>
            <p:ph type="body" sz="half" idx="19"/>
          </p:nvPr>
        </p:nvSpPr>
        <p:spPr>
          <a:xfrm>
            <a:off x="5396554" y="1869681"/>
            <a:ext cx="1468694" cy="61006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indent="0" algn="ctr">
              <a:buNone/>
              <a:defRPr lang="en-US" sz="1600" b="0" i="0" dirty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GB"/>
              <a:t>Click to edit Master text styles</a:t>
            </a:r>
          </a:p>
        </p:txBody>
      </p:sp>
      <p:sp>
        <p:nvSpPr>
          <p:cNvPr id="65" name="Text Placeholder 3">
            <a:extLst>
              <a:ext uri="{FF2B5EF4-FFF2-40B4-BE49-F238E27FC236}">
                <a16:creationId xmlns:a16="http://schemas.microsoft.com/office/drawing/2014/main" id="{9F32EB4B-5826-975D-2B84-87CAF9F7BABC}"/>
              </a:ext>
            </a:extLst>
          </p:cNvPr>
          <p:cNvSpPr>
            <a:spLocks noGrp="1"/>
          </p:cNvSpPr>
          <p:nvPr>
            <p:ph type="body" sz="half" idx="20"/>
          </p:nvPr>
        </p:nvSpPr>
        <p:spPr>
          <a:xfrm>
            <a:off x="7697723" y="1869681"/>
            <a:ext cx="1468694" cy="61006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indent="0" algn="ctr">
              <a:buNone/>
              <a:defRPr lang="en-US" sz="1600" b="0" i="0" dirty="0">
                <a:solidFill>
                  <a:schemeClr val="tx1"/>
                </a:solidFill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GB"/>
              <a:t>Click to edit Master text styles</a:t>
            </a:r>
          </a:p>
        </p:txBody>
      </p:sp>
      <p:sp>
        <p:nvSpPr>
          <p:cNvPr id="66" name="Text Placeholder 3">
            <a:extLst>
              <a:ext uri="{FF2B5EF4-FFF2-40B4-BE49-F238E27FC236}">
                <a16:creationId xmlns:a16="http://schemas.microsoft.com/office/drawing/2014/main" id="{B23E086D-C138-AB24-83CF-475863044D62}"/>
              </a:ext>
            </a:extLst>
          </p:cNvPr>
          <p:cNvSpPr>
            <a:spLocks noGrp="1"/>
          </p:cNvSpPr>
          <p:nvPr>
            <p:ph type="body" sz="half" idx="21"/>
          </p:nvPr>
        </p:nvSpPr>
        <p:spPr>
          <a:xfrm>
            <a:off x="9998892" y="1869681"/>
            <a:ext cx="1468694" cy="61006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indent="0" algn="ctr">
              <a:buNone/>
              <a:defRPr lang="en-US" sz="1600" b="0" i="0" dirty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GB"/>
              <a:t>Click to edit Master text styles</a:t>
            </a:r>
          </a:p>
        </p:txBody>
      </p:sp>
      <p:sp>
        <p:nvSpPr>
          <p:cNvPr id="77" name="Google Shape;1454;p274">
            <a:extLst>
              <a:ext uri="{FF2B5EF4-FFF2-40B4-BE49-F238E27FC236}">
                <a16:creationId xmlns:a16="http://schemas.microsoft.com/office/drawing/2014/main" id="{69957B46-D43E-5861-DD30-BF5432A1C65F}"/>
              </a:ext>
            </a:extLst>
          </p:cNvPr>
          <p:cNvSpPr/>
          <p:nvPr userDrawn="1"/>
        </p:nvSpPr>
        <p:spPr>
          <a:xfrm>
            <a:off x="2836701" y="2851221"/>
            <a:ext cx="2017562" cy="2266477"/>
          </a:xfrm>
          <a:custGeom>
            <a:avLst/>
            <a:gdLst/>
            <a:ahLst/>
            <a:cxnLst/>
            <a:rect l="l" t="t" r="r" b="b"/>
            <a:pathLst>
              <a:path w="2017562" h="2266477" extrusionOk="0">
                <a:moveTo>
                  <a:pt x="0" y="2266477"/>
                </a:moveTo>
                <a:lnTo>
                  <a:pt x="0" y="143668"/>
                </a:lnTo>
                <a:cubicBezTo>
                  <a:pt x="0" y="64289"/>
                  <a:pt x="64289" y="0"/>
                  <a:pt x="143668" y="0"/>
                </a:cubicBezTo>
                <a:lnTo>
                  <a:pt x="1873895" y="0"/>
                </a:lnTo>
                <a:cubicBezTo>
                  <a:pt x="1953274" y="0"/>
                  <a:pt x="2017563" y="64289"/>
                  <a:pt x="2017563" y="143668"/>
                </a:cubicBezTo>
                <a:lnTo>
                  <a:pt x="2017563" y="1603044"/>
                </a:lnTo>
              </a:path>
            </a:pathLst>
          </a:custGeom>
          <a:noFill/>
          <a:ln w="19000" cap="flat" cmpd="sng">
            <a:solidFill>
              <a:srgbClr val="FDDD00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dirty="0">
              <a:solidFill>
                <a:schemeClr val="dk1"/>
              </a:solidFill>
              <a:latin typeface="Lato" panose="020F0502020204030203" pitchFamily="34" charset="77"/>
              <a:ea typeface="Lato Light"/>
              <a:cs typeface="Lato Light"/>
              <a:sym typeface="Lato Light"/>
            </a:endParaRPr>
          </a:p>
        </p:txBody>
      </p:sp>
      <p:sp>
        <p:nvSpPr>
          <p:cNvPr id="78" name="Google Shape;1455;p274">
            <a:extLst>
              <a:ext uri="{FF2B5EF4-FFF2-40B4-BE49-F238E27FC236}">
                <a16:creationId xmlns:a16="http://schemas.microsoft.com/office/drawing/2014/main" id="{39EE3633-C5C0-DBCE-7EB1-513ABC0FD947}"/>
              </a:ext>
            </a:extLst>
          </p:cNvPr>
          <p:cNvSpPr/>
          <p:nvPr userDrawn="1"/>
        </p:nvSpPr>
        <p:spPr>
          <a:xfrm>
            <a:off x="9720584" y="2851221"/>
            <a:ext cx="2017562" cy="3052402"/>
          </a:xfrm>
          <a:custGeom>
            <a:avLst/>
            <a:gdLst/>
            <a:ahLst/>
            <a:cxnLst/>
            <a:rect l="l" t="t" r="r" b="b"/>
            <a:pathLst>
              <a:path w="2017562" h="3052402" extrusionOk="0">
                <a:moveTo>
                  <a:pt x="0" y="276177"/>
                </a:moveTo>
                <a:lnTo>
                  <a:pt x="0" y="143668"/>
                </a:lnTo>
                <a:cubicBezTo>
                  <a:pt x="0" y="64289"/>
                  <a:pt x="64288" y="0"/>
                  <a:pt x="143667" y="0"/>
                </a:cubicBezTo>
                <a:lnTo>
                  <a:pt x="1873895" y="0"/>
                </a:lnTo>
                <a:cubicBezTo>
                  <a:pt x="1953274" y="0"/>
                  <a:pt x="2017563" y="64289"/>
                  <a:pt x="2017563" y="143668"/>
                </a:cubicBezTo>
                <a:lnTo>
                  <a:pt x="2017563" y="2908735"/>
                </a:lnTo>
                <a:cubicBezTo>
                  <a:pt x="2017563" y="2988113"/>
                  <a:pt x="1953274" y="3052402"/>
                  <a:pt x="1873895" y="3052402"/>
                </a:cubicBezTo>
                <a:lnTo>
                  <a:pt x="143667" y="3052402"/>
                </a:lnTo>
                <a:cubicBezTo>
                  <a:pt x="64288" y="3052402"/>
                  <a:pt x="0" y="2988113"/>
                  <a:pt x="0" y="2908735"/>
                </a:cubicBezTo>
                <a:lnTo>
                  <a:pt x="0" y="785925"/>
                </a:lnTo>
              </a:path>
            </a:pathLst>
          </a:custGeom>
          <a:noFill/>
          <a:ln w="19000" cap="flat" cmpd="sng">
            <a:solidFill>
              <a:srgbClr val="8292C9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dirty="0">
              <a:solidFill>
                <a:schemeClr val="dk1"/>
              </a:solidFill>
              <a:latin typeface="Lato" panose="020F0502020204030203" pitchFamily="34" charset="77"/>
              <a:ea typeface="Lato Light"/>
              <a:cs typeface="Lato Light"/>
              <a:sym typeface="Lato Light"/>
            </a:endParaRPr>
          </a:p>
        </p:txBody>
      </p:sp>
      <p:sp>
        <p:nvSpPr>
          <p:cNvPr id="79" name="Google Shape;1456;p274">
            <a:extLst>
              <a:ext uri="{FF2B5EF4-FFF2-40B4-BE49-F238E27FC236}">
                <a16:creationId xmlns:a16="http://schemas.microsoft.com/office/drawing/2014/main" id="{990A750C-6425-44C0-3C3B-E00C38D4A446}"/>
              </a:ext>
            </a:extLst>
          </p:cNvPr>
          <p:cNvSpPr/>
          <p:nvPr userDrawn="1"/>
        </p:nvSpPr>
        <p:spPr>
          <a:xfrm>
            <a:off x="7425956" y="2851221"/>
            <a:ext cx="2017562" cy="939610"/>
          </a:xfrm>
          <a:custGeom>
            <a:avLst/>
            <a:gdLst/>
            <a:ahLst/>
            <a:cxnLst/>
            <a:rect l="l" t="t" r="r" b="b"/>
            <a:pathLst>
              <a:path w="2017562" h="939610" extrusionOk="0">
                <a:moveTo>
                  <a:pt x="0" y="939610"/>
                </a:moveTo>
                <a:lnTo>
                  <a:pt x="0" y="143668"/>
                </a:lnTo>
                <a:cubicBezTo>
                  <a:pt x="0" y="64289"/>
                  <a:pt x="64289" y="0"/>
                  <a:pt x="143668" y="0"/>
                </a:cubicBezTo>
                <a:lnTo>
                  <a:pt x="1873895" y="0"/>
                </a:lnTo>
                <a:cubicBezTo>
                  <a:pt x="1953274" y="0"/>
                  <a:pt x="2017563" y="64289"/>
                  <a:pt x="2017563" y="143668"/>
                </a:cubicBezTo>
                <a:lnTo>
                  <a:pt x="2017563" y="276177"/>
                </a:lnTo>
              </a:path>
            </a:pathLst>
          </a:custGeom>
          <a:noFill/>
          <a:ln w="19000" cap="flat" cmpd="sng">
            <a:solidFill>
              <a:srgbClr val="57C7D8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dirty="0">
              <a:solidFill>
                <a:schemeClr val="dk1"/>
              </a:solidFill>
              <a:latin typeface="Lato" panose="020F0502020204030203" pitchFamily="34" charset="77"/>
              <a:ea typeface="Lato Light"/>
              <a:cs typeface="Lato Light"/>
              <a:sym typeface="Lato Light"/>
            </a:endParaRPr>
          </a:p>
        </p:txBody>
      </p:sp>
      <p:sp>
        <p:nvSpPr>
          <p:cNvPr id="80" name="Google Shape;1457;p274">
            <a:extLst>
              <a:ext uri="{FF2B5EF4-FFF2-40B4-BE49-F238E27FC236}">
                <a16:creationId xmlns:a16="http://schemas.microsoft.com/office/drawing/2014/main" id="{42B31D54-32B3-4991-98ED-8DBBB521354D}"/>
              </a:ext>
            </a:extLst>
          </p:cNvPr>
          <p:cNvSpPr/>
          <p:nvPr userDrawn="1"/>
        </p:nvSpPr>
        <p:spPr>
          <a:xfrm>
            <a:off x="2766199" y="5197203"/>
            <a:ext cx="176002" cy="351751"/>
          </a:xfrm>
          <a:custGeom>
            <a:avLst/>
            <a:gdLst/>
            <a:ahLst/>
            <a:cxnLst/>
            <a:rect l="l" t="t" r="r" b="b"/>
            <a:pathLst>
              <a:path w="176002" h="351751" extrusionOk="0">
                <a:moveTo>
                  <a:pt x="0" y="0"/>
                </a:moveTo>
                <a:lnTo>
                  <a:pt x="176003" y="175876"/>
                </a:lnTo>
                <a:lnTo>
                  <a:pt x="0" y="351752"/>
                </a:lnTo>
              </a:path>
            </a:pathLst>
          </a:custGeom>
          <a:noFill/>
          <a:ln w="19000" cap="flat" cmpd="sng">
            <a:solidFill>
              <a:schemeClr val="tx1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dirty="0">
              <a:solidFill>
                <a:schemeClr val="dk1"/>
              </a:solidFill>
              <a:latin typeface="Lato" panose="020F0502020204030203" pitchFamily="34" charset="77"/>
              <a:ea typeface="Lato Light"/>
              <a:cs typeface="Lato Light"/>
              <a:sym typeface="Lato Light"/>
            </a:endParaRPr>
          </a:p>
        </p:txBody>
      </p:sp>
      <p:sp>
        <p:nvSpPr>
          <p:cNvPr id="81" name="Google Shape;1458;p274">
            <a:extLst>
              <a:ext uri="{FF2B5EF4-FFF2-40B4-BE49-F238E27FC236}">
                <a16:creationId xmlns:a16="http://schemas.microsoft.com/office/drawing/2014/main" id="{E79E3D5B-2295-0B3D-97EE-A343C8D7929F}"/>
              </a:ext>
            </a:extLst>
          </p:cNvPr>
          <p:cNvSpPr/>
          <p:nvPr userDrawn="1"/>
        </p:nvSpPr>
        <p:spPr>
          <a:xfrm>
            <a:off x="542074" y="2851221"/>
            <a:ext cx="2400254" cy="3052402"/>
          </a:xfrm>
          <a:custGeom>
            <a:avLst/>
            <a:gdLst/>
            <a:ahLst/>
            <a:cxnLst/>
            <a:rect l="l" t="t" r="r" b="b"/>
            <a:pathLst>
              <a:path w="2400254" h="3052402" extrusionOk="0">
                <a:moveTo>
                  <a:pt x="2400254" y="2522873"/>
                </a:moveTo>
                <a:lnTo>
                  <a:pt x="2017690" y="2522873"/>
                </a:lnTo>
                <a:cubicBezTo>
                  <a:pt x="2017690" y="2522873"/>
                  <a:pt x="2017690" y="2908735"/>
                  <a:pt x="2017690" y="2908735"/>
                </a:cubicBezTo>
                <a:cubicBezTo>
                  <a:pt x="2017690" y="2988113"/>
                  <a:pt x="1953401" y="3052402"/>
                  <a:pt x="1874022" y="3052402"/>
                </a:cubicBezTo>
                <a:lnTo>
                  <a:pt x="143668" y="3052402"/>
                </a:lnTo>
                <a:cubicBezTo>
                  <a:pt x="64289" y="3052402"/>
                  <a:pt x="0" y="2988113"/>
                  <a:pt x="0" y="2908735"/>
                </a:cubicBezTo>
                <a:lnTo>
                  <a:pt x="0" y="143668"/>
                </a:lnTo>
                <a:cubicBezTo>
                  <a:pt x="0" y="64289"/>
                  <a:pt x="64289" y="0"/>
                  <a:pt x="143668" y="0"/>
                </a:cubicBezTo>
                <a:lnTo>
                  <a:pt x="1874022" y="0"/>
                </a:lnTo>
                <a:cubicBezTo>
                  <a:pt x="1953401" y="0"/>
                  <a:pt x="2017690" y="64289"/>
                  <a:pt x="2017690" y="143668"/>
                </a:cubicBezTo>
                <a:lnTo>
                  <a:pt x="2017690" y="2266477"/>
                </a:lnTo>
              </a:path>
            </a:pathLst>
          </a:custGeom>
          <a:noFill/>
          <a:ln w="19000" cap="flat" cmpd="sng">
            <a:solidFill>
              <a:schemeClr val="tx1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dirty="0">
              <a:solidFill>
                <a:schemeClr val="dk1"/>
              </a:solidFill>
              <a:latin typeface="Lato" panose="020F0502020204030203" pitchFamily="34" charset="77"/>
              <a:ea typeface="Lato Light"/>
              <a:cs typeface="Lato Light"/>
              <a:sym typeface="Lato Light"/>
            </a:endParaRPr>
          </a:p>
        </p:txBody>
      </p:sp>
      <p:sp>
        <p:nvSpPr>
          <p:cNvPr id="82" name="Google Shape;1459;p274">
            <a:extLst>
              <a:ext uri="{FF2B5EF4-FFF2-40B4-BE49-F238E27FC236}">
                <a16:creationId xmlns:a16="http://schemas.microsoft.com/office/drawing/2014/main" id="{A1F2D541-088C-068E-DB30-6EE9C9E2DDE8}"/>
              </a:ext>
            </a:extLst>
          </p:cNvPr>
          <p:cNvSpPr/>
          <p:nvPr userDrawn="1"/>
        </p:nvSpPr>
        <p:spPr>
          <a:xfrm>
            <a:off x="5055627" y="4533643"/>
            <a:ext cx="175875" cy="351878"/>
          </a:xfrm>
          <a:custGeom>
            <a:avLst/>
            <a:gdLst/>
            <a:ahLst/>
            <a:cxnLst/>
            <a:rect l="l" t="t" r="r" b="b"/>
            <a:pathLst>
              <a:path w="175875" h="351878" extrusionOk="0">
                <a:moveTo>
                  <a:pt x="0" y="0"/>
                </a:moveTo>
                <a:lnTo>
                  <a:pt x="175876" y="175876"/>
                </a:lnTo>
                <a:lnTo>
                  <a:pt x="0" y="351878"/>
                </a:lnTo>
              </a:path>
            </a:pathLst>
          </a:custGeom>
          <a:noFill/>
          <a:ln w="19000" cap="flat" cmpd="sng">
            <a:solidFill>
              <a:srgbClr val="FDDD00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dirty="0">
              <a:solidFill>
                <a:schemeClr val="dk1"/>
              </a:solidFill>
              <a:latin typeface="Lato" panose="020F0502020204030203" pitchFamily="34" charset="77"/>
              <a:ea typeface="Lato Light"/>
              <a:cs typeface="Lato Light"/>
              <a:sym typeface="Lato Light"/>
            </a:endParaRPr>
          </a:p>
        </p:txBody>
      </p:sp>
      <p:sp>
        <p:nvSpPr>
          <p:cNvPr id="83" name="Google Shape;1460;p274">
            <a:extLst>
              <a:ext uri="{FF2B5EF4-FFF2-40B4-BE49-F238E27FC236}">
                <a16:creationId xmlns:a16="http://schemas.microsoft.com/office/drawing/2014/main" id="{67ED9BEE-A91D-7656-9A31-8B4FDDF1FACE}"/>
              </a:ext>
            </a:extLst>
          </p:cNvPr>
          <p:cNvSpPr/>
          <p:nvPr userDrawn="1"/>
        </p:nvSpPr>
        <p:spPr>
          <a:xfrm>
            <a:off x="2836701" y="4710660"/>
            <a:ext cx="2395689" cy="1192962"/>
          </a:xfrm>
          <a:custGeom>
            <a:avLst/>
            <a:gdLst/>
            <a:ahLst/>
            <a:cxnLst/>
            <a:rect l="l" t="t" r="r" b="b"/>
            <a:pathLst>
              <a:path w="2395689" h="1192962" extrusionOk="0">
                <a:moveTo>
                  <a:pt x="2395690" y="0"/>
                </a:moveTo>
                <a:lnTo>
                  <a:pt x="2017689" y="0"/>
                </a:lnTo>
                <a:cubicBezTo>
                  <a:pt x="2017689" y="0"/>
                  <a:pt x="2017689" y="1049295"/>
                  <a:pt x="2017689" y="1049295"/>
                </a:cubicBezTo>
                <a:cubicBezTo>
                  <a:pt x="2017689" y="1128674"/>
                  <a:pt x="1953401" y="1192963"/>
                  <a:pt x="1874022" y="1192963"/>
                </a:cubicBezTo>
                <a:lnTo>
                  <a:pt x="143668" y="1192963"/>
                </a:lnTo>
                <a:cubicBezTo>
                  <a:pt x="64289" y="1192963"/>
                  <a:pt x="0" y="1128674"/>
                  <a:pt x="0" y="1049295"/>
                </a:cubicBezTo>
                <a:lnTo>
                  <a:pt x="0" y="918307"/>
                </a:lnTo>
              </a:path>
            </a:pathLst>
          </a:custGeom>
          <a:noFill/>
          <a:ln w="19000" cap="flat" cmpd="sng">
            <a:solidFill>
              <a:srgbClr val="FDDD00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dirty="0">
              <a:solidFill>
                <a:schemeClr val="dk1"/>
              </a:solidFill>
              <a:latin typeface="Lato" panose="020F0502020204030203" pitchFamily="34" charset="77"/>
              <a:ea typeface="Lato Light"/>
              <a:cs typeface="Lato Light"/>
              <a:sym typeface="Lato Light"/>
            </a:endParaRPr>
          </a:p>
        </p:txBody>
      </p:sp>
      <p:sp>
        <p:nvSpPr>
          <p:cNvPr id="84" name="Google Shape;1461;p274">
            <a:extLst>
              <a:ext uri="{FF2B5EF4-FFF2-40B4-BE49-F238E27FC236}">
                <a16:creationId xmlns:a16="http://schemas.microsoft.com/office/drawing/2014/main" id="{812E3C68-B814-CFA1-83E2-48657DE86C4F}"/>
              </a:ext>
            </a:extLst>
          </p:cNvPr>
          <p:cNvSpPr/>
          <p:nvPr userDrawn="1"/>
        </p:nvSpPr>
        <p:spPr>
          <a:xfrm>
            <a:off x="7347211" y="3870210"/>
            <a:ext cx="175875" cy="351751"/>
          </a:xfrm>
          <a:custGeom>
            <a:avLst/>
            <a:gdLst/>
            <a:ahLst/>
            <a:cxnLst/>
            <a:rect l="l" t="t" r="r" b="b"/>
            <a:pathLst>
              <a:path w="175875" h="351751" extrusionOk="0">
                <a:moveTo>
                  <a:pt x="0" y="0"/>
                </a:moveTo>
                <a:lnTo>
                  <a:pt x="175876" y="175876"/>
                </a:lnTo>
                <a:lnTo>
                  <a:pt x="0" y="351752"/>
                </a:lnTo>
              </a:path>
            </a:pathLst>
          </a:custGeom>
          <a:noFill/>
          <a:ln w="19000" cap="flat" cmpd="sng">
            <a:solidFill>
              <a:srgbClr val="30B44E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dirty="0">
              <a:solidFill>
                <a:schemeClr val="dk1"/>
              </a:solidFill>
              <a:latin typeface="Lato" panose="020F0502020204030203" pitchFamily="34" charset="77"/>
              <a:ea typeface="Lato Light"/>
              <a:cs typeface="Lato Light"/>
              <a:sym typeface="Lato Light"/>
            </a:endParaRPr>
          </a:p>
        </p:txBody>
      </p:sp>
      <p:sp>
        <p:nvSpPr>
          <p:cNvPr id="85" name="Google Shape;1462;p274">
            <a:extLst>
              <a:ext uri="{FF2B5EF4-FFF2-40B4-BE49-F238E27FC236}">
                <a16:creationId xmlns:a16="http://schemas.microsoft.com/office/drawing/2014/main" id="{2259EC14-A83E-866C-6918-135240CD519C}"/>
              </a:ext>
            </a:extLst>
          </p:cNvPr>
          <p:cNvSpPr/>
          <p:nvPr userDrawn="1"/>
        </p:nvSpPr>
        <p:spPr>
          <a:xfrm>
            <a:off x="5131329" y="2851221"/>
            <a:ext cx="2017563" cy="1603043"/>
          </a:xfrm>
          <a:custGeom>
            <a:avLst/>
            <a:gdLst/>
            <a:ahLst/>
            <a:cxnLst/>
            <a:rect l="l" t="t" r="r" b="b"/>
            <a:pathLst>
              <a:path w="2017563" h="1603043" extrusionOk="0">
                <a:moveTo>
                  <a:pt x="0" y="1603044"/>
                </a:moveTo>
                <a:lnTo>
                  <a:pt x="0" y="143668"/>
                </a:lnTo>
                <a:cubicBezTo>
                  <a:pt x="0" y="64289"/>
                  <a:pt x="64289" y="0"/>
                  <a:pt x="143668" y="0"/>
                </a:cubicBezTo>
                <a:lnTo>
                  <a:pt x="1873895" y="0"/>
                </a:lnTo>
                <a:cubicBezTo>
                  <a:pt x="1953274" y="0"/>
                  <a:pt x="2017563" y="64289"/>
                  <a:pt x="2017563" y="143668"/>
                </a:cubicBezTo>
                <a:lnTo>
                  <a:pt x="2017563" y="939610"/>
                </a:lnTo>
              </a:path>
            </a:pathLst>
          </a:custGeom>
          <a:noFill/>
          <a:ln w="19000" cap="flat" cmpd="sng">
            <a:solidFill>
              <a:srgbClr val="30B44E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dirty="0">
              <a:solidFill>
                <a:schemeClr val="dk1"/>
              </a:solidFill>
              <a:latin typeface="Lato" panose="020F0502020204030203" pitchFamily="34" charset="77"/>
              <a:ea typeface="Lato Light"/>
              <a:cs typeface="Lato Light"/>
              <a:sym typeface="Lato Light"/>
            </a:endParaRPr>
          </a:p>
        </p:txBody>
      </p:sp>
      <p:sp>
        <p:nvSpPr>
          <p:cNvPr id="86" name="Google Shape;1463;p274">
            <a:extLst>
              <a:ext uri="{FF2B5EF4-FFF2-40B4-BE49-F238E27FC236}">
                <a16:creationId xmlns:a16="http://schemas.microsoft.com/office/drawing/2014/main" id="{22B2DAE6-E9E0-DB7F-7808-093D003A219D}"/>
              </a:ext>
            </a:extLst>
          </p:cNvPr>
          <p:cNvSpPr/>
          <p:nvPr userDrawn="1"/>
        </p:nvSpPr>
        <p:spPr>
          <a:xfrm>
            <a:off x="5131455" y="4047227"/>
            <a:ext cx="2392519" cy="1856396"/>
          </a:xfrm>
          <a:custGeom>
            <a:avLst/>
            <a:gdLst/>
            <a:ahLst/>
            <a:cxnLst/>
            <a:rect l="l" t="t" r="r" b="b"/>
            <a:pathLst>
              <a:path w="2392519" h="1856396" extrusionOk="0">
                <a:moveTo>
                  <a:pt x="2392519" y="0"/>
                </a:moveTo>
                <a:lnTo>
                  <a:pt x="2017563" y="0"/>
                </a:lnTo>
                <a:cubicBezTo>
                  <a:pt x="2017563" y="0"/>
                  <a:pt x="2017563" y="1712728"/>
                  <a:pt x="2017563" y="1712728"/>
                </a:cubicBezTo>
                <a:cubicBezTo>
                  <a:pt x="2017563" y="1792107"/>
                  <a:pt x="1953274" y="1856396"/>
                  <a:pt x="1873895" y="1856396"/>
                </a:cubicBezTo>
                <a:lnTo>
                  <a:pt x="143668" y="1856396"/>
                </a:lnTo>
                <a:cubicBezTo>
                  <a:pt x="64289" y="1856396"/>
                  <a:pt x="0" y="1792107"/>
                  <a:pt x="0" y="1712728"/>
                </a:cubicBezTo>
                <a:lnTo>
                  <a:pt x="0" y="918308"/>
                </a:lnTo>
              </a:path>
            </a:pathLst>
          </a:custGeom>
          <a:noFill/>
          <a:ln w="19000" cap="flat" cmpd="sng">
            <a:solidFill>
              <a:srgbClr val="30B44E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dirty="0">
              <a:solidFill>
                <a:schemeClr val="dk1"/>
              </a:solidFill>
              <a:latin typeface="Lato" panose="020F0502020204030203" pitchFamily="34" charset="77"/>
              <a:ea typeface="Lato Light"/>
              <a:cs typeface="Lato Light"/>
              <a:sym typeface="Lato Light"/>
            </a:endParaRPr>
          </a:p>
        </p:txBody>
      </p:sp>
      <p:sp>
        <p:nvSpPr>
          <p:cNvPr id="87" name="Google Shape;1464;p274">
            <a:extLst>
              <a:ext uri="{FF2B5EF4-FFF2-40B4-BE49-F238E27FC236}">
                <a16:creationId xmlns:a16="http://schemas.microsoft.com/office/drawing/2014/main" id="{709E85E7-681F-F79D-654B-47E18C995BD4}"/>
              </a:ext>
            </a:extLst>
          </p:cNvPr>
          <p:cNvSpPr/>
          <p:nvPr userDrawn="1"/>
        </p:nvSpPr>
        <p:spPr>
          <a:xfrm>
            <a:off x="9638796" y="3206650"/>
            <a:ext cx="175875" cy="351878"/>
          </a:xfrm>
          <a:custGeom>
            <a:avLst/>
            <a:gdLst/>
            <a:ahLst/>
            <a:cxnLst/>
            <a:rect l="l" t="t" r="r" b="b"/>
            <a:pathLst>
              <a:path w="175875" h="351878" extrusionOk="0">
                <a:moveTo>
                  <a:pt x="0" y="0"/>
                </a:moveTo>
                <a:lnTo>
                  <a:pt x="175876" y="176003"/>
                </a:lnTo>
                <a:lnTo>
                  <a:pt x="0" y="351878"/>
                </a:lnTo>
              </a:path>
            </a:pathLst>
          </a:custGeom>
          <a:noFill/>
          <a:ln w="19000" cap="flat" cmpd="sng">
            <a:solidFill>
              <a:srgbClr val="57C7D8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dirty="0">
              <a:solidFill>
                <a:schemeClr val="dk1"/>
              </a:solidFill>
              <a:latin typeface="Lato" panose="020F0502020204030203" pitchFamily="34" charset="77"/>
              <a:ea typeface="Lato Light"/>
              <a:cs typeface="Lato Light"/>
              <a:sym typeface="Lato Light"/>
            </a:endParaRPr>
          </a:p>
        </p:txBody>
      </p:sp>
      <p:sp>
        <p:nvSpPr>
          <p:cNvPr id="88" name="Google Shape;1465;p274">
            <a:extLst>
              <a:ext uri="{FF2B5EF4-FFF2-40B4-BE49-F238E27FC236}">
                <a16:creationId xmlns:a16="http://schemas.microsoft.com/office/drawing/2014/main" id="{67E3B664-8253-C1BD-9490-33219FF33080}"/>
              </a:ext>
            </a:extLst>
          </p:cNvPr>
          <p:cNvSpPr/>
          <p:nvPr userDrawn="1"/>
        </p:nvSpPr>
        <p:spPr>
          <a:xfrm>
            <a:off x="7426083" y="3382272"/>
            <a:ext cx="2389476" cy="2521351"/>
          </a:xfrm>
          <a:custGeom>
            <a:avLst/>
            <a:gdLst/>
            <a:ahLst/>
            <a:cxnLst/>
            <a:rect l="l" t="t" r="r" b="b"/>
            <a:pathLst>
              <a:path w="2389476" h="2521351" extrusionOk="0">
                <a:moveTo>
                  <a:pt x="2389476" y="1522"/>
                </a:moveTo>
                <a:lnTo>
                  <a:pt x="2017563" y="0"/>
                </a:lnTo>
                <a:lnTo>
                  <a:pt x="2017563" y="2377683"/>
                </a:lnTo>
                <a:cubicBezTo>
                  <a:pt x="2017563" y="2457062"/>
                  <a:pt x="1953274" y="2521351"/>
                  <a:pt x="1873895" y="2521351"/>
                </a:cubicBezTo>
                <a:lnTo>
                  <a:pt x="143667" y="2521351"/>
                </a:lnTo>
                <a:cubicBezTo>
                  <a:pt x="64289" y="2521351"/>
                  <a:pt x="0" y="2457062"/>
                  <a:pt x="0" y="2377683"/>
                </a:cubicBezTo>
                <a:lnTo>
                  <a:pt x="0" y="929213"/>
                </a:lnTo>
              </a:path>
            </a:pathLst>
          </a:custGeom>
          <a:noFill/>
          <a:ln w="19000" cap="flat" cmpd="sng">
            <a:solidFill>
              <a:srgbClr val="57C7D8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dirty="0">
              <a:solidFill>
                <a:schemeClr val="dk1"/>
              </a:solidFill>
              <a:latin typeface="Lato" panose="020F0502020204030203" pitchFamily="34" charset="77"/>
              <a:ea typeface="Lato Light"/>
              <a:cs typeface="Lato Light"/>
              <a:sym typeface="Lato Light"/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45914356-8224-92CA-4ADA-EECD6294BAFD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1122821" y="6467484"/>
            <a:ext cx="799740" cy="170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5036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697B61-48D3-1117-2E84-ACEFAACB88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463" y="442564"/>
            <a:ext cx="11015074" cy="5632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kumimoji="0" lang="en-US" sz="3400" b="1" i="0" u="none" strike="noStrike" cap="all" spc="0" normalizeH="0" baseline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Lato" panose="020F0502020204030203" pitchFamily="34" charset="77"/>
                <a:ea typeface="Lato" panose="020F0502020204030203" pitchFamily="34" charset="77"/>
                <a:cs typeface="Arial" panose="020B0604020202020204" pitchFamily="34" charset="0"/>
              </a:defRPr>
            </a:lvl1pPr>
          </a:lstStyle>
          <a:p>
            <a:pPr marL="0"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dirty="0"/>
              <a:t>title styl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463388A5-B45B-29E5-A96F-360450FAE7E3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1122821" y="6467484"/>
            <a:ext cx="799740" cy="170885"/>
          </a:xfrm>
          <a:prstGeom prst="rect">
            <a:avLst/>
          </a:prstGeom>
        </p:spPr>
      </p:pic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C741F581-0DEB-BE97-DA9D-0FB4868596AF}"/>
              </a:ext>
            </a:extLst>
          </p:cNvPr>
          <p:cNvSpPr/>
          <p:nvPr userDrawn="1"/>
        </p:nvSpPr>
        <p:spPr>
          <a:xfrm>
            <a:off x="588463" y="1333500"/>
            <a:ext cx="5268733" cy="2337306"/>
          </a:xfrm>
          <a:prstGeom prst="roundRect">
            <a:avLst>
              <a:gd name="adj" fmla="val 4152"/>
            </a:avLst>
          </a:prstGeom>
          <a:solidFill>
            <a:srgbClr val="D9E1E2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E814834A-1986-D275-5B82-BDDF91CCE1C7}"/>
              </a:ext>
            </a:extLst>
          </p:cNvPr>
          <p:cNvSpPr>
            <a:spLocks noGrp="1"/>
          </p:cNvSpPr>
          <p:nvPr userDrawn="1">
            <p:ph type="body" idx="10"/>
          </p:nvPr>
        </p:nvSpPr>
        <p:spPr>
          <a:xfrm>
            <a:off x="1422399" y="1463519"/>
            <a:ext cx="4216401" cy="3816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="0" i="0" cap="all" baseline="0">
                <a:solidFill>
                  <a:schemeClr val="tx1"/>
                </a:solidFill>
                <a:latin typeface="Lato" panose="020F0502020204030203" pitchFamily="34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3F1795AE-D6FA-AD2E-1EA6-9175E7D409B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422400" y="2053689"/>
            <a:ext cx="4216400" cy="145737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180000" indent="-180000">
              <a:spcBef>
                <a:spcPts val="600"/>
              </a:spcBef>
              <a:buClr>
                <a:srgbClr val="00BD4D"/>
              </a:buClr>
              <a:buFont typeface="Arial" panose="020B0604020202020204" pitchFamily="34" charset="0"/>
              <a:buChar char="•"/>
              <a:defRPr lang="en-US" sz="1600" b="0" i="0" dirty="0"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GB"/>
              <a:t>Click to edit Master text styles</a:t>
            </a: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E0954827-CE5B-A61A-B229-11A7721CBD53}"/>
              </a:ext>
            </a:extLst>
          </p:cNvPr>
          <p:cNvSpPr/>
          <p:nvPr userDrawn="1"/>
        </p:nvSpPr>
        <p:spPr>
          <a:xfrm>
            <a:off x="6334804" y="1333500"/>
            <a:ext cx="5268733" cy="2337306"/>
          </a:xfrm>
          <a:prstGeom prst="roundRect">
            <a:avLst>
              <a:gd name="adj" fmla="val 4152"/>
            </a:avLst>
          </a:prstGeom>
          <a:solidFill>
            <a:srgbClr val="D9E1E2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AD63CBDF-6DBD-F5EF-5854-4F093AA3B8AD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7168740" y="1463519"/>
            <a:ext cx="4216401" cy="3816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="0" i="0" cap="all" baseline="0">
                <a:solidFill>
                  <a:schemeClr val="tx1"/>
                </a:solidFill>
                <a:latin typeface="Lato" panose="020F0502020204030203" pitchFamily="34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C87E675E-9772-428F-E9B2-92D193CA0158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7168741" y="2053689"/>
            <a:ext cx="4216400" cy="145737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180000" indent="-18000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lang="en-US" sz="1600" b="0" i="0" dirty="0"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GB"/>
              <a:t>Click to edit Master text styles</a:t>
            </a: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48618526-C369-6A0E-6668-2B74DB6D3E79}"/>
              </a:ext>
            </a:extLst>
          </p:cNvPr>
          <p:cNvSpPr/>
          <p:nvPr userDrawn="1"/>
        </p:nvSpPr>
        <p:spPr>
          <a:xfrm>
            <a:off x="588463" y="3913192"/>
            <a:ext cx="5268733" cy="2337306"/>
          </a:xfrm>
          <a:prstGeom prst="roundRect">
            <a:avLst>
              <a:gd name="adj" fmla="val 4152"/>
            </a:avLst>
          </a:prstGeom>
          <a:solidFill>
            <a:srgbClr val="D9E1E2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794CEF2F-50F9-7D98-0974-63A0C2E29FE4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422399" y="4043211"/>
            <a:ext cx="4216401" cy="3816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="0" i="0" cap="all" baseline="0">
                <a:solidFill>
                  <a:schemeClr val="tx1"/>
                </a:solidFill>
                <a:latin typeface="Lato" panose="020F0502020204030203" pitchFamily="34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2E5418F2-2F33-B3A1-BFD6-6CCC0F6482AD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1422400" y="4633381"/>
            <a:ext cx="4216400" cy="145737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180000" indent="-18000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lang="en-US" sz="1600" b="0" i="0" dirty="0"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GB"/>
              <a:t>Click to edit Master text styles</a:t>
            </a: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B8B346EE-FDEA-FFFD-BE07-D4B38FD454F3}"/>
              </a:ext>
            </a:extLst>
          </p:cNvPr>
          <p:cNvSpPr/>
          <p:nvPr userDrawn="1"/>
        </p:nvSpPr>
        <p:spPr>
          <a:xfrm>
            <a:off x="6334804" y="3913192"/>
            <a:ext cx="5268733" cy="2337306"/>
          </a:xfrm>
          <a:prstGeom prst="roundRect">
            <a:avLst>
              <a:gd name="adj" fmla="val 4152"/>
            </a:avLst>
          </a:prstGeom>
          <a:solidFill>
            <a:srgbClr val="D9E1E2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E9864B57-4E74-4D13-1E6F-D34381DDB4E7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7168740" y="4043211"/>
            <a:ext cx="4216401" cy="3816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="0" i="0" cap="all" baseline="0">
                <a:solidFill>
                  <a:schemeClr val="tx1"/>
                </a:solidFill>
                <a:latin typeface="Lato" panose="020F0502020204030203" pitchFamily="34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0B9BE754-6CC3-8F0C-8847-2F5D520F2F27}"/>
              </a:ext>
            </a:extLst>
          </p:cNvPr>
          <p:cNvSpPr>
            <a:spLocks noGrp="1"/>
          </p:cNvSpPr>
          <p:nvPr>
            <p:ph type="body" sz="half" idx="19"/>
          </p:nvPr>
        </p:nvSpPr>
        <p:spPr>
          <a:xfrm>
            <a:off x="7168741" y="4633381"/>
            <a:ext cx="4216400" cy="145737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180000" indent="-18000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lang="en-US" sz="1600" b="0" i="0" dirty="0"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2123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0C359F9B-D3C6-C913-9123-EBDBEE40A9D5}"/>
              </a:ext>
            </a:extLst>
          </p:cNvPr>
          <p:cNvSpPr/>
          <p:nvPr userDrawn="1"/>
        </p:nvSpPr>
        <p:spPr>
          <a:xfrm>
            <a:off x="-13077" y="-37244"/>
            <a:ext cx="12205077" cy="6895244"/>
          </a:xfrm>
          <a:prstGeom prst="rect">
            <a:avLst/>
          </a:prstGeom>
          <a:solidFill>
            <a:srgbClr val="D9E1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 err="1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9F09969-BFA2-3E6D-3D84-152BE5CFBE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-16700" y="-21684"/>
            <a:ext cx="12235292" cy="6879179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0555EA65-922D-717F-41D9-2782E53F225A}"/>
              </a:ext>
            </a:extLst>
          </p:cNvPr>
          <p:cNvGrpSpPr/>
          <p:nvPr userDrawn="1"/>
        </p:nvGrpSpPr>
        <p:grpSpPr>
          <a:xfrm>
            <a:off x="733434" y="542252"/>
            <a:ext cx="2455606" cy="510077"/>
            <a:chOff x="733434" y="876300"/>
            <a:chExt cx="2455606" cy="510077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EE64C78D-E858-976D-05E7-5E1A5D1E86A4}"/>
                </a:ext>
              </a:extLst>
            </p:cNvPr>
            <p:cNvSpPr/>
            <p:nvPr/>
          </p:nvSpPr>
          <p:spPr>
            <a:xfrm rot="18900000">
              <a:off x="770705" y="879406"/>
              <a:ext cx="107935" cy="107935"/>
            </a:xfrm>
            <a:custGeom>
              <a:avLst/>
              <a:gdLst>
                <a:gd name="connsiteX0" fmla="*/ 67007 w 73496"/>
                <a:gd name="connsiteY0" fmla="*/ 0 h 73496"/>
                <a:gd name="connsiteX1" fmla="*/ 73497 w 73496"/>
                <a:gd name="connsiteY1" fmla="*/ 6489 h 73496"/>
                <a:gd name="connsiteX2" fmla="*/ 73497 w 73496"/>
                <a:gd name="connsiteY2" fmla="*/ 67007 h 73496"/>
                <a:gd name="connsiteX3" fmla="*/ 67007 w 73496"/>
                <a:gd name="connsiteY3" fmla="*/ 73496 h 73496"/>
                <a:gd name="connsiteX4" fmla="*/ 6489 w 73496"/>
                <a:gd name="connsiteY4" fmla="*/ 73496 h 73496"/>
                <a:gd name="connsiteX5" fmla="*/ 0 w 73496"/>
                <a:gd name="connsiteY5" fmla="*/ 67007 h 73496"/>
                <a:gd name="connsiteX6" fmla="*/ 0 w 73496"/>
                <a:gd name="connsiteY6" fmla="*/ 6489 h 73496"/>
                <a:gd name="connsiteX7" fmla="*/ 6489 w 73496"/>
                <a:gd name="connsiteY7" fmla="*/ 0 h 73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496" h="73496">
                  <a:moveTo>
                    <a:pt x="67007" y="0"/>
                  </a:moveTo>
                  <a:cubicBezTo>
                    <a:pt x="70591" y="0"/>
                    <a:pt x="73497" y="2905"/>
                    <a:pt x="73497" y="6489"/>
                  </a:cubicBezTo>
                  <a:lnTo>
                    <a:pt x="73497" y="67007"/>
                  </a:lnTo>
                  <a:cubicBezTo>
                    <a:pt x="73497" y="70591"/>
                    <a:pt x="70591" y="73496"/>
                    <a:pt x="67007" y="73496"/>
                  </a:cubicBezTo>
                  <a:lnTo>
                    <a:pt x="6489" y="73496"/>
                  </a:lnTo>
                  <a:cubicBezTo>
                    <a:pt x="2905" y="73496"/>
                    <a:pt x="0" y="70591"/>
                    <a:pt x="0" y="67007"/>
                  </a:cubicBezTo>
                  <a:lnTo>
                    <a:pt x="0" y="6489"/>
                  </a:lnTo>
                  <a:cubicBezTo>
                    <a:pt x="0" y="2905"/>
                    <a:pt x="2905" y="0"/>
                    <a:pt x="6489" y="0"/>
                  </a:cubicBezTo>
                  <a:close/>
                </a:path>
              </a:pathLst>
            </a:custGeom>
            <a:solidFill>
              <a:srgbClr val="00BD4D"/>
            </a:solidFill>
            <a:ln w="284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="0" i="0" dirty="0">
                <a:latin typeface="Lato" panose="020F0502020204030203" pitchFamily="34" charset="77"/>
              </a:endParaRP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92C19A1E-A528-741B-117D-62E1DFE304C7}"/>
                </a:ext>
              </a:extLst>
            </p:cNvPr>
            <p:cNvGrpSpPr/>
            <p:nvPr/>
          </p:nvGrpSpPr>
          <p:grpSpPr>
            <a:xfrm>
              <a:off x="733434" y="876300"/>
              <a:ext cx="2455606" cy="510077"/>
              <a:chOff x="9242171" y="3011696"/>
              <a:chExt cx="1672097" cy="347327"/>
            </a:xfrm>
            <a:solidFill>
              <a:schemeClr val="tx1"/>
            </a:solidFill>
          </p:grpSpPr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4DCA580A-552A-F1D3-40DB-940A34BB5577}"/>
                  </a:ext>
                </a:extLst>
              </p:cNvPr>
              <p:cNvSpPr/>
              <p:nvPr/>
            </p:nvSpPr>
            <p:spPr>
              <a:xfrm>
                <a:off x="10604432" y="3110234"/>
                <a:ext cx="249644" cy="243844"/>
              </a:xfrm>
              <a:custGeom>
                <a:avLst/>
                <a:gdLst>
                  <a:gd name="connsiteX0" fmla="*/ 172562 w 249644"/>
                  <a:gd name="connsiteY0" fmla="*/ 121922 h 243844"/>
                  <a:gd name="connsiteX1" fmla="*/ 248603 w 249644"/>
                  <a:gd name="connsiteY1" fmla="*/ 234754 h 243844"/>
                  <a:gd name="connsiteX2" fmla="*/ 243372 w 249644"/>
                  <a:gd name="connsiteY2" fmla="*/ 243845 h 243844"/>
                  <a:gd name="connsiteX3" fmla="*/ 179480 w 249644"/>
                  <a:gd name="connsiteY3" fmla="*/ 243845 h 243844"/>
                  <a:gd name="connsiteX4" fmla="*/ 168789 w 249644"/>
                  <a:gd name="connsiteY4" fmla="*/ 238213 h 243844"/>
                  <a:gd name="connsiteX5" fmla="*/ 124822 w 249644"/>
                  <a:gd name="connsiteY5" fmla="*/ 170949 h 243844"/>
                  <a:gd name="connsiteX6" fmla="*/ 80856 w 249644"/>
                  <a:gd name="connsiteY6" fmla="*/ 238213 h 243844"/>
                  <a:gd name="connsiteX7" fmla="*/ 70164 w 249644"/>
                  <a:gd name="connsiteY7" fmla="*/ 243845 h 243844"/>
                  <a:gd name="connsiteX8" fmla="*/ 6273 w 249644"/>
                  <a:gd name="connsiteY8" fmla="*/ 243845 h 243844"/>
                  <a:gd name="connsiteX9" fmla="*/ 1042 w 249644"/>
                  <a:gd name="connsiteY9" fmla="*/ 234754 h 243844"/>
                  <a:gd name="connsiteX10" fmla="*/ 76854 w 249644"/>
                  <a:gd name="connsiteY10" fmla="*/ 121922 h 243844"/>
                  <a:gd name="connsiteX11" fmla="*/ 1042 w 249644"/>
                  <a:gd name="connsiteY11" fmla="*/ 9091 h 243844"/>
                  <a:gd name="connsiteX12" fmla="*/ 6273 w 249644"/>
                  <a:gd name="connsiteY12" fmla="*/ 0 h 243844"/>
                  <a:gd name="connsiteX13" fmla="*/ 72880 w 249644"/>
                  <a:gd name="connsiteY13" fmla="*/ 0 h 243844"/>
                  <a:gd name="connsiteX14" fmla="*/ 78998 w 249644"/>
                  <a:gd name="connsiteY14" fmla="*/ 3030 h 243844"/>
                  <a:gd name="connsiteX15" fmla="*/ 124794 w 249644"/>
                  <a:gd name="connsiteY15" fmla="*/ 72782 h 243844"/>
                  <a:gd name="connsiteX16" fmla="*/ 167788 w 249644"/>
                  <a:gd name="connsiteY16" fmla="*/ 3059 h 243844"/>
                  <a:gd name="connsiteX17" fmla="*/ 173906 w 249644"/>
                  <a:gd name="connsiteY17" fmla="*/ 0 h 243844"/>
                  <a:gd name="connsiteX18" fmla="*/ 241171 w 249644"/>
                  <a:gd name="connsiteY18" fmla="*/ 0 h 243844"/>
                  <a:gd name="connsiteX19" fmla="*/ 246402 w 249644"/>
                  <a:gd name="connsiteY19" fmla="*/ 9062 h 243844"/>
                  <a:gd name="connsiteX20" fmla="*/ 172505 w 249644"/>
                  <a:gd name="connsiteY20" fmla="*/ 121922 h 243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49644" h="243844">
                    <a:moveTo>
                      <a:pt x="172562" y="121922"/>
                    </a:moveTo>
                    <a:lnTo>
                      <a:pt x="248603" y="234754"/>
                    </a:lnTo>
                    <a:cubicBezTo>
                      <a:pt x="251347" y="238642"/>
                      <a:pt x="248346" y="243845"/>
                      <a:pt x="243372" y="243845"/>
                    </a:cubicBezTo>
                    <a:lnTo>
                      <a:pt x="179480" y="243845"/>
                    </a:lnTo>
                    <a:cubicBezTo>
                      <a:pt x="175221" y="243845"/>
                      <a:pt x="171219" y="241729"/>
                      <a:pt x="168789" y="238213"/>
                    </a:cubicBezTo>
                    <a:lnTo>
                      <a:pt x="124822" y="170949"/>
                    </a:lnTo>
                    <a:lnTo>
                      <a:pt x="80856" y="238213"/>
                    </a:lnTo>
                    <a:cubicBezTo>
                      <a:pt x="78426" y="241729"/>
                      <a:pt x="74452" y="243845"/>
                      <a:pt x="70164" y="243845"/>
                    </a:cubicBezTo>
                    <a:lnTo>
                      <a:pt x="6273" y="243845"/>
                    </a:lnTo>
                    <a:cubicBezTo>
                      <a:pt x="1299" y="243845"/>
                      <a:pt x="-1703" y="238671"/>
                      <a:pt x="1042" y="234754"/>
                    </a:cubicBezTo>
                    <a:lnTo>
                      <a:pt x="76854" y="121922"/>
                    </a:lnTo>
                    <a:lnTo>
                      <a:pt x="1042" y="9091"/>
                    </a:lnTo>
                    <a:cubicBezTo>
                      <a:pt x="-1703" y="5203"/>
                      <a:pt x="1299" y="0"/>
                      <a:pt x="6273" y="0"/>
                    </a:cubicBezTo>
                    <a:lnTo>
                      <a:pt x="72880" y="0"/>
                    </a:lnTo>
                    <a:cubicBezTo>
                      <a:pt x="75367" y="0"/>
                      <a:pt x="77683" y="1143"/>
                      <a:pt x="78998" y="3030"/>
                    </a:cubicBezTo>
                    <a:lnTo>
                      <a:pt x="124794" y="72782"/>
                    </a:lnTo>
                    <a:lnTo>
                      <a:pt x="167788" y="3059"/>
                    </a:lnTo>
                    <a:cubicBezTo>
                      <a:pt x="169075" y="1172"/>
                      <a:pt x="171419" y="0"/>
                      <a:pt x="173906" y="0"/>
                    </a:cubicBezTo>
                    <a:lnTo>
                      <a:pt x="241171" y="0"/>
                    </a:lnTo>
                    <a:cubicBezTo>
                      <a:pt x="246145" y="0"/>
                      <a:pt x="249118" y="5174"/>
                      <a:pt x="246402" y="9062"/>
                    </a:cubicBezTo>
                    <a:lnTo>
                      <a:pt x="172505" y="121922"/>
                    </a:ln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F2B5623E-DECF-6F25-04E9-387929975331}"/>
                  </a:ext>
                </a:extLst>
              </p:cNvPr>
              <p:cNvSpPr/>
              <p:nvPr/>
            </p:nvSpPr>
            <p:spPr>
              <a:xfrm>
                <a:off x="9581152" y="3011696"/>
                <a:ext cx="164831" cy="342440"/>
              </a:xfrm>
              <a:custGeom>
                <a:avLst/>
                <a:gdLst>
                  <a:gd name="connsiteX0" fmla="*/ 158342 w 164831"/>
                  <a:gd name="connsiteY0" fmla="*/ 29 h 342440"/>
                  <a:gd name="connsiteX1" fmla="*/ 105342 w 164831"/>
                  <a:gd name="connsiteY1" fmla="*/ 29 h 342440"/>
                  <a:gd name="connsiteX2" fmla="*/ 91592 w 164831"/>
                  <a:gd name="connsiteY2" fmla="*/ 5717 h 342440"/>
                  <a:gd name="connsiteX3" fmla="*/ 41794 w 164831"/>
                  <a:gd name="connsiteY3" fmla="*/ 55515 h 342440"/>
                  <a:gd name="connsiteX4" fmla="*/ 36105 w 164831"/>
                  <a:gd name="connsiteY4" fmla="*/ 69266 h 342440"/>
                  <a:gd name="connsiteX5" fmla="*/ 36105 w 164831"/>
                  <a:gd name="connsiteY5" fmla="*/ 108458 h 342440"/>
                  <a:gd name="connsiteX6" fmla="*/ 6375 w 164831"/>
                  <a:gd name="connsiteY6" fmla="*/ 108458 h 342440"/>
                  <a:gd name="connsiteX7" fmla="*/ 0 w 164831"/>
                  <a:gd name="connsiteY7" fmla="*/ 114833 h 342440"/>
                  <a:gd name="connsiteX8" fmla="*/ 0 w 164831"/>
                  <a:gd name="connsiteY8" fmla="*/ 158828 h 342440"/>
                  <a:gd name="connsiteX9" fmla="*/ 6375 w 164831"/>
                  <a:gd name="connsiteY9" fmla="*/ 165203 h 342440"/>
                  <a:gd name="connsiteX10" fmla="*/ 36105 w 164831"/>
                  <a:gd name="connsiteY10" fmla="*/ 165203 h 342440"/>
                  <a:gd name="connsiteX11" fmla="*/ 36105 w 164831"/>
                  <a:gd name="connsiteY11" fmla="*/ 335951 h 342440"/>
                  <a:gd name="connsiteX12" fmla="*/ 42594 w 164831"/>
                  <a:gd name="connsiteY12" fmla="*/ 342440 h 342440"/>
                  <a:gd name="connsiteX13" fmla="*/ 98510 w 164831"/>
                  <a:gd name="connsiteY13" fmla="*/ 342440 h 342440"/>
                  <a:gd name="connsiteX14" fmla="*/ 104999 w 164831"/>
                  <a:gd name="connsiteY14" fmla="*/ 335951 h 342440"/>
                  <a:gd name="connsiteX15" fmla="*/ 104999 w 164831"/>
                  <a:gd name="connsiteY15" fmla="*/ 165174 h 342440"/>
                  <a:gd name="connsiteX16" fmla="*/ 149394 w 164831"/>
                  <a:gd name="connsiteY16" fmla="*/ 165174 h 342440"/>
                  <a:gd name="connsiteX17" fmla="*/ 155769 w 164831"/>
                  <a:gd name="connsiteY17" fmla="*/ 158799 h 342440"/>
                  <a:gd name="connsiteX18" fmla="*/ 155769 w 164831"/>
                  <a:gd name="connsiteY18" fmla="*/ 114804 h 342440"/>
                  <a:gd name="connsiteX19" fmla="*/ 149394 w 164831"/>
                  <a:gd name="connsiteY19" fmla="*/ 108429 h 342440"/>
                  <a:gd name="connsiteX20" fmla="*/ 104999 w 164831"/>
                  <a:gd name="connsiteY20" fmla="*/ 108429 h 342440"/>
                  <a:gd name="connsiteX21" fmla="*/ 104999 w 164831"/>
                  <a:gd name="connsiteY21" fmla="*/ 80643 h 342440"/>
                  <a:gd name="connsiteX22" fmla="*/ 124438 w 164831"/>
                  <a:gd name="connsiteY22" fmla="*/ 61204 h 342440"/>
                  <a:gd name="connsiteX23" fmla="*/ 158342 w 164831"/>
                  <a:gd name="connsiteY23" fmla="*/ 61204 h 342440"/>
                  <a:gd name="connsiteX24" fmla="*/ 164831 w 164831"/>
                  <a:gd name="connsiteY24" fmla="*/ 54715 h 342440"/>
                  <a:gd name="connsiteX25" fmla="*/ 164831 w 164831"/>
                  <a:gd name="connsiteY25" fmla="*/ 6489 h 342440"/>
                  <a:gd name="connsiteX26" fmla="*/ 158342 w 164831"/>
                  <a:gd name="connsiteY26" fmla="*/ 0 h 342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64831" h="342440">
                    <a:moveTo>
                      <a:pt x="158342" y="29"/>
                    </a:moveTo>
                    <a:lnTo>
                      <a:pt x="105342" y="29"/>
                    </a:lnTo>
                    <a:cubicBezTo>
                      <a:pt x="100197" y="29"/>
                      <a:pt x="95251" y="2087"/>
                      <a:pt x="91592" y="5717"/>
                    </a:cubicBezTo>
                    <a:lnTo>
                      <a:pt x="41794" y="55515"/>
                    </a:lnTo>
                    <a:cubicBezTo>
                      <a:pt x="38135" y="59175"/>
                      <a:pt x="36105" y="64120"/>
                      <a:pt x="36105" y="69266"/>
                    </a:cubicBezTo>
                    <a:lnTo>
                      <a:pt x="36105" y="108458"/>
                    </a:lnTo>
                    <a:lnTo>
                      <a:pt x="6375" y="108458"/>
                    </a:lnTo>
                    <a:cubicBezTo>
                      <a:pt x="2859" y="108458"/>
                      <a:pt x="0" y="111317"/>
                      <a:pt x="0" y="114833"/>
                    </a:cubicBezTo>
                    <a:lnTo>
                      <a:pt x="0" y="158828"/>
                    </a:lnTo>
                    <a:cubicBezTo>
                      <a:pt x="0" y="162344"/>
                      <a:pt x="2859" y="165203"/>
                      <a:pt x="6375" y="165203"/>
                    </a:cubicBezTo>
                    <a:lnTo>
                      <a:pt x="36105" y="165203"/>
                    </a:lnTo>
                    <a:lnTo>
                      <a:pt x="36105" y="335951"/>
                    </a:lnTo>
                    <a:cubicBezTo>
                      <a:pt x="36105" y="339524"/>
                      <a:pt x="39021" y="342440"/>
                      <a:pt x="42594" y="342440"/>
                    </a:cubicBezTo>
                    <a:lnTo>
                      <a:pt x="98510" y="342440"/>
                    </a:lnTo>
                    <a:cubicBezTo>
                      <a:pt x="102083" y="342440"/>
                      <a:pt x="104999" y="339524"/>
                      <a:pt x="104999" y="335951"/>
                    </a:cubicBezTo>
                    <a:lnTo>
                      <a:pt x="104999" y="165174"/>
                    </a:lnTo>
                    <a:lnTo>
                      <a:pt x="149394" y="165174"/>
                    </a:lnTo>
                    <a:cubicBezTo>
                      <a:pt x="152911" y="165174"/>
                      <a:pt x="155769" y="162315"/>
                      <a:pt x="155769" y="158799"/>
                    </a:cubicBezTo>
                    <a:lnTo>
                      <a:pt x="155769" y="114804"/>
                    </a:lnTo>
                    <a:cubicBezTo>
                      <a:pt x="155769" y="111288"/>
                      <a:pt x="152911" y="108429"/>
                      <a:pt x="149394" y="108429"/>
                    </a:cubicBezTo>
                    <a:lnTo>
                      <a:pt x="104999" y="108429"/>
                    </a:lnTo>
                    <a:lnTo>
                      <a:pt x="104999" y="80643"/>
                    </a:lnTo>
                    <a:cubicBezTo>
                      <a:pt x="104999" y="69895"/>
                      <a:pt x="113718" y="61204"/>
                      <a:pt x="124438" y="61204"/>
                    </a:cubicBezTo>
                    <a:lnTo>
                      <a:pt x="158342" y="61204"/>
                    </a:lnTo>
                    <a:cubicBezTo>
                      <a:pt x="161915" y="61204"/>
                      <a:pt x="164831" y="58288"/>
                      <a:pt x="164831" y="54715"/>
                    </a:cubicBezTo>
                    <a:lnTo>
                      <a:pt x="164831" y="6489"/>
                    </a:lnTo>
                    <a:cubicBezTo>
                      <a:pt x="164831" y="2916"/>
                      <a:pt x="161915" y="0"/>
                      <a:pt x="158342" y="0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C5BCF988-EB47-8E53-1AC2-B4493065568E}"/>
                  </a:ext>
                </a:extLst>
              </p:cNvPr>
              <p:cNvSpPr/>
              <p:nvPr/>
            </p:nvSpPr>
            <p:spPr>
              <a:xfrm>
                <a:off x="10860611" y="3304224"/>
                <a:ext cx="53657" cy="53657"/>
              </a:xfrm>
              <a:custGeom>
                <a:avLst/>
                <a:gdLst>
                  <a:gd name="connsiteX0" fmla="*/ 53657 w 53657"/>
                  <a:gd name="connsiteY0" fmla="*/ 26786 h 53657"/>
                  <a:gd name="connsiteX1" fmla="*/ 26729 w 53657"/>
                  <a:gd name="connsiteY1" fmla="*/ 53657 h 53657"/>
                  <a:gd name="connsiteX2" fmla="*/ 0 w 53657"/>
                  <a:gd name="connsiteY2" fmla="*/ 26786 h 53657"/>
                  <a:gd name="connsiteX3" fmla="*/ 26814 w 53657"/>
                  <a:gd name="connsiteY3" fmla="*/ 0 h 53657"/>
                  <a:gd name="connsiteX4" fmla="*/ 53629 w 53657"/>
                  <a:gd name="connsiteY4" fmla="*/ 26786 h 53657"/>
                  <a:gd name="connsiteX5" fmla="*/ 49541 w 53657"/>
                  <a:gd name="connsiteY5" fmla="*/ 26900 h 53657"/>
                  <a:gd name="connsiteX6" fmla="*/ 26843 w 53657"/>
                  <a:gd name="connsiteY6" fmla="*/ 3831 h 53657"/>
                  <a:gd name="connsiteX7" fmla="*/ 4145 w 53657"/>
                  <a:gd name="connsiteY7" fmla="*/ 26872 h 53657"/>
                  <a:gd name="connsiteX8" fmla="*/ 26729 w 53657"/>
                  <a:gd name="connsiteY8" fmla="*/ 49884 h 53657"/>
                  <a:gd name="connsiteX9" fmla="*/ 49541 w 53657"/>
                  <a:gd name="connsiteY9" fmla="*/ 26900 h 53657"/>
                  <a:gd name="connsiteX10" fmla="*/ 32589 w 53657"/>
                  <a:gd name="connsiteY10" fmla="*/ 31131 h 53657"/>
                  <a:gd name="connsiteX11" fmla="*/ 39335 w 53657"/>
                  <a:gd name="connsiteY11" fmla="*/ 41622 h 53657"/>
                  <a:gd name="connsiteX12" fmla="*/ 34876 w 53657"/>
                  <a:gd name="connsiteY12" fmla="*/ 41622 h 53657"/>
                  <a:gd name="connsiteX13" fmla="*/ 27386 w 53657"/>
                  <a:gd name="connsiteY13" fmla="*/ 29730 h 53657"/>
                  <a:gd name="connsiteX14" fmla="*/ 20554 w 53657"/>
                  <a:gd name="connsiteY14" fmla="*/ 29730 h 53657"/>
                  <a:gd name="connsiteX15" fmla="*/ 20554 w 53657"/>
                  <a:gd name="connsiteY15" fmla="*/ 41622 h 53657"/>
                  <a:gd name="connsiteX16" fmla="*/ 16809 w 53657"/>
                  <a:gd name="connsiteY16" fmla="*/ 41622 h 53657"/>
                  <a:gd name="connsiteX17" fmla="*/ 16809 w 53657"/>
                  <a:gd name="connsiteY17" fmla="*/ 11549 h 53657"/>
                  <a:gd name="connsiteX18" fmla="*/ 28472 w 53657"/>
                  <a:gd name="connsiteY18" fmla="*/ 11549 h 53657"/>
                  <a:gd name="connsiteX19" fmla="*/ 37963 w 53657"/>
                  <a:gd name="connsiteY19" fmla="*/ 20411 h 53657"/>
                  <a:gd name="connsiteX20" fmla="*/ 31131 w 53657"/>
                  <a:gd name="connsiteY20" fmla="*/ 29101 h 53657"/>
                  <a:gd name="connsiteX21" fmla="*/ 32589 w 53657"/>
                  <a:gd name="connsiteY21" fmla="*/ 31160 h 53657"/>
                  <a:gd name="connsiteX22" fmla="*/ 27214 w 53657"/>
                  <a:gd name="connsiteY22" fmla="*/ 26185 h 53657"/>
                  <a:gd name="connsiteX23" fmla="*/ 34047 w 53657"/>
                  <a:gd name="connsiteY23" fmla="*/ 20640 h 53657"/>
                  <a:gd name="connsiteX24" fmla="*/ 28558 w 53657"/>
                  <a:gd name="connsiteY24" fmla="*/ 15037 h 53657"/>
                  <a:gd name="connsiteX25" fmla="*/ 20525 w 53657"/>
                  <a:gd name="connsiteY25" fmla="*/ 15037 h 53657"/>
                  <a:gd name="connsiteX26" fmla="*/ 20525 w 53657"/>
                  <a:gd name="connsiteY26" fmla="*/ 26157 h 53657"/>
                  <a:gd name="connsiteX27" fmla="*/ 27214 w 53657"/>
                  <a:gd name="connsiteY27" fmla="*/ 26157 h 53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53657" h="53657">
                    <a:moveTo>
                      <a:pt x="53657" y="26786"/>
                    </a:moveTo>
                    <a:cubicBezTo>
                      <a:pt x="53657" y="41708"/>
                      <a:pt x="41708" y="53657"/>
                      <a:pt x="26729" y="53657"/>
                    </a:cubicBezTo>
                    <a:cubicBezTo>
                      <a:pt x="11749" y="53657"/>
                      <a:pt x="0" y="41594"/>
                      <a:pt x="0" y="26786"/>
                    </a:cubicBezTo>
                    <a:cubicBezTo>
                      <a:pt x="0" y="11978"/>
                      <a:pt x="11949" y="0"/>
                      <a:pt x="26814" y="0"/>
                    </a:cubicBezTo>
                    <a:cubicBezTo>
                      <a:pt x="41679" y="0"/>
                      <a:pt x="53629" y="11892"/>
                      <a:pt x="53629" y="26786"/>
                    </a:cubicBezTo>
                    <a:close/>
                    <a:moveTo>
                      <a:pt x="49541" y="26900"/>
                    </a:moveTo>
                    <a:cubicBezTo>
                      <a:pt x="49541" y="14036"/>
                      <a:pt x="39392" y="3831"/>
                      <a:pt x="26843" y="3831"/>
                    </a:cubicBezTo>
                    <a:cubicBezTo>
                      <a:pt x="14293" y="3831"/>
                      <a:pt x="4145" y="13922"/>
                      <a:pt x="4145" y="26872"/>
                    </a:cubicBezTo>
                    <a:cubicBezTo>
                      <a:pt x="4145" y="39821"/>
                      <a:pt x="14408" y="49884"/>
                      <a:pt x="26729" y="49884"/>
                    </a:cubicBezTo>
                    <a:cubicBezTo>
                      <a:pt x="39049" y="49884"/>
                      <a:pt x="49541" y="39736"/>
                      <a:pt x="49541" y="26900"/>
                    </a:cubicBezTo>
                    <a:close/>
                    <a:moveTo>
                      <a:pt x="32589" y="31131"/>
                    </a:moveTo>
                    <a:lnTo>
                      <a:pt x="39335" y="41622"/>
                    </a:lnTo>
                    <a:lnTo>
                      <a:pt x="34876" y="41622"/>
                    </a:lnTo>
                    <a:lnTo>
                      <a:pt x="27386" y="29730"/>
                    </a:lnTo>
                    <a:lnTo>
                      <a:pt x="20554" y="29730"/>
                    </a:lnTo>
                    <a:lnTo>
                      <a:pt x="20554" y="41622"/>
                    </a:lnTo>
                    <a:lnTo>
                      <a:pt x="16809" y="41622"/>
                    </a:lnTo>
                    <a:lnTo>
                      <a:pt x="16809" y="11549"/>
                    </a:lnTo>
                    <a:lnTo>
                      <a:pt x="28472" y="11549"/>
                    </a:lnTo>
                    <a:cubicBezTo>
                      <a:pt x="34218" y="11549"/>
                      <a:pt x="37963" y="14636"/>
                      <a:pt x="37963" y="20411"/>
                    </a:cubicBezTo>
                    <a:cubicBezTo>
                      <a:pt x="37963" y="25071"/>
                      <a:pt x="35133" y="27958"/>
                      <a:pt x="31131" y="29101"/>
                    </a:cubicBezTo>
                    <a:cubicBezTo>
                      <a:pt x="31674" y="29702"/>
                      <a:pt x="32217" y="30445"/>
                      <a:pt x="32589" y="31160"/>
                    </a:cubicBezTo>
                    <a:close/>
                    <a:moveTo>
                      <a:pt x="27214" y="26185"/>
                    </a:moveTo>
                    <a:cubicBezTo>
                      <a:pt x="31445" y="26185"/>
                      <a:pt x="34047" y="24184"/>
                      <a:pt x="34047" y="20640"/>
                    </a:cubicBezTo>
                    <a:cubicBezTo>
                      <a:pt x="34047" y="17095"/>
                      <a:pt x="32246" y="15037"/>
                      <a:pt x="28558" y="15037"/>
                    </a:cubicBezTo>
                    <a:lnTo>
                      <a:pt x="20525" y="15037"/>
                    </a:lnTo>
                    <a:lnTo>
                      <a:pt x="20525" y="26157"/>
                    </a:lnTo>
                    <a:lnTo>
                      <a:pt x="27214" y="26157"/>
                    </a:ln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9E439346-E27B-7B43-4754-B841D446EED2}"/>
                  </a:ext>
                </a:extLst>
              </p:cNvPr>
              <p:cNvSpPr/>
              <p:nvPr/>
            </p:nvSpPr>
            <p:spPr>
              <a:xfrm>
                <a:off x="10283815" y="3011724"/>
                <a:ext cx="68865" cy="342354"/>
              </a:xfrm>
              <a:custGeom>
                <a:avLst/>
                <a:gdLst>
                  <a:gd name="connsiteX0" fmla="*/ 62376 w 68865"/>
                  <a:gd name="connsiteY0" fmla="*/ 0 h 342354"/>
                  <a:gd name="connsiteX1" fmla="*/ 68866 w 68865"/>
                  <a:gd name="connsiteY1" fmla="*/ 6489 h 342354"/>
                  <a:gd name="connsiteX2" fmla="*/ 68866 w 68865"/>
                  <a:gd name="connsiteY2" fmla="*/ 335865 h 342354"/>
                  <a:gd name="connsiteX3" fmla="*/ 62376 w 68865"/>
                  <a:gd name="connsiteY3" fmla="*/ 342355 h 342354"/>
                  <a:gd name="connsiteX4" fmla="*/ 6489 w 68865"/>
                  <a:gd name="connsiteY4" fmla="*/ 342355 h 342354"/>
                  <a:gd name="connsiteX5" fmla="*/ 0 w 68865"/>
                  <a:gd name="connsiteY5" fmla="*/ 335865 h 342354"/>
                  <a:gd name="connsiteX6" fmla="*/ 0 w 68865"/>
                  <a:gd name="connsiteY6" fmla="*/ 6489 h 342354"/>
                  <a:gd name="connsiteX7" fmla="*/ 6489 w 68865"/>
                  <a:gd name="connsiteY7" fmla="*/ 0 h 3423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8865" h="342354">
                    <a:moveTo>
                      <a:pt x="62376" y="0"/>
                    </a:moveTo>
                    <a:cubicBezTo>
                      <a:pt x="65960" y="0"/>
                      <a:pt x="68866" y="2905"/>
                      <a:pt x="68866" y="6489"/>
                    </a:cubicBezTo>
                    <a:lnTo>
                      <a:pt x="68866" y="335865"/>
                    </a:lnTo>
                    <a:cubicBezTo>
                      <a:pt x="68866" y="339449"/>
                      <a:pt x="65960" y="342355"/>
                      <a:pt x="62376" y="342355"/>
                    </a:cubicBezTo>
                    <a:lnTo>
                      <a:pt x="6489" y="342355"/>
                    </a:lnTo>
                    <a:cubicBezTo>
                      <a:pt x="2905" y="342355"/>
                      <a:pt x="0" y="339449"/>
                      <a:pt x="0" y="335865"/>
                    </a:cubicBezTo>
                    <a:lnTo>
                      <a:pt x="0" y="6489"/>
                    </a:lnTo>
                    <a:cubicBezTo>
                      <a:pt x="0" y="2905"/>
                      <a:pt x="2905" y="0"/>
                      <a:pt x="6489" y="0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C8266ACB-848F-0304-8311-A0BDCD0E46B6}"/>
                  </a:ext>
                </a:extLst>
              </p:cNvPr>
              <p:cNvSpPr/>
              <p:nvPr/>
            </p:nvSpPr>
            <p:spPr>
              <a:xfrm>
                <a:off x="10006809" y="3011696"/>
                <a:ext cx="258538" cy="347300"/>
              </a:xfrm>
              <a:custGeom>
                <a:avLst/>
                <a:gdLst>
                  <a:gd name="connsiteX0" fmla="*/ 143734 w 258538"/>
                  <a:gd name="connsiteY0" fmla="*/ 93393 h 347300"/>
                  <a:gd name="connsiteX1" fmla="*/ 68894 w 258538"/>
                  <a:gd name="connsiteY1" fmla="*/ 129755 h 347300"/>
                  <a:gd name="connsiteX2" fmla="*/ 68894 w 258538"/>
                  <a:gd name="connsiteY2" fmla="*/ 6489 h 347300"/>
                  <a:gd name="connsiteX3" fmla="*/ 62405 w 258538"/>
                  <a:gd name="connsiteY3" fmla="*/ 0 h 347300"/>
                  <a:gd name="connsiteX4" fmla="*/ 6489 w 258538"/>
                  <a:gd name="connsiteY4" fmla="*/ 0 h 347300"/>
                  <a:gd name="connsiteX5" fmla="*/ 0 w 258538"/>
                  <a:gd name="connsiteY5" fmla="*/ 6489 h 347300"/>
                  <a:gd name="connsiteX6" fmla="*/ 0 w 258538"/>
                  <a:gd name="connsiteY6" fmla="*/ 335894 h 347300"/>
                  <a:gd name="connsiteX7" fmla="*/ 6489 w 258538"/>
                  <a:gd name="connsiteY7" fmla="*/ 342383 h 347300"/>
                  <a:gd name="connsiteX8" fmla="*/ 62405 w 258538"/>
                  <a:gd name="connsiteY8" fmla="*/ 342383 h 347300"/>
                  <a:gd name="connsiteX9" fmla="*/ 68894 w 258538"/>
                  <a:gd name="connsiteY9" fmla="*/ 335894 h 347300"/>
                  <a:gd name="connsiteX10" fmla="*/ 68894 w 258538"/>
                  <a:gd name="connsiteY10" fmla="*/ 311624 h 347300"/>
                  <a:gd name="connsiteX11" fmla="*/ 144249 w 258538"/>
                  <a:gd name="connsiteY11" fmla="*/ 347300 h 347300"/>
                  <a:gd name="connsiteX12" fmla="*/ 258539 w 258538"/>
                  <a:gd name="connsiteY12" fmla="*/ 220689 h 347300"/>
                  <a:gd name="connsiteX13" fmla="*/ 143763 w 258538"/>
                  <a:gd name="connsiteY13" fmla="*/ 93393 h 347300"/>
                  <a:gd name="connsiteX14" fmla="*/ 130041 w 258538"/>
                  <a:gd name="connsiteY14" fmla="*/ 282637 h 347300"/>
                  <a:gd name="connsiteX15" fmla="*/ 68894 w 258538"/>
                  <a:gd name="connsiteY15" fmla="*/ 220718 h 347300"/>
                  <a:gd name="connsiteX16" fmla="*/ 130041 w 258538"/>
                  <a:gd name="connsiteY16" fmla="*/ 159285 h 347300"/>
                  <a:gd name="connsiteX17" fmla="*/ 190216 w 258538"/>
                  <a:gd name="connsiteY17" fmla="*/ 220718 h 347300"/>
                  <a:gd name="connsiteX18" fmla="*/ 130041 w 258538"/>
                  <a:gd name="connsiteY18" fmla="*/ 282637 h 347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8538" h="347300">
                    <a:moveTo>
                      <a:pt x="143734" y="93393"/>
                    </a:moveTo>
                    <a:cubicBezTo>
                      <a:pt x="111946" y="93393"/>
                      <a:pt x="85503" y="107172"/>
                      <a:pt x="68894" y="129755"/>
                    </a:cubicBezTo>
                    <a:lnTo>
                      <a:pt x="68894" y="6489"/>
                    </a:lnTo>
                    <a:cubicBezTo>
                      <a:pt x="68894" y="2916"/>
                      <a:pt x="65978" y="0"/>
                      <a:pt x="62405" y="0"/>
                    </a:cubicBezTo>
                    <a:lnTo>
                      <a:pt x="6489" y="0"/>
                    </a:lnTo>
                    <a:cubicBezTo>
                      <a:pt x="2916" y="0"/>
                      <a:pt x="0" y="2916"/>
                      <a:pt x="0" y="6489"/>
                    </a:cubicBezTo>
                    <a:lnTo>
                      <a:pt x="0" y="335894"/>
                    </a:lnTo>
                    <a:cubicBezTo>
                      <a:pt x="0" y="339467"/>
                      <a:pt x="2916" y="342383"/>
                      <a:pt x="6489" y="342383"/>
                    </a:cubicBezTo>
                    <a:lnTo>
                      <a:pt x="62405" y="342383"/>
                    </a:lnTo>
                    <a:cubicBezTo>
                      <a:pt x="65978" y="342383"/>
                      <a:pt x="68894" y="339467"/>
                      <a:pt x="68894" y="335894"/>
                    </a:cubicBezTo>
                    <a:lnTo>
                      <a:pt x="68894" y="311624"/>
                    </a:lnTo>
                    <a:cubicBezTo>
                      <a:pt x="85532" y="334236"/>
                      <a:pt x="111946" y="347300"/>
                      <a:pt x="144249" y="347300"/>
                    </a:cubicBezTo>
                    <a:cubicBezTo>
                      <a:pt x="212257" y="347300"/>
                      <a:pt x="258539" y="292442"/>
                      <a:pt x="258539" y="220689"/>
                    </a:cubicBezTo>
                    <a:cubicBezTo>
                      <a:pt x="258539" y="148937"/>
                      <a:pt x="212257" y="93393"/>
                      <a:pt x="143763" y="93393"/>
                    </a:cubicBezTo>
                    <a:close/>
                    <a:moveTo>
                      <a:pt x="130041" y="282637"/>
                    </a:moveTo>
                    <a:cubicBezTo>
                      <a:pt x="94822" y="282637"/>
                      <a:pt x="68894" y="254136"/>
                      <a:pt x="68894" y="220718"/>
                    </a:cubicBezTo>
                    <a:cubicBezTo>
                      <a:pt x="68894" y="187300"/>
                      <a:pt x="94822" y="159285"/>
                      <a:pt x="130041" y="159285"/>
                    </a:cubicBezTo>
                    <a:cubicBezTo>
                      <a:pt x="165260" y="159285"/>
                      <a:pt x="190216" y="187300"/>
                      <a:pt x="190216" y="220718"/>
                    </a:cubicBezTo>
                    <a:cubicBezTo>
                      <a:pt x="190216" y="254136"/>
                      <a:pt x="164774" y="282637"/>
                      <a:pt x="130041" y="282637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38D8C612-2A8E-BFD2-7DC1-BE975248995C}"/>
                  </a:ext>
                </a:extLst>
              </p:cNvPr>
              <p:cNvSpPr/>
              <p:nvPr/>
            </p:nvSpPr>
            <p:spPr>
              <a:xfrm>
                <a:off x="9736922" y="3105088"/>
                <a:ext cx="251792" cy="253935"/>
              </a:xfrm>
              <a:custGeom>
                <a:avLst/>
                <a:gdLst>
                  <a:gd name="connsiteX0" fmla="*/ 125896 w 251792"/>
                  <a:gd name="connsiteY0" fmla="*/ 0 h 253935"/>
                  <a:gd name="connsiteX1" fmla="*/ 0 w 251792"/>
                  <a:gd name="connsiteY1" fmla="*/ 126725 h 253935"/>
                  <a:gd name="connsiteX2" fmla="*/ 125896 w 251792"/>
                  <a:gd name="connsiteY2" fmla="*/ 253936 h 253935"/>
                  <a:gd name="connsiteX3" fmla="*/ 251792 w 251792"/>
                  <a:gd name="connsiteY3" fmla="*/ 126725 h 253935"/>
                  <a:gd name="connsiteX4" fmla="*/ 125896 w 251792"/>
                  <a:gd name="connsiteY4" fmla="*/ 0 h 253935"/>
                  <a:gd name="connsiteX5" fmla="*/ 126153 w 251792"/>
                  <a:gd name="connsiteY5" fmla="*/ 188558 h 253935"/>
                  <a:gd name="connsiteX6" fmla="*/ 65378 w 251792"/>
                  <a:gd name="connsiteY6" fmla="*/ 126725 h 253935"/>
                  <a:gd name="connsiteX7" fmla="*/ 126153 w 251792"/>
                  <a:gd name="connsiteY7" fmla="*/ 65378 h 253935"/>
                  <a:gd name="connsiteX8" fmla="*/ 186443 w 251792"/>
                  <a:gd name="connsiteY8" fmla="*/ 126725 h 253935"/>
                  <a:gd name="connsiteX9" fmla="*/ 126153 w 251792"/>
                  <a:gd name="connsiteY9" fmla="*/ 188558 h 253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1792" h="253935">
                    <a:moveTo>
                      <a:pt x="125896" y="0"/>
                    </a:moveTo>
                    <a:cubicBezTo>
                      <a:pt x="54944" y="0"/>
                      <a:pt x="0" y="55287"/>
                      <a:pt x="0" y="126725"/>
                    </a:cubicBezTo>
                    <a:cubicBezTo>
                      <a:pt x="0" y="198163"/>
                      <a:pt x="54915" y="253936"/>
                      <a:pt x="125896" y="253936"/>
                    </a:cubicBezTo>
                    <a:cubicBezTo>
                      <a:pt x="196877" y="253936"/>
                      <a:pt x="251792" y="198163"/>
                      <a:pt x="251792" y="126725"/>
                    </a:cubicBezTo>
                    <a:cubicBezTo>
                      <a:pt x="251792" y="55287"/>
                      <a:pt x="196877" y="0"/>
                      <a:pt x="125896" y="0"/>
                    </a:cubicBezTo>
                    <a:close/>
                    <a:moveTo>
                      <a:pt x="126153" y="188558"/>
                    </a:moveTo>
                    <a:cubicBezTo>
                      <a:pt x="91506" y="188558"/>
                      <a:pt x="65378" y="160314"/>
                      <a:pt x="65378" y="126725"/>
                    </a:cubicBezTo>
                    <a:cubicBezTo>
                      <a:pt x="65378" y="93136"/>
                      <a:pt x="91506" y="65378"/>
                      <a:pt x="126153" y="65378"/>
                    </a:cubicBezTo>
                    <a:cubicBezTo>
                      <a:pt x="160801" y="65378"/>
                      <a:pt x="186443" y="93136"/>
                      <a:pt x="186443" y="126725"/>
                    </a:cubicBezTo>
                    <a:cubicBezTo>
                      <a:pt x="186443" y="160314"/>
                      <a:pt x="161315" y="188558"/>
                      <a:pt x="126153" y="188558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B17C92C7-6735-D736-1C20-27200DA3893E}"/>
                  </a:ext>
                </a:extLst>
              </p:cNvPr>
              <p:cNvSpPr/>
              <p:nvPr/>
            </p:nvSpPr>
            <p:spPr>
              <a:xfrm>
                <a:off x="10370776" y="3105088"/>
                <a:ext cx="251792" cy="253935"/>
              </a:xfrm>
              <a:custGeom>
                <a:avLst/>
                <a:gdLst>
                  <a:gd name="connsiteX0" fmla="*/ 125896 w 251792"/>
                  <a:gd name="connsiteY0" fmla="*/ 0 h 253935"/>
                  <a:gd name="connsiteX1" fmla="*/ 0 w 251792"/>
                  <a:gd name="connsiteY1" fmla="*/ 126725 h 253935"/>
                  <a:gd name="connsiteX2" fmla="*/ 125896 w 251792"/>
                  <a:gd name="connsiteY2" fmla="*/ 253936 h 253935"/>
                  <a:gd name="connsiteX3" fmla="*/ 251792 w 251792"/>
                  <a:gd name="connsiteY3" fmla="*/ 126725 h 253935"/>
                  <a:gd name="connsiteX4" fmla="*/ 125896 w 251792"/>
                  <a:gd name="connsiteY4" fmla="*/ 0 h 253935"/>
                  <a:gd name="connsiteX5" fmla="*/ 126153 w 251792"/>
                  <a:gd name="connsiteY5" fmla="*/ 188558 h 253935"/>
                  <a:gd name="connsiteX6" fmla="*/ 65378 w 251792"/>
                  <a:gd name="connsiteY6" fmla="*/ 126725 h 253935"/>
                  <a:gd name="connsiteX7" fmla="*/ 126153 w 251792"/>
                  <a:gd name="connsiteY7" fmla="*/ 65378 h 253935"/>
                  <a:gd name="connsiteX8" fmla="*/ 186443 w 251792"/>
                  <a:gd name="connsiteY8" fmla="*/ 126725 h 253935"/>
                  <a:gd name="connsiteX9" fmla="*/ 126153 w 251792"/>
                  <a:gd name="connsiteY9" fmla="*/ 188558 h 253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1792" h="253935">
                    <a:moveTo>
                      <a:pt x="125896" y="0"/>
                    </a:moveTo>
                    <a:cubicBezTo>
                      <a:pt x="54944" y="0"/>
                      <a:pt x="0" y="55287"/>
                      <a:pt x="0" y="126725"/>
                    </a:cubicBezTo>
                    <a:cubicBezTo>
                      <a:pt x="0" y="198163"/>
                      <a:pt x="54915" y="253936"/>
                      <a:pt x="125896" y="253936"/>
                    </a:cubicBezTo>
                    <a:cubicBezTo>
                      <a:pt x="196877" y="253936"/>
                      <a:pt x="251792" y="198163"/>
                      <a:pt x="251792" y="126725"/>
                    </a:cubicBezTo>
                    <a:cubicBezTo>
                      <a:pt x="251792" y="55287"/>
                      <a:pt x="196877" y="0"/>
                      <a:pt x="125896" y="0"/>
                    </a:cubicBezTo>
                    <a:close/>
                    <a:moveTo>
                      <a:pt x="126153" y="188558"/>
                    </a:moveTo>
                    <a:cubicBezTo>
                      <a:pt x="91506" y="188558"/>
                      <a:pt x="65378" y="160314"/>
                      <a:pt x="65378" y="126725"/>
                    </a:cubicBezTo>
                    <a:cubicBezTo>
                      <a:pt x="65378" y="93136"/>
                      <a:pt x="91506" y="65378"/>
                      <a:pt x="126153" y="65378"/>
                    </a:cubicBezTo>
                    <a:cubicBezTo>
                      <a:pt x="160801" y="65378"/>
                      <a:pt x="186443" y="93136"/>
                      <a:pt x="186443" y="126725"/>
                    </a:cubicBezTo>
                    <a:cubicBezTo>
                      <a:pt x="186443" y="160314"/>
                      <a:pt x="161315" y="188558"/>
                      <a:pt x="126153" y="188558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C9EF28E3-9229-27FB-75F2-46D56E75A829}"/>
                  </a:ext>
                </a:extLst>
              </p:cNvPr>
              <p:cNvSpPr/>
              <p:nvPr/>
            </p:nvSpPr>
            <p:spPr>
              <a:xfrm>
                <a:off x="9242171" y="3110092"/>
                <a:ext cx="68865" cy="243987"/>
              </a:xfrm>
              <a:custGeom>
                <a:avLst/>
                <a:gdLst>
                  <a:gd name="connsiteX0" fmla="*/ 62405 w 68865"/>
                  <a:gd name="connsiteY0" fmla="*/ 243987 h 243987"/>
                  <a:gd name="connsiteX1" fmla="*/ 6489 w 68865"/>
                  <a:gd name="connsiteY1" fmla="*/ 243987 h 243987"/>
                  <a:gd name="connsiteX2" fmla="*/ 0 w 68865"/>
                  <a:gd name="connsiteY2" fmla="*/ 237498 h 243987"/>
                  <a:gd name="connsiteX3" fmla="*/ 0 w 68865"/>
                  <a:gd name="connsiteY3" fmla="*/ 63891 h 243987"/>
                  <a:gd name="connsiteX4" fmla="*/ 3888 w 68865"/>
                  <a:gd name="connsiteY4" fmla="*/ 54629 h 243987"/>
                  <a:gd name="connsiteX5" fmla="*/ 57860 w 68865"/>
                  <a:gd name="connsiteY5" fmla="*/ 1858 h 243987"/>
                  <a:gd name="connsiteX6" fmla="*/ 68866 w 68865"/>
                  <a:gd name="connsiteY6" fmla="*/ 6489 h 243987"/>
                  <a:gd name="connsiteX7" fmla="*/ 68866 w 68865"/>
                  <a:gd name="connsiteY7" fmla="*/ 237498 h 243987"/>
                  <a:gd name="connsiteX8" fmla="*/ 62376 w 68865"/>
                  <a:gd name="connsiteY8" fmla="*/ 243987 h 243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8865" h="243987">
                    <a:moveTo>
                      <a:pt x="62405" y="243987"/>
                    </a:moveTo>
                    <a:lnTo>
                      <a:pt x="6489" y="243987"/>
                    </a:lnTo>
                    <a:cubicBezTo>
                      <a:pt x="2916" y="243987"/>
                      <a:pt x="0" y="241071"/>
                      <a:pt x="0" y="237498"/>
                    </a:cubicBezTo>
                    <a:lnTo>
                      <a:pt x="0" y="63891"/>
                    </a:lnTo>
                    <a:cubicBezTo>
                      <a:pt x="0" y="60403"/>
                      <a:pt x="1401" y="57059"/>
                      <a:pt x="3888" y="54629"/>
                    </a:cubicBezTo>
                    <a:lnTo>
                      <a:pt x="57860" y="1858"/>
                    </a:lnTo>
                    <a:cubicBezTo>
                      <a:pt x="61976" y="-2144"/>
                      <a:pt x="68866" y="743"/>
                      <a:pt x="68866" y="6489"/>
                    </a:cubicBezTo>
                    <a:lnTo>
                      <a:pt x="68866" y="237498"/>
                    </a:lnTo>
                    <a:cubicBezTo>
                      <a:pt x="68866" y="241071"/>
                      <a:pt x="65950" y="243987"/>
                      <a:pt x="62376" y="243987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E7C0F6DD-830E-3400-95E1-E2ED0EC2694C}"/>
                  </a:ext>
                </a:extLst>
              </p:cNvPr>
              <p:cNvSpPr/>
              <p:nvPr/>
            </p:nvSpPr>
            <p:spPr>
              <a:xfrm>
                <a:off x="9347255" y="3105025"/>
                <a:ext cx="224777" cy="249082"/>
              </a:xfrm>
              <a:custGeom>
                <a:avLst/>
                <a:gdLst>
                  <a:gd name="connsiteX0" fmla="*/ 224749 w 224777"/>
                  <a:gd name="connsiteY0" fmla="*/ 87568 h 249082"/>
                  <a:gd name="connsiteX1" fmla="*/ 136416 w 224777"/>
                  <a:gd name="connsiteY1" fmla="*/ 6 h 249082"/>
                  <a:gd name="connsiteX2" fmla="*/ 68894 w 224777"/>
                  <a:gd name="connsiteY2" fmla="*/ 36540 h 249082"/>
                  <a:gd name="connsiteX3" fmla="*/ 68894 w 224777"/>
                  <a:gd name="connsiteY3" fmla="*/ 11670 h 249082"/>
                  <a:gd name="connsiteX4" fmla="*/ 62405 w 224777"/>
                  <a:gd name="connsiteY4" fmla="*/ 5181 h 249082"/>
                  <a:gd name="connsiteX5" fmla="*/ 6489 w 224777"/>
                  <a:gd name="connsiteY5" fmla="*/ 5181 h 249082"/>
                  <a:gd name="connsiteX6" fmla="*/ 0 w 224777"/>
                  <a:gd name="connsiteY6" fmla="*/ 11670 h 249082"/>
                  <a:gd name="connsiteX7" fmla="*/ 0 w 224777"/>
                  <a:gd name="connsiteY7" fmla="*/ 242565 h 249082"/>
                  <a:gd name="connsiteX8" fmla="*/ 6489 w 224777"/>
                  <a:gd name="connsiteY8" fmla="*/ 249054 h 249082"/>
                  <a:gd name="connsiteX9" fmla="*/ 62405 w 224777"/>
                  <a:gd name="connsiteY9" fmla="*/ 249054 h 249082"/>
                  <a:gd name="connsiteX10" fmla="*/ 68894 w 224777"/>
                  <a:gd name="connsiteY10" fmla="*/ 242565 h 249082"/>
                  <a:gd name="connsiteX11" fmla="*/ 68894 w 224777"/>
                  <a:gd name="connsiteY11" fmla="*/ 108293 h 249082"/>
                  <a:gd name="connsiteX12" fmla="*/ 112375 w 224777"/>
                  <a:gd name="connsiteY12" fmla="*/ 66385 h 249082"/>
                  <a:gd name="connsiteX13" fmla="*/ 155884 w 224777"/>
                  <a:gd name="connsiteY13" fmla="*/ 111266 h 249082"/>
                  <a:gd name="connsiteX14" fmla="*/ 155884 w 224777"/>
                  <a:gd name="connsiteY14" fmla="*/ 242593 h 249082"/>
                  <a:gd name="connsiteX15" fmla="*/ 162373 w 224777"/>
                  <a:gd name="connsiteY15" fmla="*/ 249083 h 249082"/>
                  <a:gd name="connsiteX16" fmla="*/ 218289 w 224777"/>
                  <a:gd name="connsiteY16" fmla="*/ 249083 h 249082"/>
                  <a:gd name="connsiteX17" fmla="*/ 224778 w 224777"/>
                  <a:gd name="connsiteY17" fmla="*/ 242593 h 249082"/>
                  <a:gd name="connsiteX18" fmla="*/ 224778 w 224777"/>
                  <a:gd name="connsiteY18" fmla="*/ 87596 h 249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4777" h="249082">
                    <a:moveTo>
                      <a:pt x="224749" y="87568"/>
                    </a:moveTo>
                    <a:cubicBezTo>
                      <a:pt x="224749" y="40257"/>
                      <a:pt x="185671" y="578"/>
                      <a:pt x="136416" y="6"/>
                    </a:cubicBezTo>
                    <a:cubicBezTo>
                      <a:pt x="104370" y="-365"/>
                      <a:pt x="82730" y="15329"/>
                      <a:pt x="68894" y="36540"/>
                    </a:cubicBezTo>
                    <a:lnTo>
                      <a:pt x="68894" y="11670"/>
                    </a:lnTo>
                    <a:cubicBezTo>
                      <a:pt x="68894" y="8097"/>
                      <a:pt x="65978" y="5181"/>
                      <a:pt x="62405" y="5181"/>
                    </a:cubicBezTo>
                    <a:lnTo>
                      <a:pt x="6489" y="5181"/>
                    </a:lnTo>
                    <a:cubicBezTo>
                      <a:pt x="2916" y="5181"/>
                      <a:pt x="0" y="8097"/>
                      <a:pt x="0" y="11670"/>
                    </a:cubicBezTo>
                    <a:lnTo>
                      <a:pt x="0" y="242565"/>
                    </a:lnTo>
                    <a:cubicBezTo>
                      <a:pt x="0" y="246138"/>
                      <a:pt x="2916" y="249054"/>
                      <a:pt x="6489" y="249054"/>
                    </a:cubicBezTo>
                    <a:lnTo>
                      <a:pt x="62405" y="249054"/>
                    </a:lnTo>
                    <a:cubicBezTo>
                      <a:pt x="65978" y="249054"/>
                      <a:pt x="68894" y="246138"/>
                      <a:pt x="68894" y="242565"/>
                    </a:cubicBezTo>
                    <a:lnTo>
                      <a:pt x="68894" y="108293"/>
                    </a:lnTo>
                    <a:cubicBezTo>
                      <a:pt x="70438" y="82451"/>
                      <a:pt x="86818" y="66385"/>
                      <a:pt x="112375" y="66385"/>
                    </a:cubicBezTo>
                    <a:cubicBezTo>
                      <a:pt x="137931" y="66385"/>
                      <a:pt x="155884" y="84423"/>
                      <a:pt x="155884" y="111266"/>
                    </a:cubicBezTo>
                    <a:lnTo>
                      <a:pt x="155884" y="242593"/>
                    </a:lnTo>
                    <a:cubicBezTo>
                      <a:pt x="155884" y="246167"/>
                      <a:pt x="158800" y="249083"/>
                      <a:pt x="162373" y="249083"/>
                    </a:cubicBezTo>
                    <a:lnTo>
                      <a:pt x="218289" y="249083"/>
                    </a:lnTo>
                    <a:cubicBezTo>
                      <a:pt x="221862" y="249083"/>
                      <a:pt x="224778" y="246167"/>
                      <a:pt x="224778" y="242593"/>
                    </a:cubicBezTo>
                    <a:lnTo>
                      <a:pt x="224778" y="87596"/>
                    </a:ln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58CD8E0-C4FA-BEDC-5938-36BDD273715D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536658" y="1770018"/>
            <a:ext cx="5472112" cy="1692001"/>
          </a:xfrm>
          <a:prstGeom prst="rect">
            <a:avLst/>
          </a:prstGeom>
        </p:spPr>
        <p:txBody>
          <a:bodyPr anchor="b" anchorCtr="0"/>
          <a:lstStyle>
            <a:lvl1pPr algn="l">
              <a:defRPr sz="3800" b="1" i="0" cap="all" baseline="0">
                <a:solidFill>
                  <a:schemeClr val="tx1"/>
                </a:solidFill>
                <a:latin typeface="Lato" panose="020F0502020204030203" pitchFamily="34" charset="77"/>
              </a:defRPr>
            </a:lvl1pPr>
          </a:lstStyle>
          <a:p>
            <a:r>
              <a:rPr lang="en-US" dirty="0"/>
              <a:t>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F514931-92B9-1384-0FE7-44734F85020E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536658" y="3589681"/>
            <a:ext cx="5472112" cy="1406620"/>
          </a:xfrm>
          <a:prstGeom prst="rect">
            <a:avLst/>
          </a:prstGeom>
        </p:spPr>
        <p:txBody>
          <a:bodyPr anchor="t" anchorCtr="0"/>
          <a:lstStyle>
            <a:lvl1pPr marL="0" indent="0" algn="l">
              <a:buNone/>
              <a:defRPr sz="2200" b="0" i="0" cap="all" baseline="0">
                <a:solidFill>
                  <a:schemeClr val="tx1"/>
                </a:solidFill>
                <a:latin typeface="Lato" panose="020F0502020204030203" pitchFamily="34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002037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2 Matr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F58C9AF6-FFC9-E3AC-41E9-89A76203C490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1122821" y="6467484"/>
            <a:ext cx="799740" cy="170885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EF0D9C6-F32B-2472-DEF5-74D8D7976532}"/>
              </a:ext>
            </a:extLst>
          </p:cNvPr>
          <p:cNvCxnSpPr>
            <a:cxnSpLocks/>
          </p:cNvCxnSpPr>
          <p:nvPr userDrawn="1"/>
        </p:nvCxnSpPr>
        <p:spPr>
          <a:xfrm>
            <a:off x="8032750" y="0"/>
            <a:ext cx="0" cy="6858000"/>
          </a:xfrm>
          <a:prstGeom prst="line">
            <a:avLst/>
          </a:prstGeom>
          <a:ln w="25400" cap="rnd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B5CADD08-7315-7C02-09DA-32756C00D086}"/>
              </a:ext>
            </a:extLst>
          </p:cNvPr>
          <p:cNvSpPr/>
          <p:nvPr userDrawn="1"/>
        </p:nvSpPr>
        <p:spPr>
          <a:xfrm>
            <a:off x="4285672" y="635000"/>
            <a:ext cx="7495429" cy="5321300"/>
          </a:xfrm>
          <a:prstGeom prst="rect">
            <a:avLst/>
          </a:prstGeom>
          <a:solidFill>
            <a:srgbClr val="D9E1E2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b="0" i="0" dirty="0">
              <a:latin typeface="Lato" panose="020F0502020204030203" pitchFamily="34" charset="77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D52A04D-B658-6C27-0FAD-7238BE9D1AFE}"/>
              </a:ext>
            </a:extLst>
          </p:cNvPr>
          <p:cNvCxnSpPr>
            <a:cxnSpLocks/>
          </p:cNvCxnSpPr>
          <p:nvPr userDrawn="1"/>
        </p:nvCxnSpPr>
        <p:spPr>
          <a:xfrm>
            <a:off x="8033386" y="669686"/>
            <a:ext cx="0" cy="5251928"/>
          </a:xfrm>
          <a:prstGeom prst="line">
            <a:avLst/>
          </a:prstGeom>
          <a:ln w="25400" cap="rnd">
            <a:solidFill>
              <a:schemeClr val="accent2">
                <a:lumMod val="75000"/>
                <a:alpha val="7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56B9187-A4FB-6740-9726-97B255E3F694}"/>
              </a:ext>
            </a:extLst>
          </p:cNvPr>
          <p:cNvCxnSpPr>
            <a:cxnSpLocks/>
          </p:cNvCxnSpPr>
          <p:nvPr userDrawn="1"/>
        </p:nvCxnSpPr>
        <p:spPr>
          <a:xfrm flipH="1">
            <a:off x="4285672" y="3295650"/>
            <a:ext cx="3703783" cy="0"/>
          </a:xfrm>
          <a:prstGeom prst="line">
            <a:avLst/>
          </a:prstGeom>
          <a:ln w="25400" cap="rnd">
            <a:solidFill>
              <a:schemeClr val="accent2">
                <a:lumMod val="75000"/>
                <a:alpha val="7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C8EB80D9-932C-22EB-E572-DFB7A08969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7332" y="2857500"/>
            <a:ext cx="2943939" cy="112278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>
              <a:defRPr kumimoji="0" lang="en-US" sz="3400" b="1" i="0" u="none" strike="noStrike" cap="all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Lato" panose="020F0502020204030203" pitchFamily="34" charset="77"/>
                <a:ea typeface="Lato" panose="020F0502020204030203" pitchFamily="34" charset="77"/>
                <a:cs typeface="Arial" panose="020B0604020202020204" pitchFamily="34" charset="0"/>
              </a:defRPr>
            </a:lvl1pPr>
          </a:lstStyle>
          <a:p>
            <a:pPr marL="0"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dirty="0"/>
              <a:t>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F8111B5-0E66-9B07-2831-64F4D2E6A532}"/>
              </a:ext>
            </a:extLst>
          </p:cNvPr>
          <p:cNvCxnSpPr>
            <a:cxnSpLocks/>
          </p:cNvCxnSpPr>
          <p:nvPr userDrawn="1"/>
        </p:nvCxnSpPr>
        <p:spPr>
          <a:xfrm flipH="1">
            <a:off x="8040373" y="3295650"/>
            <a:ext cx="3703783" cy="0"/>
          </a:xfrm>
          <a:prstGeom prst="line">
            <a:avLst/>
          </a:prstGeom>
          <a:ln w="25400" cap="rnd">
            <a:solidFill>
              <a:schemeClr val="accent2">
                <a:lumMod val="75000"/>
                <a:alpha val="7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4CD42DE4-2EB2-C3C3-D885-909029B40D88}"/>
              </a:ext>
            </a:extLst>
          </p:cNvPr>
          <p:cNvSpPr>
            <a:spLocks noGrp="1"/>
          </p:cNvSpPr>
          <p:nvPr>
            <p:ph type="body" sz="half" idx="17"/>
          </p:nvPr>
        </p:nvSpPr>
        <p:spPr>
          <a:xfrm>
            <a:off x="4591050" y="890635"/>
            <a:ext cx="3190578" cy="58718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indent="0">
              <a:spcBef>
                <a:spcPts val="600"/>
              </a:spcBef>
              <a:buClr>
                <a:srgbClr val="00BD4D"/>
              </a:buClr>
              <a:buFont typeface="Arial" panose="020B0604020202020204" pitchFamily="34" charset="0"/>
              <a:buNone/>
              <a:defRPr lang="en-US" sz="1800" b="0" i="0" cap="all" baseline="0" dirty="0">
                <a:solidFill>
                  <a:schemeClr val="tx1"/>
                </a:solidFill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GB"/>
              <a:t>Click to edit Master text styles</a:t>
            </a:r>
          </a:p>
        </p:txBody>
      </p:sp>
      <p:sp>
        <p:nvSpPr>
          <p:cNvPr id="15" name="Text Placeholder 33">
            <a:extLst>
              <a:ext uri="{FF2B5EF4-FFF2-40B4-BE49-F238E27FC236}">
                <a16:creationId xmlns:a16="http://schemas.microsoft.com/office/drawing/2014/main" id="{AE2F5A95-69DA-93AE-FC43-FE9CD7DD669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91050" y="1625600"/>
            <a:ext cx="3190574" cy="1385455"/>
          </a:xfrm>
          <a:prstGeom prst="rect">
            <a:avLst/>
          </a:prstGeom>
        </p:spPr>
        <p:txBody>
          <a:bodyPr/>
          <a:lstStyle>
            <a:lvl1pPr marL="216000" indent="-216000">
              <a:buClr>
                <a:schemeClr val="accent1"/>
              </a:buClr>
              <a:defRPr sz="1600" b="0" i="0">
                <a:solidFill>
                  <a:schemeClr val="tx1"/>
                </a:solidFill>
                <a:latin typeface="Lato" panose="020F0502020204030203" pitchFamily="34" charset="77"/>
              </a:defRPr>
            </a:lvl1pPr>
            <a:lvl2pPr marL="457200" indent="0">
              <a:buNone/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70A9E867-D848-8B4C-4030-85180C187745}"/>
              </a:ext>
            </a:extLst>
          </p:cNvPr>
          <p:cNvSpPr>
            <a:spLocks noGrp="1"/>
          </p:cNvSpPr>
          <p:nvPr>
            <p:ph type="body" sz="half" idx="19"/>
          </p:nvPr>
        </p:nvSpPr>
        <p:spPr>
          <a:xfrm>
            <a:off x="8283420" y="890635"/>
            <a:ext cx="3190578" cy="58718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indent="0">
              <a:spcBef>
                <a:spcPts val="600"/>
              </a:spcBef>
              <a:buClr>
                <a:srgbClr val="00BD4D"/>
              </a:buClr>
              <a:buFont typeface="Arial" panose="020B0604020202020204" pitchFamily="34" charset="0"/>
              <a:buNone/>
              <a:defRPr lang="en-US" sz="1800" b="0" i="0" cap="all" baseline="0" dirty="0">
                <a:solidFill>
                  <a:schemeClr val="tx1"/>
                </a:solidFill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GB"/>
              <a:t>Click to edit Master text styles</a:t>
            </a:r>
          </a:p>
        </p:txBody>
      </p:sp>
      <p:sp>
        <p:nvSpPr>
          <p:cNvPr id="17" name="Text Placeholder 33">
            <a:extLst>
              <a:ext uri="{FF2B5EF4-FFF2-40B4-BE49-F238E27FC236}">
                <a16:creationId xmlns:a16="http://schemas.microsoft.com/office/drawing/2014/main" id="{E249CA5F-5A31-A15D-D6DF-89127F95558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83420" y="1625600"/>
            <a:ext cx="3190574" cy="1385455"/>
          </a:xfrm>
          <a:prstGeom prst="rect">
            <a:avLst/>
          </a:prstGeom>
        </p:spPr>
        <p:txBody>
          <a:bodyPr/>
          <a:lstStyle>
            <a:lvl1pPr marL="216000" indent="-216000">
              <a:buClr>
                <a:schemeClr val="accent1"/>
              </a:buClr>
              <a:defRPr sz="1600" b="0" i="0">
                <a:solidFill>
                  <a:schemeClr val="tx1"/>
                </a:solidFill>
                <a:latin typeface="Lato" panose="020F0502020204030203" pitchFamily="34" charset="77"/>
              </a:defRPr>
            </a:lvl1pPr>
            <a:lvl2pPr marL="457200" indent="0">
              <a:buNone/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33">
            <a:extLst>
              <a:ext uri="{FF2B5EF4-FFF2-40B4-BE49-F238E27FC236}">
                <a16:creationId xmlns:a16="http://schemas.microsoft.com/office/drawing/2014/main" id="{1C29F559-E4A5-6BD9-919A-AB235DC73AE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 rot="16200000">
            <a:off x="1367065" y="3166996"/>
            <a:ext cx="5321300" cy="257307"/>
          </a:xfrm>
          <a:prstGeom prst="rect">
            <a:avLst/>
          </a:prstGeom>
        </p:spPr>
        <p:txBody>
          <a:bodyPr anchor="ctr"/>
          <a:lstStyle>
            <a:lvl1pPr marL="0" indent="0" algn="ctr">
              <a:buClr>
                <a:schemeClr val="accent1"/>
              </a:buClr>
              <a:buNone/>
              <a:defRPr sz="1400" b="0" i="0">
                <a:solidFill>
                  <a:schemeClr val="tx1"/>
                </a:solidFill>
                <a:latin typeface="Lato" panose="020F0502020204030203" pitchFamily="34" charset="77"/>
              </a:defRPr>
            </a:lvl1pPr>
            <a:lvl2pPr marL="457200" indent="0">
              <a:buNone/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46029532-7D2B-444A-74DF-FB59DBCDB2B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230253" y="6022781"/>
            <a:ext cx="7550847" cy="257307"/>
          </a:xfrm>
          <a:prstGeom prst="rect">
            <a:avLst/>
          </a:prstGeom>
        </p:spPr>
        <p:txBody>
          <a:bodyPr anchor="ctr"/>
          <a:lstStyle>
            <a:lvl1pPr marL="0" indent="0" algn="ctr">
              <a:buClr>
                <a:schemeClr val="accent1"/>
              </a:buClr>
              <a:buNone/>
              <a:defRPr sz="1400" b="0" i="0">
                <a:solidFill>
                  <a:schemeClr val="tx1"/>
                </a:solidFill>
                <a:latin typeface="Lato" panose="020F0502020204030203" pitchFamily="34" charset="77"/>
              </a:defRPr>
            </a:lvl1pPr>
            <a:lvl2pPr marL="457200" indent="0">
              <a:buNone/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22573521-AD0A-0460-C26B-03EDF1D7CA95}"/>
              </a:ext>
            </a:extLst>
          </p:cNvPr>
          <p:cNvSpPr>
            <a:spLocks noGrp="1"/>
          </p:cNvSpPr>
          <p:nvPr>
            <p:ph type="body" sz="half" idx="23"/>
          </p:nvPr>
        </p:nvSpPr>
        <p:spPr>
          <a:xfrm>
            <a:off x="4591050" y="3478762"/>
            <a:ext cx="3190578" cy="58718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indent="0">
              <a:spcBef>
                <a:spcPts val="600"/>
              </a:spcBef>
              <a:buClr>
                <a:srgbClr val="00BD4D"/>
              </a:buClr>
              <a:buFont typeface="Arial" panose="020B0604020202020204" pitchFamily="34" charset="0"/>
              <a:buNone/>
              <a:defRPr lang="en-US" sz="1800" b="0" i="0" cap="all" baseline="0" dirty="0">
                <a:solidFill>
                  <a:schemeClr val="tx1"/>
                </a:solidFill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GB"/>
              <a:t>Click to edit Master text styles</a:t>
            </a:r>
          </a:p>
        </p:txBody>
      </p:sp>
      <p:sp>
        <p:nvSpPr>
          <p:cNvPr id="22" name="Text Placeholder 33">
            <a:extLst>
              <a:ext uri="{FF2B5EF4-FFF2-40B4-BE49-F238E27FC236}">
                <a16:creationId xmlns:a16="http://schemas.microsoft.com/office/drawing/2014/main" id="{C893B2AD-970F-3CAE-1D7F-375B5546C43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91050" y="4213727"/>
            <a:ext cx="3190574" cy="1385455"/>
          </a:xfrm>
          <a:prstGeom prst="rect">
            <a:avLst/>
          </a:prstGeom>
        </p:spPr>
        <p:txBody>
          <a:bodyPr/>
          <a:lstStyle>
            <a:lvl1pPr marL="216000" indent="-216000">
              <a:buClr>
                <a:schemeClr val="accent1"/>
              </a:buClr>
              <a:defRPr sz="1600" b="0" i="0">
                <a:solidFill>
                  <a:schemeClr val="tx1"/>
                </a:solidFill>
                <a:latin typeface="Lato" panose="020F0502020204030203" pitchFamily="34" charset="77"/>
              </a:defRPr>
            </a:lvl1pPr>
            <a:lvl2pPr marL="457200" indent="0">
              <a:buNone/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8E165AF0-E6D6-D92B-A5DD-8794DFCB9A21}"/>
              </a:ext>
            </a:extLst>
          </p:cNvPr>
          <p:cNvSpPr>
            <a:spLocks noGrp="1"/>
          </p:cNvSpPr>
          <p:nvPr>
            <p:ph type="body" sz="half" idx="25"/>
          </p:nvPr>
        </p:nvSpPr>
        <p:spPr>
          <a:xfrm>
            <a:off x="8283420" y="3478762"/>
            <a:ext cx="3190578" cy="58718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indent="0">
              <a:spcBef>
                <a:spcPts val="600"/>
              </a:spcBef>
              <a:buClr>
                <a:srgbClr val="00BD4D"/>
              </a:buClr>
              <a:buFont typeface="Arial" panose="020B0604020202020204" pitchFamily="34" charset="0"/>
              <a:buNone/>
              <a:defRPr lang="en-US" sz="1800" b="0" i="0" cap="all" baseline="0" dirty="0">
                <a:solidFill>
                  <a:schemeClr val="tx1"/>
                </a:solidFill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GB"/>
              <a:t>Click to edit Master text styles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9285414F-D593-2C73-0736-21DE9311B6E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283420" y="4213727"/>
            <a:ext cx="3190574" cy="1385455"/>
          </a:xfrm>
          <a:prstGeom prst="rect">
            <a:avLst/>
          </a:prstGeom>
        </p:spPr>
        <p:txBody>
          <a:bodyPr/>
          <a:lstStyle>
            <a:lvl1pPr marL="216000" indent="-216000">
              <a:buClr>
                <a:schemeClr val="accent1"/>
              </a:buClr>
              <a:defRPr sz="1600" b="0" i="0">
                <a:solidFill>
                  <a:schemeClr val="tx1"/>
                </a:solidFill>
                <a:latin typeface="Lato" panose="020F0502020204030203" pitchFamily="34" charset="77"/>
              </a:defRPr>
            </a:lvl1pPr>
            <a:lvl2pPr marL="457200" indent="0">
              <a:buNone/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947796F-360F-AF7A-712B-1DBCD07C030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0252" y="5770351"/>
            <a:ext cx="7735576" cy="26535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5A82826-7DB3-4E19-0669-5157041DC70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573599" y="3117081"/>
            <a:ext cx="5413065" cy="265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0794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: 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0ED6128E-1648-ECAE-AD30-2AE5034B1B14}"/>
              </a:ext>
            </a:extLst>
          </p:cNvPr>
          <p:cNvSpPr/>
          <p:nvPr userDrawn="1"/>
        </p:nvSpPr>
        <p:spPr>
          <a:xfrm rot="5400000">
            <a:off x="3402019" y="512771"/>
            <a:ext cx="4518012" cy="8172447"/>
          </a:xfrm>
          <a:custGeom>
            <a:avLst/>
            <a:gdLst>
              <a:gd name="connsiteX0" fmla="*/ 0 w 4518012"/>
              <a:gd name="connsiteY0" fmla="*/ 4086224 h 8172447"/>
              <a:gd name="connsiteX1" fmla="*/ 155465 w 4518012"/>
              <a:gd name="connsiteY1" fmla="*/ 3710855 h 8172447"/>
              <a:gd name="connsiteX2" fmla="*/ 3710857 w 4518012"/>
              <a:gd name="connsiteY2" fmla="*/ 155465 h 8172447"/>
              <a:gd name="connsiteX3" fmla="*/ 4461596 w 4518012"/>
              <a:gd name="connsiteY3" fmla="*/ 155465 h 8172447"/>
              <a:gd name="connsiteX4" fmla="*/ 4518012 w 4518012"/>
              <a:gd name="connsiteY4" fmla="*/ 211881 h 8172447"/>
              <a:gd name="connsiteX5" fmla="*/ 4518012 w 4518012"/>
              <a:gd name="connsiteY5" fmla="*/ 7960567 h 8172447"/>
              <a:gd name="connsiteX6" fmla="*/ 4461596 w 4518012"/>
              <a:gd name="connsiteY6" fmla="*/ 8016983 h 8172447"/>
              <a:gd name="connsiteX7" fmla="*/ 3710857 w 4518012"/>
              <a:gd name="connsiteY7" fmla="*/ 8016983 h 8172447"/>
              <a:gd name="connsiteX8" fmla="*/ 155465 w 4518012"/>
              <a:gd name="connsiteY8" fmla="*/ 4461594 h 8172447"/>
              <a:gd name="connsiteX9" fmla="*/ 0 w 4518012"/>
              <a:gd name="connsiteY9" fmla="*/ 4086224 h 8172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518012" h="8172447">
                <a:moveTo>
                  <a:pt x="0" y="4086224"/>
                </a:moveTo>
                <a:cubicBezTo>
                  <a:pt x="0" y="3950361"/>
                  <a:pt x="51822" y="3814498"/>
                  <a:pt x="155465" y="3710855"/>
                </a:cubicBezTo>
                <a:lnTo>
                  <a:pt x="3710857" y="155465"/>
                </a:lnTo>
                <a:cubicBezTo>
                  <a:pt x="3918143" y="-51822"/>
                  <a:pt x="4254309" y="-51822"/>
                  <a:pt x="4461596" y="155465"/>
                </a:cubicBezTo>
                <a:lnTo>
                  <a:pt x="4518012" y="211881"/>
                </a:lnTo>
                <a:lnTo>
                  <a:pt x="4518012" y="7960567"/>
                </a:lnTo>
                <a:lnTo>
                  <a:pt x="4461596" y="8016983"/>
                </a:lnTo>
                <a:cubicBezTo>
                  <a:pt x="4254309" y="8224269"/>
                  <a:pt x="3918143" y="8224269"/>
                  <a:pt x="3710857" y="8016983"/>
                </a:cubicBezTo>
                <a:lnTo>
                  <a:pt x="155465" y="4461594"/>
                </a:lnTo>
                <a:cubicBezTo>
                  <a:pt x="51822" y="4357950"/>
                  <a:pt x="0" y="4222087"/>
                  <a:pt x="0" y="4086224"/>
                </a:cubicBezTo>
                <a:close/>
              </a:path>
            </a:pathLst>
          </a:custGeom>
          <a:gradFill>
            <a:gsLst>
              <a:gs pos="0">
                <a:srgbClr val="D9E1E2">
                  <a:alpha val="70000"/>
                </a:srgbClr>
              </a:gs>
              <a:gs pos="9000">
                <a:srgbClr val="D9E1E2">
                  <a:alpha val="58000"/>
                </a:srgbClr>
              </a:gs>
              <a:gs pos="34000">
                <a:srgbClr val="D9E1E2">
                  <a:alpha val="40000"/>
                </a:srgbClr>
              </a:gs>
              <a:gs pos="56000">
                <a:srgbClr val="D9E1E2">
                  <a:alpha val="31765"/>
                </a:srgbClr>
              </a:gs>
              <a:gs pos="76000">
                <a:srgbClr val="D9E1E2">
                  <a:alpha val="14902"/>
                </a:srgbClr>
              </a:gs>
              <a:gs pos="91000">
                <a:srgbClr val="D9E1E2">
                  <a:alpha val="3922"/>
                </a:srgbClr>
              </a:gs>
              <a:gs pos="100000">
                <a:srgbClr val="D9E1E2">
                  <a:alpha val="0"/>
                </a:srgbClr>
              </a:gs>
            </a:gsLst>
            <a:lin ang="8100000" scaled="1"/>
          </a:gradFill>
          <a:ln w="548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463FEC9F-1EE0-63D3-4F00-916715E30334}"/>
              </a:ext>
            </a:extLst>
          </p:cNvPr>
          <p:cNvSpPr/>
          <p:nvPr userDrawn="1"/>
        </p:nvSpPr>
        <p:spPr>
          <a:xfrm>
            <a:off x="6096000" y="0"/>
            <a:ext cx="6096000" cy="5991238"/>
          </a:xfrm>
          <a:custGeom>
            <a:avLst/>
            <a:gdLst>
              <a:gd name="connsiteX0" fmla="*/ 1685111 w 6096000"/>
              <a:gd name="connsiteY0" fmla="*/ 0 h 5991238"/>
              <a:gd name="connsiteX1" fmla="*/ 6096000 w 6096000"/>
              <a:gd name="connsiteY1" fmla="*/ 0 h 5991238"/>
              <a:gd name="connsiteX2" fmla="*/ 6096000 w 6096000"/>
              <a:gd name="connsiteY2" fmla="*/ 4201371 h 5991238"/>
              <a:gd name="connsiteX3" fmla="*/ 4461596 w 6096000"/>
              <a:gd name="connsiteY3" fmla="*/ 5835774 h 5991238"/>
              <a:gd name="connsiteX4" fmla="*/ 3710856 w 6096000"/>
              <a:gd name="connsiteY4" fmla="*/ 5835774 h 5991238"/>
              <a:gd name="connsiteX5" fmla="*/ 155465 w 6096000"/>
              <a:gd name="connsiteY5" fmla="*/ 2280384 h 5991238"/>
              <a:gd name="connsiteX6" fmla="*/ 155465 w 6096000"/>
              <a:gd name="connsiteY6" fmla="*/ 1529645 h 5991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6000" h="5991238">
                <a:moveTo>
                  <a:pt x="1685111" y="0"/>
                </a:moveTo>
                <a:lnTo>
                  <a:pt x="6096000" y="0"/>
                </a:lnTo>
                <a:lnTo>
                  <a:pt x="6096000" y="4201371"/>
                </a:lnTo>
                <a:lnTo>
                  <a:pt x="4461596" y="5835774"/>
                </a:lnTo>
                <a:cubicBezTo>
                  <a:pt x="4254308" y="6043060"/>
                  <a:pt x="3918142" y="6043060"/>
                  <a:pt x="3710856" y="5835774"/>
                </a:cubicBezTo>
                <a:lnTo>
                  <a:pt x="155465" y="2280384"/>
                </a:lnTo>
                <a:cubicBezTo>
                  <a:pt x="-51822" y="2073097"/>
                  <a:pt x="-51822" y="1736931"/>
                  <a:pt x="155465" y="1529645"/>
                </a:cubicBezTo>
                <a:close/>
              </a:path>
            </a:pathLst>
          </a:custGeom>
          <a:solidFill>
            <a:srgbClr val="00BD4D"/>
          </a:solidFill>
          <a:ln w="685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" name="Picture 9" descr="Icon&#10;&#10;Description automatically generated with medium confidence">
            <a:extLst>
              <a:ext uri="{FF2B5EF4-FFF2-40B4-BE49-F238E27FC236}">
                <a16:creationId xmlns:a16="http://schemas.microsoft.com/office/drawing/2014/main" id="{7F1D67F8-99C3-0BF6-F1DD-6FB5A9ED7B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979" t="6111" r="10469"/>
          <a:stretch/>
        </p:blipFill>
        <p:spPr>
          <a:xfrm>
            <a:off x="5359400" y="419100"/>
            <a:ext cx="5187948" cy="6438900"/>
          </a:xfrm>
          <a:prstGeom prst="rect">
            <a:avLst/>
          </a:prstGeom>
        </p:spPr>
      </p:pic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AB256C78-3DA0-2598-3530-FE5AC5A3849E}"/>
              </a:ext>
            </a:extLst>
          </p:cNvPr>
          <p:cNvSpPr/>
          <p:nvPr userDrawn="1"/>
        </p:nvSpPr>
        <p:spPr>
          <a:xfrm>
            <a:off x="6772274" y="829559"/>
            <a:ext cx="2548479" cy="5389382"/>
          </a:xfrm>
          <a:prstGeom prst="roundRect">
            <a:avLst>
              <a:gd name="adj" fmla="val 10733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 err="1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4A17A870-8304-146A-B5AA-3A1B98126355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2821" y="6467484"/>
            <a:ext cx="799740" cy="170885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F678B529-409C-2083-D55A-CBE6BD7D3F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6569" y="1449692"/>
            <a:ext cx="4455625" cy="114663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>
              <a:defRPr kumimoji="0" lang="en-US" sz="3400" b="1" i="0" u="none" strike="noStrike" cap="all" spc="0" normalizeH="0" baseline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Lato" panose="020F0502020204030203" pitchFamily="34" charset="77"/>
                <a:ea typeface="Lato" panose="020F0502020204030203" pitchFamily="34" charset="77"/>
                <a:cs typeface="Arial" panose="020B0604020202020204" pitchFamily="34" charset="0"/>
              </a:defRPr>
            </a:lvl1pPr>
          </a:lstStyle>
          <a:p>
            <a:pPr marL="0"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dirty="0"/>
              <a:t>title sty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8CBE91A-52BA-6CEE-5CAC-25BDE70A86F8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765553" y="2717498"/>
            <a:ext cx="4455625" cy="3816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="0" i="0" cap="all" baseline="0">
                <a:solidFill>
                  <a:schemeClr val="tx1"/>
                </a:solidFill>
                <a:latin typeface="Lato" panose="020F0502020204030203" pitchFamily="34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13599550-2F18-4ED0-4402-1E4F6FC0C12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44695" y="3429000"/>
            <a:ext cx="4457500" cy="269240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indent="0">
              <a:buNone/>
              <a:defRPr lang="en-US" sz="1800" b="0" i="0" dirty="0"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GB"/>
              <a:t>Click to edit Master text styles</a:t>
            </a:r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7AEFB484-AECA-8CD8-9099-5A65E28AA65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791702" y="876300"/>
            <a:ext cx="2504699" cy="5295900"/>
          </a:xfrm>
          <a:custGeom>
            <a:avLst/>
            <a:gdLst>
              <a:gd name="connsiteX0" fmla="*/ 268829 w 2504699"/>
              <a:gd name="connsiteY0" fmla="*/ 0 h 5295900"/>
              <a:gd name="connsiteX1" fmla="*/ 2235870 w 2504699"/>
              <a:gd name="connsiteY1" fmla="*/ 0 h 5295900"/>
              <a:gd name="connsiteX2" fmla="*/ 2504699 w 2504699"/>
              <a:gd name="connsiteY2" fmla="*/ 268829 h 5295900"/>
              <a:gd name="connsiteX3" fmla="*/ 2504699 w 2504699"/>
              <a:gd name="connsiteY3" fmla="*/ 5027071 h 5295900"/>
              <a:gd name="connsiteX4" fmla="*/ 2235870 w 2504699"/>
              <a:gd name="connsiteY4" fmla="*/ 5295900 h 5295900"/>
              <a:gd name="connsiteX5" fmla="*/ 268829 w 2504699"/>
              <a:gd name="connsiteY5" fmla="*/ 5295900 h 5295900"/>
              <a:gd name="connsiteX6" fmla="*/ 0 w 2504699"/>
              <a:gd name="connsiteY6" fmla="*/ 5027071 h 5295900"/>
              <a:gd name="connsiteX7" fmla="*/ 0 w 2504699"/>
              <a:gd name="connsiteY7" fmla="*/ 268829 h 5295900"/>
              <a:gd name="connsiteX8" fmla="*/ 268829 w 2504699"/>
              <a:gd name="connsiteY8" fmla="*/ 0 h 5295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04699" h="5295900">
                <a:moveTo>
                  <a:pt x="268829" y="0"/>
                </a:moveTo>
                <a:lnTo>
                  <a:pt x="2235870" y="0"/>
                </a:lnTo>
                <a:cubicBezTo>
                  <a:pt x="2384340" y="0"/>
                  <a:pt x="2504699" y="120359"/>
                  <a:pt x="2504699" y="268829"/>
                </a:cubicBezTo>
                <a:lnTo>
                  <a:pt x="2504699" y="5027071"/>
                </a:lnTo>
                <a:cubicBezTo>
                  <a:pt x="2504699" y="5175541"/>
                  <a:pt x="2384340" y="5295900"/>
                  <a:pt x="2235870" y="5295900"/>
                </a:cubicBezTo>
                <a:lnTo>
                  <a:pt x="268829" y="5295900"/>
                </a:lnTo>
                <a:cubicBezTo>
                  <a:pt x="120359" y="5295900"/>
                  <a:pt x="0" y="5175541"/>
                  <a:pt x="0" y="5027071"/>
                </a:cubicBezTo>
                <a:lnTo>
                  <a:pt x="0" y="268829"/>
                </a:lnTo>
                <a:cubicBezTo>
                  <a:pt x="0" y="120359"/>
                  <a:pt x="120359" y="0"/>
                  <a:pt x="26882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2000" b="0" i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r>
              <a:rPr lang="en-GB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4905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: 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: Shape 1">
            <a:extLst>
              <a:ext uri="{FF2B5EF4-FFF2-40B4-BE49-F238E27FC236}">
                <a16:creationId xmlns:a16="http://schemas.microsoft.com/office/drawing/2014/main" id="{1471F20B-7805-FF3F-488F-40821DC3FD5F}"/>
              </a:ext>
            </a:extLst>
          </p:cNvPr>
          <p:cNvSpPr/>
          <p:nvPr userDrawn="1"/>
        </p:nvSpPr>
        <p:spPr>
          <a:xfrm rot="5400000">
            <a:off x="3402019" y="512771"/>
            <a:ext cx="4518012" cy="8172447"/>
          </a:xfrm>
          <a:custGeom>
            <a:avLst/>
            <a:gdLst>
              <a:gd name="connsiteX0" fmla="*/ 0 w 4518012"/>
              <a:gd name="connsiteY0" fmla="*/ 4086224 h 8172447"/>
              <a:gd name="connsiteX1" fmla="*/ 155465 w 4518012"/>
              <a:gd name="connsiteY1" fmla="*/ 3710855 h 8172447"/>
              <a:gd name="connsiteX2" fmla="*/ 3710857 w 4518012"/>
              <a:gd name="connsiteY2" fmla="*/ 155465 h 8172447"/>
              <a:gd name="connsiteX3" fmla="*/ 4461596 w 4518012"/>
              <a:gd name="connsiteY3" fmla="*/ 155465 h 8172447"/>
              <a:gd name="connsiteX4" fmla="*/ 4518012 w 4518012"/>
              <a:gd name="connsiteY4" fmla="*/ 211881 h 8172447"/>
              <a:gd name="connsiteX5" fmla="*/ 4518012 w 4518012"/>
              <a:gd name="connsiteY5" fmla="*/ 7960567 h 8172447"/>
              <a:gd name="connsiteX6" fmla="*/ 4461596 w 4518012"/>
              <a:gd name="connsiteY6" fmla="*/ 8016983 h 8172447"/>
              <a:gd name="connsiteX7" fmla="*/ 3710857 w 4518012"/>
              <a:gd name="connsiteY7" fmla="*/ 8016983 h 8172447"/>
              <a:gd name="connsiteX8" fmla="*/ 155465 w 4518012"/>
              <a:gd name="connsiteY8" fmla="*/ 4461594 h 8172447"/>
              <a:gd name="connsiteX9" fmla="*/ 0 w 4518012"/>
              <a:gd name="connsiteY9" fmla="*/ 4086224 h 8172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518012" h="8172447">
                <a:moveTo>
                  <a:pt x="0" y="4086224"/>
                </a:moveTo>
                <a:cubicBezTo>
                  <a:pt x="0" y="3950361"/>
                  <a:pt x="51822" y="3814498"/>
                  <a:pt x="155465" y="3710855"/>
                </a:cubicBezTo>
                <a:lnTo>
                  <a:pt x="3710857" y="155465"/>
                </a:lnTo>
                <a:cubicBezTo>
                  <a:pt x="3918143" y="-51822"/>
                  <a:pt x="4254309" y="-51822"/>
                  <a:pt x="4461596" y="155465"/>
                </a:cubicBezTo>
                <a:lnTo>
                  <a:pt x="4518012" y="211881"/>
                </a:lnTo>
                <a:lnTo>
                  <a:pt x="4518012" y="7960567"/>
                </a:lnTo>
                <a:lnTo>
                  <a:pt x="4461596" y="8016983"/>
                </a:lnTo>
                <a:cubicBezTo>
                  <a:pt x="4254309" y="8224269"/>
                  <a:pt x="3918143" y="8224269"/>
                  <a:pt x="3710857" y="8016983"/>
                </a:cubicBezTo>
                <a:lnTo>
                  <a:pt x="155465" y="4461594"/>
                </a:lnTo>
                <a:cubicBezTo>
                  <a:pt x="51822" y="4357950"/>
                  <a:pt x="0" y="4222087"/>
                  <a:pt x="0" y="4086224"/>
                </a:cubicBezTo>
                <a:close/>
              </a:path>
            </a:pathLst>
          </a:custGeom>
          <a:gradFill>
            <a:gsLst>
              <a:gs pos="0">
                <a:srgbClr val="D9E1E2">
                  <a:alpha val="70000"/>
                </a:srgbClr>
              </a:gs>
              <a:gs pos="9000">
                <a:srgbClr val="D9E1E2">
                  <a:alpha val="58000"/>
                </a:srgbClr>
              </a:gs>
              <a:gs pos="34000">
                <a:srgbClr val="D9E1E2">
                  <a:alpha val="40000"/>
                </a:srgbClr>
              </a:gs>
              <a:gs pos="56000">
                <a:srgbClr val="D9E1E2">
                  <a:alpha val="31765"/>
                </a:srgbClr>
              </a:gs>
              <a:gs pos="76000">
                <a:srgbClr val="D9E1E2">
                  <a:alpha val="14902"/>
                </a:srgbClr>
              </a:gs>
              <a:gs pos="91000">
                <a:srgbClr val="D9E1E2">
                  <a:alpha val="3922"/>
                </a:srgbClr>
              </a:gs>
              <a:gs pos="100000">
                <a:srgbClr val="D9E1E2">
                  <a:alpha val="0"/>
                </a:srgbClr>
              </a:gs>
            </a:gsLst>
            <a:lin ang="8100000" scaled="1"/>
          </a:gradFill>
          <a:ln w="548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E4437082-1F22-B12C-AEA1-4CDEBC314727}"/>
              </a:ext>
            </a:extLst>
          </p:cNvPr>
          <p:cNvSpPr/>
          <p:nvPr userDrawn="1"/>
        </p:nvSpPr>
        <p:spPr>
          <a:xfrm>
            <a:off x="6096000" y="0"/>
            <a:ext cx="6096000" cy="5991238"/>
          </a:xfrm>
          <a:custGeom>
            <a:avLst/>
            <a:gdLst>
              <a:gd name="connsiteX0" fmla="*/ 1685111 w 6096000"/>
              <a:gd name="connsiteY0" fmla="*/ 0 h 5991238"/>
              <a:gd name="connsiteX1" fmla="*/ 6096000 w 6096000"/>
              <a:gd name="connsiteY1" fmla="*/ 0 h 5991238"/>
              <a:gd name="connsiteX2" fmla="*/ 6096000 w 6096000"/>
              <a:gd name="connsiteY2" fmla="*/ 4201371 h 5991238"/>
              <a:gd name="connsiteX3" fmla="*/ 4461596 w 6096000"/>
              <a:gd name="connsiteY3" fmla="*/ 5835774 h 5991238"/>
              <a:gd name="connsiteX4" fmla="*/ 3710856 w 6096000"/>
              <a:gd name="connsiteY4" fmla="*/ 5835774 h 5991238"/>
              <a:gd name="connsiteX5" fmla="*/ 155465 w 6096000"/>
              <a:gd name="connsiteY5" fmla="*/ 2280384 h 5991238"/>
              <a:gd name="connsiteX6" fmla="*/ 155465 w 6096000"/>
              <a:gd name="connsiteY6" fmla="*/ 1529645 h 5991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6000" h="5991238">
                <a:moveTo>
                  <a:pt x="1685111" y="0"/>
                </a:moveTo>
                <a:lnTo>
                  <a:pt x="6096000" y="0"/>
                </a:lnTo>
                <a:lnTo>
                  <a:pt x="6096000" y="4201371"/>
                </a:lnTo>
                <a:lnTo>
                  <a:pt x="4461596" y="5835774"/>
                </a:lnTo>
                <a:cubicBezTo>
                  <a:pt x="4254308" y="6043060"/>
                  <a:pt x="3918142" y="6043060"/>
                  <a:pt x="3710856" y="5835774"/>
                </a:cubicBezTo>
                <a:lnTo>
                  <a:pt x="155465" y="2280384"/>
                </a:lnTo>
                <a:cubicBezTo>
                  <a:pt x="-51822" y="2073097"/>
                  <a:pt x="-51822" y="1736931"/>
                  <a:pt x="155465" y="1529645"/>
                </a:cubicBezTo>
                <a:close/>
              </a:path>
            </a:pathLst>
          </a:custGeom>
          <a:gradFill>
            <a:gsLst>
              <a:gs pos="0">
                <a:srgbClr val="D9E1E2"/>
              </a:gs>
              <a:gs pos="9000">
                <a:srgbClr val="D9E1E2">
                  <a:alpha val="70000"/>
                </a:srgbClr>
              </a:gs>
              <a:gs pos="34000">
                <a:srgbClr val="D9E1E2">
                  <a:alpha val="60000"/>
                </a:srgbClr>
              </a:gs>
              <a:gs pos="56000">
                <a:srgbClr val="D9E1E2">
                  <a:alpha val="31765"/>
                </a:srgbClr>
              </a:gs>
              <a:gs pos="76000">
                <a:srgbClr val="D9E1E2">
                  <a:alpha val="14902"/>
                </a:srgbClr>
              </a:gs>
              <a:gs pos="91000">
                <a:srgbClr val="D9E1E2">
                  <a:alpha val="3922"/>
                </a:srgbClr>
              </a:gs>
              <a:gs pos="100000">
                <a:srgbClr val="D9E1E2">
                  <a:alpha val="0"/>
                </a:srgbClr>
              </a:gs>
            </a:gsLst>
            <a:lin ang="8100000" scaled="1"/>
          </a:gradFill>
          <a:ln w="548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5A4E67B-DE8D-BBB6-6ABB-F6BEF980B9A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49494" y="765182"/>
            <a:ext cx="8242506" cy="5401524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4A17A870-8304-146A-B5AA-3A1B98126355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2821" y="6467484"/>
            <a:ext cx="799740" cy="170885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F678B529-409C-2083-D55A-CBE6BD7D3F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6570" y="1449692"/>
            <a:ext cx="3380929" cy="114663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>
              <a:defRPr kumimoji="0" lang="en-US" sz="3400" b="1" i="0" u="none" strike="noStrike" cap="all" spc="0" normalizeH="0" baseline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Lato" panose="020F0502020204030203" pitchFamily="34" charset="77"/>
                <a:ea typeface="Lato" panose="020F0502020204030203" pitchFamily="34" charset="77"/>
                <a:cs typeface="Arial" panose="020B0604020202020204" pitchFamily="34" charset="0"/>
              </a:defRPr>
            </a:lvl1pPr>
          </a:lstStyle>
          <a:p>
            <a:pPr marL="0"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dirty="0"/>
              <a:t>title sty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8CBE91A-52BA-6CEE-5CAC-25BDE70A86F8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765553" y="2717500"/>
            <a:ext cx="3380929" cy="3816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="0" i="0" cap="all" baseline="0">
                <a:solidFill>
                  <a:schemeClr val="tx1"/>
                </a:solidFill>
                <a:latin typeface="Lato" panose="020F0502020204030203" pitchFamily="34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13599550-2F18-4ED0-4402-1E4F6FC0C12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44695" y="3708692"/>
            <a:ext cx="3401787" cy="162530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indent="0">
              <a:buNone/>
              <a:defRPr lang="en-US" sz="1800" b="0" i="0" dirty="0"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GB"/>
              <a:t>Click to 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AB213C9-CFA2-FD9B-7B62-318099340BCB}"/>
              </a:ext>
            </a:extLst>
          </p:cNvPr>
          <p:cNvSpPr/>
          <p:nvPr userDrawn="1"/>
        </p:nvSpPr>
        <p:spPr>
          <a:xfrm>
            <a:off x="5060950" y="1054100"/>
            <a:ext cx="6330950" cy="47625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 err="1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E5DD5C39-81E4-BCC8-A5E2-3749AB8DF2C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060950" y="1054100"/>
            <a:ext cx="6330950" cy="47625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0" i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r>
              <a:rPr lang="en-GB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393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: 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: Shape 1">
            <a:extLst>
              <a:ext uri="{FF2B5EF4-FFF2-40B4-BE49-F238E27FC236}">
                <a16:creationId xmlns:a16="http://schemas.microsoft.com/office/drawing/2014/main" id="{D1D85533-E06C-B274-CF61-60F238C476E7}"/>
              </a:ext>
            </a:extLst>
          </p:cNvPr>
          <p:cNvSpPr/>
          <p:nvPr userDrawn="1"/>
        </p:nvSpPr>
        <p:spPr>
          <a:xfrm rot="5400000">
            <a:off x="3402019" y="512771"/>
            <a:ext cx="4518012" cy="8172447"/>
          </a:xfrm>
          <a:custGeom>
            <a:avLst/>
            <a:gdLst>
              <a:gd name="connsiteX0" fmla="*/ 0 w 4518012"/>
              <a:gd name="connsiteY0" fmla="*/ 4086224 h 8172447"/>
              <a:gd name="connsiteX1" fmla="*/ 155465 w 4518012"/>
              <a:gd name="connsiteY1" fmla="*/ 3710855 h 8172447"/>
              <a:gd name="connsiteX2" fmla="*/ 3710857 w 4518012"/>
              <a:gd name="connsiteY2" fmla="*/ 155465 h 8172447"/>
              <a:gd name="connsiteX3" fmla="*/ 4461596 w 4518012"/>
              <a:gd name="connsiteY3" fmla="*/ 155465 h 8172447"/>
              <a:gd name="connsiteX4" fmla="*/ 4518012 w 4518012"/>
              <a:gd name="connsiteY4" fmla="*/ 211881 h 8172447"/>
              <a:gd name="connsiteX5" fmla="*/ 4518012 w 4518012"/>
              <a:gd name="connsiteY5" fmla="*/ 7960567 h 8172447"/>
              <a:gd name="connsiteX6" fmla="*/ 4461596 w 4518012"/>
              <a:gd name="connsiteY6" fmla="*/ 8016983 h 8172447"/>
              <a:gd name="connsiteX7" fmla="*/ 3710857 w 4518012"/>
              <a:gd name="connsiteY7" fmla="*/ 8016983 h 8172447"/>
              <a:gd name="connsiteX8" fmla="*/ 155465 w 4518012"/>
              <a:gd name="connsiteY8" fmla="*/ 4461594 h 8172447"/>
              <a:gd name="connsiteX9" fmla="*/ 0 w 4518012"/>
              <a:gd name="connsiteY9" fmla="*/ 4086224 h 8172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518012" h="8172447">
                <a:moveTo>
                  <a:pt x="0" y="4086224"/>
                </a:moveTo>
                <a:cubicBezTo>
                  <a:pt x="0" y="3950361"/>
                  <a:pt x="51822" y="3814498"/>
                  <a:pt x="155465" y="3710855"/>
                </a:cubicBezTo>
                <a:lnTo>
                  <a:pt x="3710857" y="155465"/>
                </a:lnTo>
                <a:cubicBezTo>
                  <a:pt x="3918143" y="-51822"/>
                  <a:pt x="4254309" y="-51822"/>
                  <a:pt x="4461596" y="155465"/>
                </a:cubicBezTo>
                <a:lnTo>
                  <a:pt x="4518012" y="211881"/>
                </a:lnTo>
                <a:lnTo>
                  <a:pt x="4518012" y="7960567"/>
                </a:lnTo>
                <a:lnTo>
                  <a:pt x="4461596" y="8016983"/>
                </a:lnTo>
                <a:cubicBezTo>
                  <a:pt x="4254309" y="8224269"/>
                  <a:pt x="3918143" y="8224269"/>
                  <a:pt x="3710857" y="8016983"/>
                </a:cubicBezTo>
                <a:lnTo>
                  <a:pt x="155465" y="4461594"/>
                </a:lnTo>
                <a:cubicBezTo>
                  <a:pt x="51822" y="4357950"/>
                  <a:pt x="0" y="4222087"/>
                  <a:pt x="0" y="4086224"/>
                </a:cubicBezTo>
                <a:close/>
              </a:path>
            </a:pathLst>
          </a:custGeom>
          <a:gradFill>
            <a:gsLst>
              <a:gs pos="0">
                <a:srgbClr val="D9E1E2">
                  <a:alpha val="70000"/>
                </a:srgbClr>
              </a:gs>
              <a:gs pos="9000">
                <a:srgbClr val="D9E1E2">
                  <a:alpha val="58000"/>
                </a:srgbClr>
              </a:gs>
              <a:gs pos="34000">
                <a:srgbClr val="D9E1E2">
                  <a:alpha val="40000"/>
                </a:srgbClr>
              </a:gs>
              <a:gs pos="56000">
                <a:srgbClr val="D9E1E2">
                  <a:alpha val="31765"/>
                </a:srgbClr>
              </a:gs>
              <a:gs pos="76000">
                <a:srgbClr val="D9E1E2">
                  <a:alpha val="14902"/>
                </a:srgbClr>
              </a:gs>
              <a:gs pos="91000">
                <a:srgbClr val="D9E1E2">
                  <a:alpha val="3922"/>
                </a:srgbClr>
              </a:gs>
              <a:gs pos="100000">
                <a:srgbClr val="D9E1E2">
                  <a:alpha val="0"/>
                </a:srgbClr>
              </a:gs>
            </a:gsLst>
            <a:lin ang="8100000" scaled="1"/>
          </a:gradFill>
          <a:ln w="548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57E3993A-DD6B-23D0-4B25-F7FC68E953E7}"/>
              </a:ext>
            </a:extLst>
          </p:cNvPr>
          <p:cNvSpPr/>
          <p:nvPr userDrawn="1"/>
        </p:nvSpPr>
        <p:spPr>
          <a:xfrm>
            <a:off x="6096000" y="0"/>
            <a:ext cx="6096000" cy="5991238"/>
          </a:xfrm>
          <a:custGeom>
            <a:avLst/>
            <a:gdLst>
              <a:gd name="connsiteX0" fmla="*/ 1685111 w 6096000"/>
              <a:gd name="connsiteY0" fmla="*/ 0 h 5991238"/>
              <a:gd name="connsiteX1" fmla="*/ 6096000 w 6096000"/>
              <a:gd name="connsiteY1" fmla="*/ 0 h 5991238"/>
              <a:gd name="connsiteX2" fmla="*/ 6096000 w 6096000"/>
              <a:gd name="connsiteY2" fmla="*/ 4201371 h 5991238"/>
              <a:gd name="connsiteX3" fmla="*/ 4461596 w 6096000"/>
              <a:gd name="connsiteY3" fmla="*/ 5835774 h 5991238"/>
              <a:gd name="connsiteX4" fmla="*/ 3710856 w 6096000"/>
              <a:gd name="connsiteY4" fmla="*/ 5835774 h 5991238"/>
              <a:gd name="connsiteX5" fmla="*/ 155465 w 6096000"/>
              <a:gd name="connsiteY5" fmla="*/ 2280384 h 5991238"/>
              <a:gd name="connsiteX6" fmla="*/ 155465 w 6096000"/>
              <a:gd name="connsiteY6" fmla="*/ 1529645 h 5991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6000" h="5991238">
                <a:moveTo>
                  <a:pt x="1685111" y="0"/>
                </a:moveTo>
                <a:lnTo>
                  <a:pt x="6096000" y="0"/>
                </a:lnTo>
                <a:lnTo>
                  <a:pt x="6096000" y="4201371"/>
                </a:lnTo>
                <a:lnTo>
                  <a:pt x="4461596" y="5835774"/>
                </a:lnTo>
                <a:cubicBezTo>
                  <a:pt x="4254308" y="6043060"/>
                  <a:pt x="3918142" y="6043060"/>
                  <a:pt x="3710856" y="5835774"/>
                </a:cubicBezTo>
                <a:lnTo>
                  <a:pt x="155465" y="2280384"/>
                </a:lnTo>
                <a:cubicBezTo>
                  <a:pt x="-51822" y="2073097"/>
                  <a:pt x="-51822" y="1736931"/>
                  <a:pt x="155465" y="1529645"/>
                </a:cubicBezTo>
                <a:close/>
              </a:path>
            </a:pathLst>
          </a:custGeom>
          <a:gradFill>
            <a:gsLst>
              <a:gs pos="0">
                <a:srgbClr val="D9E1E2"/>
              </a:gs>
              <a:gs pos="9000">
                <a:srgbClr val="D9E1E2">
                  <a:alpha val="70000"/>
                </a:srgbClr>
              </a:gs>
              <a:gs pos="34000">
                <a:srgbClr val="D9E1E2">
                  <a:alpha val="60000"/>
                </a:srgbClr>
              </a:gs>
              <a:gs pos="56000">
                <a:srgbClr val="D9E1E2">
                  <a:alpha val="31765"/>
                </a:srgbClr>
              </a:gs>
              <a:gs pos="76000">
                <a:srgbClr val="D9E1E2">
                  <a:alpha val="14902"/>
                </a:srgbClr>
              </a:gs>
              <a:gs pos="91000">
                <a:srgbClr val="D9E1E2">
                  <a:alpha val="3922"/>
                </a:srgbClr>
              </a:gs>
              <a:gs pos="100000">
                <a:srgbClr val="D9E1E2">
                  <a:alpha val="0"/>
                </a:srgbClr>
              </a:gs>
            </a:gsLst>
            <a:lin ang="8100000" scaled="1"/>
          </a:gradFill>
          <a:ln w="548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91DE497-414D-E757-F24A-4D3363F23DC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33829" y="955546"/>
            <a:ext cx="9358171" cy="5297883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4A17A870-8304-146A-B5AA-3A1B98126355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2821" y="6467484"/>
            <a:ext cx="799740" cy="170885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F678B529-409C-2083-D55A-CBE6BD7D3F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6570" y="1449692"/>
            <a:ext cx="3380929" cy="114663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>
              <a:defRPr kumimoji="0" lang="en-US" sz="3400" b="1" i="0" u="none" strike="noStrike" cap="all" spc="0" normalizeH="0" baseline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Lato" panose="020F0502020204030203" pitchFamily="34" charset="77"/>
                <a:ea typeface="Lato" panose="020F0502020204030203" pitchFamily="34" charset="77"/>
                <a:cs typeface="Arial" panose="020B0604020202020204" pitchFamily="34" charset="0"/>
              </a:defRPr>
            </a:lvl1pPr>
          </a:lstStyle>
          <a:p>
            <a:pPr marL="0"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dirty="0"/>
              <a:t>title sty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8CBE91A-52BA-6CEE-5CAC-25BDE70A86F8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765553" y="2717498"/>
            <a:ext cx="3380929" cy="3816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="0" i="0" cap="all" baseline="0">
                <a:solidFill>
                  <a:schemeClr val="tx1"/>
                </a:solidFill>
                <a:latin typeface="Lato" panose="020F0502020204030203" pitchFamily="34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13599550-2F18-4ED0-4402-1E4F6FC0C12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44695" y="3708692"/>
            <a:ext cx="3401787" cy="162530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indent="0">
              <a:buNone/>
              <a:defRPr lang="en-US" sz="1800" b="0" i="0" dirty="0"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GB"/>
              <a:t>Click to 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AB213C9-CFA2-FD9B-7B62-318099340BCB}"/>
              </a:ext>
            </a:extLst>
          </p:cNvPr>
          <p:cNvSpPr/>
          <p:nvPr userDrawn="1"/>
        </p:nvSpPr>
        <p:spPr>
          <a:xfrm>
            <a:off x="4959350" y="1282700"/>
            <a:ext cx="6673850" cy="43434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 err="1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E5DD5C39-81E4-BCC8-A5E2-3749AB8DF2C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959350" y="1282700"/>
            <a:ext cx="6673850" cy="4343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0" i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r>
              <a:rPr lang="en-GB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2429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0438EE-9AEF-46A9-4F47-EEC1641D96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6820" y="3007519"/>
            <a:ext cx="4762500" cy="1325563"/>
          </a:xfrm>
          <a:prstGeom prst="rect">
            <a:avLst/>
          </a:prstGeom>
        </p:spPr>
        <p:txBody>
          <a:bodyPr anchor="ctr"/>
          <a:lstStyle>
            <a:lvl1pPr algn="r">
              <a:defRPr sz="3400" b="1" i="0" cap="all" baseline="0">
                <a:solidFill>
                  <a:schemeClr val="tx1"/>
                </a:solidFill>
                <a:latin typeface="Lato" panose="020F0502020204030203" pitchFamily="34" charset="77"/>
              </a:defRPr>
            </a:lvl1pPr>
          </a:lstStyle>
          <a:p>
            <a:r>
              <a:rPr lang="en-US" noProof="0" dirty="0"/>
              <a:t>Thank you!</a:t>
            </a: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D36B5CED-8A79-E5AA-D47A-FE21651E8612}"/>
              </a:ext>
            </a:extLst>
          </p:cNvPr>
          <p:cNvSpPr/>
          <p:nvPr userDrawn="1"/>
        </p:nvSpPr>
        <p:spPr>
          <a:xfrm>
            <a:off x="0" y="0"/>
            <a:ext cx="6648458" cy="5245343"/>
          </a:xfrm>
          <a:custGeom>
            <a:avLst/>
            <a:gdLst>
              <a:gd name="connsiteX0" fmla="*/ 3199011 w 7488464"/>
              <a:gd name="connsiteY0" fmla="*/ 1820949 h 5908071"/>
              <a:gd name="connsiteX1" fmla="*/ 3386737 w 7488464"/>
              <a:gd name="connsiteY1" fmla="*/ 1898699 h 5908071"/>
              <a:gd name="connsiteX2" fmla="*/ 5164823 w 7488464"/>
              <a:gd name="connsiteY2" fmla="*/ 3676785 h 5908071"/>
              <a:gd name="connsiteX3" fmla="*/ 5164823 w 7488464"/>
              <a:gd name="connsiteY3" fmla="*/ 4052237 h 5908071"/>
              <a:gd name="connsiteX4" fmla="*/ 3386737 w 7488464"/>
              <a:gd name="connsiteY4" fmla="*/ 5830322 h 5908071"/>
              <a:gd name="connsiteX5" fmla="*/ 3011286 w 7488464"/>
              <a:gd name="connsiteY5" fmla="*/ 5830322 h 5908071"/>
              <a:gd name="connsiteX6" fmla="*/ 1233199 w 7488464"/>
              <a:gd name="connsiteY6" fmla="*/ 4052237 h 5908071"/>
              <a:gd name="connsiteX7" fmla="*/ 1155450 w 7488464"/>
              <a:gd name="connsiteY7" fmla="*/ 3864511 h 5908071"/>
              <a:gd name="connsiteX8" fmla="*/ 1233199 w 7488464"/>
              <a:gd name="connsiteY8" fmla="*/ 3676785 h 5908071"/>
              <a:gd name="connsiteX9" fmla="*/ 3011286 w 7488464"/>
              <a:gd name="connsiteY9" fmla="*/ 1898699 h 5908071"/>
              <a:gd name="connsiteX10" fmla="*/ 3199011 w 7488464"/>
              <a:gd name="connsiteY10" fmla="*/ 1820949 h 5908071"/>
              <a:gd name="connsiteX11" fmla="*/ 4909992 w 7488464"/>
              <a:gd name="connsiteY11" fmla="*/ 0 h 5908071"/>
              <a:gd name="connsiteX12" fmla="*/ 5979817 w 7488464"/>
              <a:gd name="connsiteY12" fmla="*/ 0 h 5908071"/>
              <a:gd name="connsiteX13" fmla="*/ 7410715 w 7488464"/>
              <a:gd name="connsiteY13" fmla="*/ 1430900 h 5908071"/>
              <a:gd name="connsiteX14" fmla="*/ 7410715 w 7488464"/>
              <a:gd name="connsiteY14" fmla="*/ 1806352 h 5908071"/>
              <a:gd name="connsiteX15" fmla="*/ 5632630 w 7488464"/>
              <a:gd name="connsiteY15" fmla="*/ 3584437 h 5908071"/>
              <a:gd name="connsiteX16" fmla="*/ 5257178 w 7488464"/>
              <a:gd name="connsiteY16" fmla="*/ 3584437 h 5908071"/>
              <a:gd name="connsiteX17" fmla="*/ 3479092 w 7488464"/>
              <a:gd name="connsiteY17" fmla="*/ 1806352 h 5908071"/>
              <a:gd name="connsiteX18" fmla="*/ 3401342 w 7488464"/>
              <a:gd name="connsiteY18" fmla="*/ 1618625 h 5908071"/>
              <a:gd name="connsiteX19" fmla="*/ 3479092 w 7488464"/>
              <a:gd name="connsiteY19" fmla="*/ 1430900 h 5908071"/>
              <a:gd name="connsiteX20" fmla="*/ 1672740 w 7488464"/>
              <a:gd name="connsiteY20" fmla="*/ 0 h 5908071"/>
              <a:gd name="connsiteX21" fmla="*/ 4727884 w 7488464"/>
              <a:gd name="connsiteY21" fmla="*/ 0 h 5908071"/>
              <a:gd name="connsiteX22" fmla="*/ 3388039 w 7488464"/>
              <a:gd name="connsiteY22" fmla="*/ 1339845 h 5908071"/>
              <a:gd name="connsiteX23" fmla="*/ 3012587 w 7488464"/>
              <a:gd name="connsiteY23" fmla="*/ 1339845 h 5908071"/>
              <a:gd name="connsiteX24" fmla="*/ 420801 w 7488464"/>
              <a:gd name="connsiteY24" fmla="*/ 0 h 5908071"/>
              <a:gd name="connsiteX25" fmla="*/ 1488039 w 7488464"/>
              <a:gd name="connsiteY25" fmla="*/ 0 h 5908071"/>
              <a:gd name="connsiteX26" fmla="*/ 2920232 w 7488464"/>
              <a:gd name="connsiteY26" fmla="*/ 1432193 h 5908071"/>
              <a:gd name="connsiteX27" fmla="*/ 2920232 w 7488464"/>
              <a:gd name="connsiteY27" fmla="*/ 1807646 h 5908071"/>
              <a:gd name="connsiteX28" fmla="*/ 1142146 w 7488464"/>
              <a:gd name="connsiteY28" fmla="*/ 3585731 h 5908071"/>
              <a:gd name="connsiteX29" fmla="*/ 766694 w 7488464"/>
              <a:gd name="connsiteY29" fmla="*/ 3585731 h 5908071"/>
              <a:gd name="connsiteX30" fmla="*/ 0 w 7488464"/>
              <a:gd name="connsiteY30" fmla="*/ 2819037 h 5908071"/>
              <a:gd name="connsiteX31" fmla="*/ 0 w 7488464"/>
              <a:gd name="connsiteY31" fmla="*/ 420801 h 59080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7488464" h="5908071">
                <a:moveTo>
                  <a:pt x="3199011" y="1820949"/>
                </a:moveTo>
                <a:cubicBezTo>
                  <a:pt x="3266957" y="1820949"/>
                  <a:pt x="3334904" y="1846866"/>
                  <a:pt x="3386737" y="1898699"/>
                </a:cubicBezTo>
                <a:lnTo>
                  <a:pt x="5164823" y="3676785"/>
                </a:lnTo>
                <a:cubicBezTo>
                  <a:pt x="5268489" y="3780450"/>
                  <a:pt x="5268489" y="3948570"/>
                  <a:pt x="5164823" y="4052237"/>
                </a:cubicBezTo>
                <a:lnTo>
                  <a:pt x="3386737" y="5830322"/>
                </a:lnTo>
                <a:cubicBezTo>
                  <a:pt x="3283071" y="5933988"/>
                  <a:pt x="3114951" y="5933988"/>
                  <a:pt x="3011286" y="5830322"/>
                </a:cubicBezTo>
                <a:lnTo>
                  <a:pt x="1233199" y="4052237"/>
                </a:lnTo>
                <a:cubicBezTo>
                  <a:pt x="1181366" y="4000404"/>
                  <a:pt x="1155450" y="3932457"/>
                  <a:pt x="1155450" y="3864511"/>
                </a:cubicBezTo>
                <a:cubicBezTo>
                  <a:pt x="1155450" y="3796564"/>
                  <a:pt x="1181366" y="3728618"/>
                  <a:pt x="1233199" y="3676785"/>
                </a:cubicBezTo>
                <a:lnTo>
                  <a:pt x="3011286" y="1898699"/>
                </a:lnTo>
                <a:cubicBezTo>
                  <a:pt x="3063118" y="1846866"/>
                  <a:pt x="3131065" y="1820949"/>
                  <a:pt x="3199011" y="1820949"/>
                </a:cubicBezTo>
                <a:close/>
                <a:moveTo>
                  <a:pt x="4909992" y="0"/>
                </a:moveTo>
                <a:lnTo>
                  <a:pt x="5979817" y="0"/>
                </a:lnTo>
                <a:lnTo>
                  <a:pt x="7410715" y="1430900"/>
                </a:lnTo>
                <a:cubicBezTo>
                  <a:pt x="7514381" y="1534565"/>
                  <a:pt x="7514381" y="1702685"/>
                  <a:pt x="7410715" y="1806352"/>
                </a:cubicBezTo>
                <a:lnTo>
                  <a:pt x="5632630" y="3584437"/>
                </a:lnTo>
                <a:cubicBezTo>
                  <a:pt x="5528963" y="3688103"/>
                  <a:pt x="5360843" y="3688103"/>
                  <a:pt x="5257178" y="3584437"/>
                </a:cubicBezTo>
                <a:lnTo>
                  <a:pt x="3479092" y="1806352"/>
                </a:lnTo>
                <a:cubicBezTo>
                  <a:pt x="3427258" y="1754518"/>
                  <a:pt x="3401342" y="1686572"/>
                  <a:pt x="3401342" y="1618625"/>
                </a:cubicBezTo>
                <a:cubicBezTo>
                  <a:pt x="3401342" y="1550679"/>
                  <a:pt x="3427258" y="1482732"/>
                  <a:pt x="3479092" y="1430900"/>
                </a:cubicBezTo>
                <a:close/>
                <a:moveTo>
                  <a:pt x="1672740" y="0"/>
                </a:moveTo>
                <a:lnTo>
                  <a:pt x="4727884" y="0"/>
                </a:lnTo>
                <a:lnTo>
                  <a:pt x="3388039" y="1339845"/>
                </a:lnTo>
                <a:cubicBezTo>
                  <a:pt x="3284372" y="1443512"/>
                  <a:pt x="3116253" y="1443512"/>
                  <a:pt x="3012587" y="1339845"/>
                </a:cubicBezTo>
                <a:close/>
                <a:moveTo>
                  <a:pt x="420801" y="0"/>
                </a:moveTo>
                <a:lnTo>
                  <a:pt x="1488039" y="0"/>
                </a:lnTo>
                <a:lnTo>
                  <a:pt x="2920232" y="1432193"/>
                </a:lnTo>
                <a:cubicBezTo>
                  <a:pt x="3023898" y="1535859"/>
                  <a:pt x="3023898" y="1703979"/>
                  <a:pt x="2920232" y="1807646"/>
                </a:cubicBezTo>
                <a:lnTo>
                  <a:pt x="1142146" y="3585731"/>
                </a:lnTo>
                <a:cubicBezTo>
                  <a:pt x="1038479" y="3689397"/>
                  <a:pt x="870360" y="3689397"/>
                  <a:pt x="766694" y="3585731"/>
                </a:cubicBezTo>
                <a:lnTo>
                  <a:pt x="0" y="2819037"/>
                </a:lnTo>
                <a:lnTo>
                  <a:pt x="0" y="420801"/>
                </a:lnTo>
                <a:close/>
              </a:path>
            </a:pathLst>
          </a:custGeom>
          <a:solidFill>
            <a:schemeClr val="accent1"/>
          </a:solidFill>
          <a:ln w="317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b="0" i="0" dirty="0">
              <a:latin typeface="Lato" panose="020F0502020204030203" pitchFamily="34" charset="77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3BF9AE2-4C11-C13E-37B8-F8C219D0D4BB}"/>
              </a:ext>
            </a:extLst>
          </p:cNvPr>
          <p:cNvGrpSpPr/>
          <p:nvPr userDrawn="1"/>
        </p:nvGrpSpPr>
        <p:grpSpPr>
          <a:xfrm>
            <a:off x="9670472" y="542253"/>
            <a:ext cx="2026463" cy="420936"/>
            <a:chOff x="733434" y="876300"/>
            <a:chExt cx="2455606" cy="510077"/>
          </a:xfrm>
        </p:grpSpPr>
        <p:sp>
          <p:nvSpPr>
            <p:cNvPr id="18" name="Freeform: Shape 8">
              <a:extLst>
                <a:ext uri="{FF2B5EF4-FFF2-40B4-BE49-F238E27FC236}">
                  <a16:creationId xmlns:a16="http://schemas.microsoft.com/office/drawing/2014/main" id="{FDA588B0-0149-D41D-6746-FB8F42129227}"/>
                </a:ext>
              </a:extLst>
            </p:cNvPr>
            <p:cNvSpPr/>
            <p:nvPr/>
          </p:nvSpPr>
          <p:spPr>
            <a:xfrm rot="18900000">
              <a:off x="770705" y="879406"/>
              <a:ext cx="107935" cy="107935"/>
            </a:xfrm>
            <a:custGeom>
              <a:avLst/>
              <a:gdLst>
                <a:gd name="connsiteX0" fmla="*/ 67007 w 73496"/>
                <a:gd name="connsiteY0" fmla="*/ 0 h 73496"/>
                <a:gd name="connsiteX1" fmla="*/ 73497 w 73496"/>
                <a:gd name="connsiteY1" fmla="*/ 6489 h 73496"/>
                <a:gd name="connsiteX2" fmla="*/ 73497 w 73496"/>
                <a:gd name="connsiteY2" fmla="*/ 67007 h 73496"/>
                <a:gd name="connsiteX3" fmla="*/ 67007 w 73496"/>
                <a:gd name="connsiteY3" fmla="*/ 73496 h 73496"/>
                <a:gd name="connsiteX4" fmla="*/ 6489 w 73496"/>
                <a:gd name="connsiteY4" fmla="*/ 73496 h 73496"/>
                <a:gd name="connsiteX5" fmla="*/ 0 w 73496"/>
                <a:gd name="connsiteY5" fmla="*/ 67007 h 73496"/>
                <a:gd name="connsiteX6" fmla="*/ 0 w 73496"/>
                <a:gd name="connsiteY6" fmla="*/ 6489 h 73496"/>
                <a:gd name="connsiteX7" fmla="*/ 6489 w 73496"/>
                <a:gd name="connsiteY7" fmla="*/ 0 h 73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496" h="73496">
                  <a:moveTo>
                    <a:pt x="67007" y="0"/>
                  </a:moveTo>
                  <a:cubicBezTo>
                    <a:pt x="70591" y="0"/>
                    <a:pt x="73497" y="2905"/>
                    <a:pt x="73497" y="6489"/>
                  </a:cubicBezTo>
                  <a:lnTo>
                    <a:pt x="73497" y="67007"/>
                  </a:lnTo>
                  <a:cubicBezTo>
                    <a:pt x="73497" y="70591"/>
                    <a:pt x="70591" y="73496"/>
                    <a:pt x="67007" y="73496"/>
                  </a:cubicBezTo>
                  <a:lnTo>
                    <a:pt x="6489" y="73496"/>
                  </a:lnTo>
                  <a:cubicBezTo>
                    <a:pt x="2905" y="73496"/>
                    <a:pt x="0" y="70591"/>
                    <a:pt x="0" y="67007"/>
                  </a:cubicBezTo>
                  <a:lnTo>
                    <a:pt x="0" y="6489"/>
                  </a:lnTo>
                  <a:cubicBezTo>
                    <a:pt x="0" y="2905"/>
                    <a:pt x="2905" y="0"/>
                    <a:pt x="6489" y="0"/>
                  </a:cubicBezTo>
                  <a:close/>
                </a:path>
              </a:pathLst>
            </a:custGeom>
            <a:solidFill>
              <a:srgbClr val="00BD4D"/>
            </a:solidFill>
            <a:ln w="284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="0" i="0" dirty="0">
                <a:latin typeface="Lato" panose="020F0502020204030203" pitchFamily="34" charset="77"/>
              </a:endParaRP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39F1BDFC-17E2-2937-7182-2B790AA2AC9B}"/>
                </a:ext>
              </a:extLst>
            </p:cNvPr>
            <p:cNvGrpSpPr/>
            <p:nvPr/>
          </p:nvGrpSpPr>
          <p:grpSpPr>
            <a:xfrm>
              <a:off x="733434" y="876300"/>
              <a:ext cx="2455606" cy="510077"/>
              <a:chOff x="9242171" y="3011696"/>
              <a:chExt cx="1672097" cy="347327"/>
            </a:xfrm>
            <a:solidFill>
              <a:schemeClr val="tx1"/>
            </a:solidFill>
          </p:grpSpPr>
          <p:sp>
            <p:nvSpPr>
              <p:cNvPr id="20" name="Freeform: Shape 10">
                <a:extLst>
                  <a:ext uri="{FF2B5EF4-FFF2-40B4-BE49-F238E27FC236}">
                    <a16:creationId xmlns:a16="http://schemas.microsoft.com/office/drawing/2014/main" id="{8F16CF62-2C69-3844-B0B5-D5C4EF7FC10A}"/>
                  </a:ext>
                </a:extLst>
              </p:cNvPr>
              <p:cNvSpPr/>
              <p:nvPr/>
            </p:nvSpPr>
            <p:spPr>
              <a:xfrm>
                <a:off x="10604432" y="3110234"/>
                <a:ext cx="249644" cy="243844"/>
              </a:xfrm>
              <a:custGeom>
                <a:avLst/>
                <a:gdLst>
                  <a:gd name="connsiteX0" fmla="*/ 172562 w 249644"/>
                  <a:gd name="connsiteY0" fmla="*/ 121922 h 243844"/>
                  <a:gd name="connsiteX1" fmla="*/ 248603 w 249644"/>
                  <a:gd name="connsiteY1" fmla="*/ 234754 h 243844"/>
                  <a:gd name="connsiteX2" fmla="*/ 243372 w 249644"/>
                  <a:gd name="connsiteY2" fmla="*/ 243845 h 243844"/>
                  <a:gd name="connsiteX3" fmla="*/ 179480 w 249644"/>
                  <a:gd name="connsiteY3" fmla="*/ 243845 h 243844"/>
                  <a:gd name="connsiteX4" fmla="*/ 168789 w 249644"/>
                  <a:gd name="connsiteY4" fmla="*/ 238213 h 243844"/>
                  <a:gd name="connsiteX5" fmla="*/ 124822 w 249644"/>
                  <a:gd name="connsiteY5" fmla="*/ 170949 h 243844"/>
                  <a:gd name="connsiteX6" fmla="*/ 80856 w 249644"/>
                  <a:gd name="connsiteY6" fmla="*/ 238213 h 243844"/>
                  <a:gd name="connsiteX7" fmla="*/ 70164 w 249644"/>
                  <a:gd name="connsiteY7" fmla="*/ 243845 h 243844"/>
                  <a:gd name="connsiteX8" fmla="*/ 6273 w 249644"/>
                  <a:gd name="connsiteY8" fmla="*/ 243845 h 243844"/>
                  <a:gd name="connsiteX9" fmla="*/ 1042 w 249644"/>
                  <a:gd name="connsiteY9" fmla="*/ 234754 h 243844"/>
                  <a:gd name="connsiteX10" fmla="*/ 76854 w 249644"/>
                  <a:gd name="connsiteY10" fmla="*/ 121922 h 243844"/>
                  <a:gd name="connsiteX11" fmla="*/ 1042 w 249644"/>
                  <a:gd name="connsiteY11" fmla="*/ 9091 h 243844"/>
                  <a:gd name="connsiteX12" fmla="*/ 6273 w 249644"/>
                  <a:gd name="connsiteY12" fmla="*/ 0 h 243844"/>
                  <a:gd name="connsiteX13" fmla="*/ 72880 w 249644"/>
                  <a:gd name="connsiteY13" fmla="*/ 0 h 243844"/>
                  <a:gd name="connsiteX14" fmla="*/ 78998 w 249644"/>
                  <a:gd name="connsiteY14" fmla="*/ 3030 h 243844"/>
                  <a:gd name="connsiteX15" fmla="*/ 124794 w 249644"/>
                  <a:gd name="connsiteY15" fmla="*/ 72782 h 243844"/>
                  <a:gd name="connsiteX16" fmla="*/ 167788 w 249644"/>
                  <a:gd name="connsiteY16" fmla="*/ 3059 h 243844"/>
                  <a:gd name="connsiteX17" fmla="*/ 173906 w 249644"/>
                  <a:gd name="connsiteY17" fmla="*/ 0 h 243844"/>
                  <a:gd name="connsiteX18" fmla="*/ 241171 w 249644"/>
                  <a:gd name="connsiteY18" fmla="*/ 0 h 243844"/>
                  <a:gd name="connsiteX19" fmla="*/ 246402 w 249644"/>
                  <a:gd name="connsiteY19" fmla="*/ 9062 h 243844"/>
                  <a:gd name="connsiteX20" fmla="*/ 172505 w 249644"/>
                  <a:gd name="connsiteY20" fmla="*/ 121922 h 243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49644" h="243844">
                    <a:moveTo>
                      <a:pt x="172562" y="121922"/>
                    </a:moveTo>
                    <a:lnTo>
                      <a:pt x="248603" y="234754"/>
                    </a:lnTo>
                    <a:cubicBezTo>
                      <a:pt x="251347" y="238642"/>
                      <a:pt x="248346" y="243845"/>
                      <a:pt x="243372" y="243845"/>
                    </a:cubicBezTo>
                    <a:lnTo>
                      <a:pt x="179480" y="243845"/>
                    </a:lnTo>
                    <a:cubicBezTo>
                      <a:pt x="175221" y="243845"/>
                      <a:pt x="171219" y="241729"/>
                      <a:pt x="168789" y="238213"/>
                    </a:cubicBezTo>
                    <a:lnTo>
                      <a:pt x="124822" y="170949"/>
                    </a:lnTo>
                    <a:lnTo>
                      <a:pt x="80856" y="238213"/>
                    </a:lnTo>
                    <a:cubicBezTo>
                      <a:pt x="78426" y="241729"/>
                      <a:pt x="74452" y="243845"/>
                      <a:pt x="70164" y="243845"/>
                    </a:cubicBezTo>
                    <a:lnTo>
                      <a:pt x="6273" y="243845"/>
                    </a:lnTo>
                    <a:cubicBezTo>
                      <a:pt x="1299" y="243845"/>
                      <a:pt x="-1703" y="238671"/>
                      <a:pt x="1042" y="234754"/>
                    </a:cubicBezTo>
                    <a:lnTo>
                      <a:pt x="76854" y="121922"/>
                    </a:lnTo>
                    <a:lnTo>
                      <a:pt x="1042" y="9091"/>
                    </a:lnTo>
                    <a:cubicBezTo>
                      <a:pt x="-1703" y="5203"/>
                      <a:pt x="1299" y="0"/>
                      <a:pt x="6273" y="0"/>
                    </a:cubicBezTo>
                    <a:lnTo>
                      <a:pt x="72880" y="0"/>
                    </a:lnTo>
                    <a:cubicBezTo>
                      <a:pt x="75367" y="0"/>
                      <a:pt x="77683" y="1143"/>
                      <a:pt x="78998" y="3030"/>
                    </a:cubicBezTo>
                    <a:lnTo>
                      <a:pt x="124794" y="72782"/>
                    </a:lnTo>
                    <a:lnTo>
                      <a:pt x="167788" y="3059"/>
                    </a:lnTo>
                    <a:cubicBezTo>
                      <a:pt x="169075" y="1172"/>
                      <a:pt x="171419" y="0"/>
                      <a:pt x="173906" y="0"/>
                    </a:cubicBezTo>
                    <a:lnTo>
                      <a:pt x="241171" y="0"/>
                    </a:lnTo>
                    <a:cubicBezTo>
                      <a:pt x="246145" y="0"/>
                      <a:pt x="249118" y="5174"/>
                      <a:pt x="246402" y="9062"/>
                    </a:cubicBezTo>
                    <a:lnTo>
                      <a:pt x="172505" y="121922"/>
                    </a:ln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21" name="Freeform: Shape 11">
                <a:extLst>
                  <a:ext uri="{FF2B5EF4-FFF2-40B4-BE49-F238E27FC236}">
                    <a16:creationId xmlns:a16="http://schemas.microsoft.com/office/drawing/2014/main" id="{924F741B-AAB3-F0D4-9B9F-070E9BE56E43}"/>
                  </a:ext>
                </a:extLst>
              </p:cNvPr>
              <p:cNvSpPr/>
              <p:nvPr/>
            </p:nvSpPr>
            <p:spPr>
              <a:xfrm>
                <a:off x="9581152" y="3011696"/>
                <a:ext cx="164831" cy="342440"/>
              </a:xfrm>
              <a:custGeom>
                <a:avLst/>
                <a:gdLst>
                  <a:gd name="connsiteX0" fmla="*/ 158342 w 164831"/>
                  <a:gd name="connsiteY0" fmla="*/ 29 h 342440"/>
                  <a:gd name="connsiteX1" fmla="*/ 105342 w 164831"/>
                  <a:gd name="connsiteY1" fmla="*/ 29 h 342440"/>
                  <a:gd name="connsiteX2" fmla="*/ 91592 w 164831"/>
                  <a:gd name="connsiteY2" fmla="*/ 5717 h 342440"/>
                  <a:gd name="connsiteX3" fmla="*/ 41794 w 164831"/>
                  <a:gd name="connsiteY3" fmla="*/ 55515 h 342440"/>
                  <a:gd name="connsiteX4" fmla="*/ 36105 w 164831"/>
                  <a:gd name="connsiteY4" fmla="*/ 69266 h 342440"/>
                  <a:gd name="connsiteX5" fmla="*/ 36105 w 164831"/>
                  <a:gd name="connsiteY5" fmla="*/ 108458 h 342440"/>
                  <a:gd name="connsiteX6" fmla="*/ 6375 w 164831"/>
                  <a:gd name="connsiteY6" fmla="*/ 108458 h 342440"/>
                  <a:gd name="connsiteX7" fmla="*/ 0 w 164831"/>
                  <a:gd name="connsiteY7" fmla="*/ 114833 h 342440"/>
                  <a:gd name="connsiteX8" fmla="*/ 0 w 164831"/>
                  <a:gd name="connsiteY8" fmla="*/ 158828 h 342440"/>
                  <a:gd name="connsiteX9" fmla="*/ 6375 w 164831"/>
                  <a:gd name="connsiteY9" fmla="*/ 165203 h 342440"/>
                  <a:gd name="connsiteX10" fmla="*/ 36105 w 164831"/>
                  <a:gd name="connsiteY10" fmla="*/ 165203 h 342440"/>
                  <a:gd name="connsiteX11" fmla="*/ 36105 w 164831"/>
                  <a:gd name="connsiteY11" fmla="*/ 335951 h 342440"/>
                  <a:gd name="connsiteX12" fmla="*/ 42594 w 164831"/>
                  <a:gd name="connsiteY12" fmla="*/ 342440 h 342440"/>
                  <a:gd name="connsiteX13" fmla="*/ 98510 w 164831"/>
                  <a:gd name="connsiteY13" fmla="*/ 342440 h 342440"/>
                  <a:gd name="connsiteX14" fmla="*/ 104999 w 164831"/>
                  <a:gd name="connsiteY14" fmla="*/ 335951 h 342440"/>
                  <a:gd name="connsiteX15" fmla="*/ 104999 w 164831"/>
                  <a:gd name="connsiteY15" fmla="*/ 165174 h 342440"/>
                  <a:gd name="connsiteX16" fmla="*/ 149394 w 164831"/>
                  <a:gd name="connsiteY16" fmla="*/ 165174 h 342440"/>
                  <a:gd name="connsiteX17" fmla="*/ 155769 w 164831"/>
                  <a:gd name="connsiteY17" fmla="*/ 158799 h 342440"/>
                  <a:gd name="connsiteX18" fmla="*/ 155769 w 164831"/>
                  <a:gd name="connsiteY18" fmla="*/ 114804 h 342440"/>
                  <a:gd name="connsiteX19" fmla="*/ 149394 w 164831"/>
                  <a:gd name="connsiteY19" fmla="*/ 108429 h 342440"/>
                  <a:gd name="connsiteX20" fmla="*/ 104999 w 164831"/>
                  <a:gd name="connsiteY20" fmla="*/ 108429 h 342440"/>
                  <a:gd name="connsiteX21" fmla="*/ 104999 w 164831"/>
                  <a:gd name="connsiteY21" fmla="*/ 80643 h 342440"/>
                  <a:gd name="connsiteX22" fmla="*/ 124438 w 164831"/>
                  <a:gd name="connsiteY22" fmla="*/ 61204 h 342440"/>
                  <a:gd name="connsiteX23" fmla="*/ 158342 w 164831"/>
                  <a:gd name="connsiteY23" fmla="*/ 61204 h 342440"/>
                  <a:gd name="connsiteX24" fmla="*/ 164831 w 164831"/>
                  <a:gd name="connsiteY24" fmla="*/ 54715 h 342440"/>
                  <a:gd name="connsiteX25" fmla="*/ 164831 w 164831"/>
                  <a:gd name="connsiteY25" fmla="*/ 6489 h 342440"/>
                  <a:gd name="connsiteX26" fmla="*/ 158342 w 164831"/>
                  <a:gd name="connsiteY26" fmla="*/ 0 h 342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64831" h="342440">
                    <a:moveTo>
                      <a:pt x="158342" y="29"/>
                    </a:moveTo>
                    <a:lnTo>
                      <a:pt x="105342" y="29"/>
                    </a:lnTo>
                    <a:cubicBezTo>
                      <a:pt x="100197" y="29"/>
                      <a:pt x="95251" y="2087"/>
                      <a:pt x="91592" y="5717"/>
                    </a:cubicBezTo>
                    <a:lnTo>
                      <a:pt x="41794" y="55515"/>
                    </a:lnTo>
                    <a:cubicBezTo>
                      <a:pt x="38135" y="59175"/>
                      <a:pt x="36105" y="64120"/>
                      <a:pt x="36105" y="69266"/>
                    </a:cubicBezTo>
                    <a:lnTo>
                      <a:pt x="36105" y="108458"/>
                    </a:lnTo>
                    <a:lnTo>
                      <a:pt x="6375" y="108458"/>
                    </a:lnTo>
                    <a:cubicBezTo>
                      <a:pt x="2859" y="108458"/>
                      <a:pt x="0" y="111317"/>
                      <a:pt x="0" y="114833"/>
                    </a:cubicBezTo>
                    <a:lnTo>
                      <a:pt x="0" y="158828"/>
                    </a:lnTo>
                    <a:cubicBezTo>
                      <a:pt x="0" y="162344"/>
                      <a:pt x="2859" y="165203"/>
                      <a:pt x="6375" y="165203"/>
                    </a:cubicBezTo>
                    <a:lnTo>
                      <a:pt x="36105" y="165203"/>
                    </a:lnTo>
                    <a:lnTo>
                      <a:pt x="36105" y="335951"/>
                    </a:lnTo>
                    <a:cubicBezTo>
                      <a:pt x="36105" y="339524"/>
                      <a:pt x="39021" y="342440"/>
                      <a:pt x="42594" y="342440"/>
                    </a:cubicBezTo>
                    <a:lnTo>
                      <a:pt x="98510" y="342440"/>
                    </a:lnTo>
                    <a:cubicBezTo>
                      <a:pt x="102083" y="342440"/>
                      <a:pt x="104999" y="339524"/>
                      <a:pt x="104999" y="335951"/>
                    </a:cubicBezTo>
                    <a:lnTo>
                      <a:pt x="104999" y="165174"/>
                    </a:lnTo>
                    <a:lnTo>
                      <a:pt x="149394" y="165174"/>
                    </a:lnTo>
                    <a:cubicBezTo>
                      <a:pt x="152911" y="165174"/>
                      <a:pt x="155769" y="162315"/>
                      <a:pt x="155769" y="158799"/>
                    </a:cubicBezTo>
                    <a:lnTo>
                      <a:pt x="155769" y="114804"/>
                    </a:lnTo>
                    <a:cubicBezTo>
                      <a:pt x="155769" y="111288"/>
                      <a:pt x="152911" y="108429"/>
                      <a:pt x="149394" y="108429"/>
                    </a:cubicBezTo>
                    <a:lnTo>
                      <a:pt x="104999" y="108429"/>
                    </a:lnTo>
                    <a:lnTo>
                      <a:pt x="104999" y="80643"/>
                    </a:lnTo>
                    <a:cubicBezTo>
                      <a:pt x="104999" y="69895"/>
                      <a:pt x="113718" y="61204"/>
                      <a:pt x="124438" y="61204"/>
                    </a:cubicBezTo>
                    <a:lnTo>
                      <a:pt x="158342" y="61204"/>
                    </a:lnTo>
                    <a:cubicBezTo>
                      <a:pt x="161915" y="61204"/>
                      <a:pt x="164831" y="58288"/>
                      <a:pt x="164831" y="54715"/>
                    </a:cubicBezTo>
                    <a:lnTo>
                      <a:pt x="164831" y="6489"/>
                    </a:lnTo>
                    <a:cubicBezTo>
                      <a:pt x="164831" y="2916"/>
                      <a:pt x="161915" y="0"/>
                      <a:pt x="158342" y="0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22" name="Freeform: Shape 12">
                <a:extLst>
                  <a:ext uri="{FF2B5EF4-FFF2-40B4-BE49-F238E27FC236}">
                    <a16:creationId xmlns:a16="http://schemas.microsoft.com/office/drawing/2014/main" id="{F7D1F7DD-37AC-F90F-665E-055B9559A9C0}"/>
                  </a:ext>
                </a:extLst>
              </p:cNvPr>
              <p:cNvSpPr/>
              <p:nvPr/>
            </p:nvSpPr>
            <p:spPr>
              <a:xfrm>
                <a:off x="10860611" y="3304224"/>
                <a:ext cx="53657" cy="53657"/>
              </a:xfrm>
              <a:custGeom>
                <a:avLst/>
                <a:gdLst>
                  <a:gd name="connsiteX0" fmla="*/ 53657 w 53657"/>
                  <a:gd name="connsiteY0" fmla="*/ 26786 h 53657"/>
                  <a:gd name="connsiteX1" fmla="*/ 26729 w 53657"/>
                  <a:gd name="connsiteY1" fmla="*/ 53657 h 53657"/>
                  <a:gd name="connsiteX2" fmla="*/ 0 w 53657"/>
                  <a:gd name="connsiteY2" fmla="*/ 26786 h 53657"/>
                  <a:gd name="connsiteX3" fmla="*/ 26814 w 53657"/>
                  <a:gd name="connsiteY3" fmla="*/ 0 h 53657"/>
                  <a:gd name="connsiteX4" fmla="*/ 53629 w 53657"/>
                  <a:gd name="connsiteY4" fmla="*/ 26786 h 53657"/>
                  <a:gd name="connsiteX5" fmla="*/ 49541 w 53657"/>
                  <a:gd name="connsiteY5" fmla="*/ 26900 h 53657"/>
                  <a:gd name="connsiteX6" fmla="*/ 26843 w 53657"/>
                  <a:gd name="connsiteY6" fmla="*/ 3831 h 53657"/>
                  <a:gd name="connsiteX7" fmla="*/ 4145 w 53657"/>
                  <a:gd name="connsiteY7" fmla="*/ 26872 h 53657"/>
                  <a:gd name="connsiteX8" fmla="*/ 26729 w 53657"/>
                  <a:gd name="connsiteY8" fmla="*/ 49884 h 53657"/>
                  <a:gd name="connsiteX9" fmla="*/ 49541 w 53657"/>
                  <a:gd name="connsiteY9" fmla="*/ 26900 h 53657"/>
                  <a:gd name="connsiteX10" fmla="*/ 32589 w 53657"/>
                  <a:gd name="connsiteY10" fmla="*/ 31131 h 53657"/>
                  <a:gd name="connsiteX11" fmla="*/ 39335 w 53657"/>
                  <a:gd name="connsiteY11" fmla="*/ 41622 h 53657"/>
                  <a:gd name="connsiteX12" fmla="*/ 34876 w 53657"/>
                  <a:gd name="connsiteY12" fmla="*/ 41622 h 53657"/>
                  <a:gd name="connsiteX13" fmla="*/ 27386 w 53657"/>
                  <a:gd name="connsiteY13" fmla="*/ 29730 h 53657"/>
                  <a:gd name="connsiteX14" fmla="*/ 20554 w 53657"/>
                  <a:gd name="connsiteY14" fmla="*/ 29730 h 53657"/>
                  <a:gd name="connsiteX15" fmla="*/ 20554 w 53657"/>
                  <a:gd name="connsiteY15" fmla="*/ 41622 h 53657"/>
                  <a:gd name="connsiteX16" fmla="*/ 16809 w 53657"/>
                  <a:gd name="connsiteY16" fmla="*/ 41622 h 53657"/>
                  <a:gd name="connsiteX17" fmla="*/ 16809 w 53657"/>
                  <a:gd name="connsiteY17" fmla="*/ 11549 h 53657"/>
                  <a:gd name="connsiteX18" fmla="*/ 28472 w 53657"/>
                  <a:gd name="connsiteY18" fmla="*/ 11549 h 53657"/>
                  <a:gd name="connsiteX19" fmla="*/ 37963 w 53657"/>
                  <a:gd name="connsiteY19" fmla="*/ 20411 h 53657"/>
                  <a:gd name="connsiteX20" fmla="*/ 31131 w 53657"/>
                  <a:gd name="connsiteY20" fmla="*/ 29101 h 53657"/>
                  <a:gd name="connsiteX21" fmla="*/ 32589 w 53657"/>
                  <a:gd name="connsiteY21" fmla="*/ 31160 h 53657"/>
                  <a:gd name="connsiteX22" fmla="*/ 27214 w 53657"/>
                  <a:gd name="connsiteY22" fmla="*/ 26185 h 53657"/>
                  <a:gd name="connsiteX23" fmla="*/ 34047 w 53657"/>
                  <a:gd name="connsiteY23" fmla="*/ 20640 h 53657"/>
                  <a:gd name="connsiteX24" fmla="*/ 28558 w 53657"/>
                  <a:gd name="connsiteY24" fmla="*/ 15037 h 53657"/>
                  <a:gd name="connsiteX25" fmla="*/ 20525 w 53657"/>
                  <a:gd name="connsiteY25" fmla="*/ 15037 h 53657"/>
                  <a:gd name="connsiteX26" fmla="*/ 20525 w 53657"/>
                  <a:gd name="connsiteY26" fmla="*/ 26157 h 53657"/>
                  <a:gd name="connsiteX27" fmla="*/ 27214 w 53657"/>
                  <a:gd name="connsiteY27" fmla="*/ 26157 h 53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53657" h="53657">
                    <a:moveTo>
                      <a:pt x="53657" y="26786"/>
                    </a:moveTo>
                    <a:cubicBezTo>
                      <a:pt x="53657" y="41708"/>
                      <a:pt x="41708" y="53657"/>
                      <a:pt x="26729" y="53657"/>
                    </a:cubicBezTo>
                    <a:cubicBezTo>
                      <a:pt x="11749" y="53657"/>
                      <a:pt x="0" y="41594"/>
                      <a:pt x="0" y="26786"/>
                    </a:cubicBezTo>
                    <a:cubicBezTo>
                      <a:pt x="0" y="11978"/>
                      <a:pt x="11949" y="0"/>
                      <a:pt x="26814" y="0"/>
                    </a:cubicBezTo>
                    <a:cubicBezTo>
                      <a:pt x="41679" y="0"/>
                      <a:pt x="53629" y="11892"/>
                      <a:pt x="53629" y="26786"/>
                    </a:cubicBezTo>
                    <a:close/>
                    <a:moveTo>
                      <a:pt x="49541" y="26900"/>
                    </a:moveTo>
                    <a:cubicBezTo>
                      <a:pt x="49541" y="14036"/>
                      <a:pt x="39392" y="3831"/>
                      <a:pt x="26843" y="3831"/>
                    </a:cubicBezTo>
                    <a:cubicBezTo>
                      <a:pt x="14293" y="3831"/>
                      <a:pt x="4145" y="13922"/>
                      <a:pt x="4145" y="26872"/>
                    </a:cubicBezTo>
                    <a:cubicBezTo>
                      <a:pt x="4145" y="39821"/>
                      <a:pt x="14408" y="49884"/>
                      <a:pt x="26729" y="49884"/>
                    </a:cubicBezTo>
                    <a:cubicBezTo>
                      <a:pt x="39049" y="49884"/>
                      <a:pt x="49541" y="39736"/>
                      <a:pt x="49541" y="26900"/>
                    </a:cubicBezTo>
                    <a:close/>
                    <a:moveTo>
                      <a:pt x="32589" y="31131"/>
                    </a:moveTo>
                    <a:lnTo>
                      <a:pt x="39335" y="41622"/>
                    </a:lnTo>
                    <a:lnTo>
                      <a:pt x="34876" y="41622"/>
                    </a:lnTo>
                    <a:lnTo>
                      <a:pt x="27386" y="29730"/>
                    </a:lnTo>
                    <a:lnTo>
                      <a:pt x="20554" y="29730"/>
                    </a:lnTo>
                    <a:lnTo>
                      <a:pt x="20554" y="41622"/>
                    </a:lnTo>
                    <a:lnTo>
                      <a:pt x="16809" y="41622"/>
                    </a:lnTo>
                    <a:lnTo>
                      <a:pt x="16809" y="11549"/>
                    </a:lnTo>
                    <a:lnTo>
                      <a:pt x="28472" y="11549"/>
                    </a:lnTo>
                    <a:cubicBezTo>
                      <a:pt x="34218" y="11549"/>
                      <a:pt x="37963" y="14636"/>
                      <a:pt x="37963" y="20411"/>
                    </a:cubicBezTo>
                    <a:cubicBezTo>
                      <a:pt x="37963" y="25071"/>
                      <a:pt x="35133" y="27958"/>
                      <a:pt x="31131" y="29101"/>
                    </a:cubicBezTo>
                    <a:cubicBezTo>
                      <a:pt x="31674" y="29702"/>
                      <a:pt x="32217" y="30445"/>
                      <a:pt x="32589" y="31160"/>
                    </a:cubicBezTo>
                    <a:close/>
                    <a:moveTo>
                      <a:pt x="27214" y="26185"/>
                    </a:moveTo>
                    <a:cubicBezTo>
                      <a:pt x="31445" y="26185"/>
                      <a:pt x="34047" y="24184"/>
                      <a:pt x="34047" y="20640"/>
                    </a:cubicBezTo>
                    <a:cubicBezTo>
                      <a:pt x="34047" y="17095"/>
                      <a:pt x="32246" y="15037"/>
                      <a:pt x="28558" y="15037"/>
                    </a:cubicBezTo>
                    <a:lnTo>
                      <a:pt x="20525" y="15037"/>
                    </a:lnTo>
                    <a:lnTo>
                      <a:pt x="20525" y="26157"/>
                    </a:lnTo>
                    <a:lnTo>
                      <a:pt x="27214" y="26157"/>
                    </a:ln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23" name="Freeform: Shape 13">
                <a:extLst>
                  <a:ext uri="{FF2B5EF4-FFF2-40B4-BE49-F238E27FC236}">
                    <a16:creationId xmlns:a16="http://schemas.microsoft.com/office/drawing/2014/main" id="{5F3A5EFC-BB27-CEC0-7646-40393E3C982E}"/>
                  </a:ext>
                </a:extLst>
              </p:cNvPr>
              <p:cNvSpPr/>
              <p:nvPr/>
            </p:nvSpPr>
            <p:spPr>
              <a:xfrm>
                <a:off x="10283815" y="3011724"/>
                <a:ext cx="68865" cy="342354"/>
              </a:xfrm>
              <a:custGeom>
                <a:avLst/>
                <a:gdLst>
                  <a:gd name="connsiteX0" fmla="*/ 62376 w 68865"/>
                  <a:gd name="connsiteY0" fmla="*/ 0 h 342354"/>
                  <a:gd name="connsiteX1" fmla="*/ 68866 w 68865"/>
                  <a:gd name="connsiteY1" fmla="*/ 6489 h 342354"/>
                  <a:gd name="connsiteX2" fmla="*/ 68866 w 68865"/>
                  <a:gd name="connsiteY2" fmla="*/ 335865 h 342354"/>
                  <a:gd name="connsiteX3" fmla="*/ 62376 w 68865"/>
                  <a:gd name="connsiteY3" fmla="*/ 342355 h 342354"/>
                  <a:gd name="connsiteX4" fmla="*/ 6489 w 68865"/>
                  <a:gd name="connsiteY4" fmla="*/ 342355 h 342354"/>
                  <a:gd name="connsiteX5" fmla="*/ 0 w 68865"/>
                  <a:gd name="connsiteY5" fmla="*/ 335865 h 342354"/>
                  <a:gd name="connsiteX6" fmla="*/ 0 w 68865"/>
                  <a:gd name="connsiteY6" fmla="*/ 6489 h 342354"/>
                  <a:gd name="connsiteX7" fmla="*/ 6489 w 68865"/>
                  <a:gd name="connsiteY7" fmla="*/ 0 h 3423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8865" h="342354">
                    <a:moveTo>
                      <a:pt x="62376" y="0"/>
                    </a:moveTo>
                    <a:cubicBezTo>
                      <a:pt x="65960" y="0"/>
                      <a:pt x="68866" y="2905"/>
                      <a:pt x="68866" y="6489"/>
                    </a:cubicBezTo>
                    <a:lnTo>
                      <a:pt x="68866" y="335865"/>
                    </a:lnTo>
                    <a:cubicBezTo>
                      <a:pt x="68866" y="339449"/>
                      <a:pt x="65960" y="342355"/>
                      <a:pt x="62376" y="342355"/>
                    </a:cubicBezTo>
                    <a:lnTo>
                      <a:pt x="6489" y="342355"/>
                    </a:lnTo>
                    <a:cubicBezTo>
                      <a:pt x="2905" y="342355"/>
                      <a:pt x="0" y="339449"/>
                      <a:pt x="0" y="335865"/>
                    </a:cubicBezTo>
                    <a:lnTo>
                      <a:pt x="0" y="6489"/>
                    </a:lnTo>
                    <a:cubicBezTo>
                      <a:pt x="0" y="2905"/>
                      <a:pt x="2905" y="0"/>
                      <a:pt x="6489" y="0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24" name="Freeform: Shape 14">
                <a:extLst>
                  <a:ext uri="{FF2B5EF4-FFF2-40B4-BE49-F238E27FC236}">
                    <a16:creationId xmlns:a16="http://schemas.microsoft.com/office/drawing/2014/main" id="{DD09011E-0A72-F2AB-4A28-374A5076AF4D}"/>
                  </a:ext>
                </a:extLst>
              </p:cNvPr>
              <p:cNvSpPr/>
              <p:nvPr/>
            </p:nvSpPr>
            <p:spPr>
              <a:xfrm>
                <a:off x="10006809" y="3011696"/>
                <a:ext cx="258538" cy="347300"/>
              </a:xfrm>
              <a:custGeom>
                <a:avLst/>
                <a:gdLst>
                  <a:gd name="connsiteX0" fmla="*/ 143734 w 258538"/>
                  <a:gd name="connsiteY0" fmla="*/ 93393 h 347300"/>
                  <a:gd name="connsiteX1" fmla="*/ 68894 w 258538"/>
                  <a:gd name="connsiteY1" fmla="*/ 129755 h 347300"/>
                  <a:gd name="connsiteX2" fmla="*/ 68894 w 258538"/>
                  <a:gd name="connsiteY2" fmla="*/ 6489 h 347300"/>
                  <a:gd name="connsiteX3" fmla="*/ 62405 w 258538"/>
                  <a:gd name="connsiteY3" fmla="*/ 0 h 347300"/>
                  <a:gd name="connsiteX4" fmla="*/ 6489 w 258538"/>
                  <a:gd name="connsiteY4" fmla="*/ 0 h 347300"/>
                  <a:gd name="connsiteX5" fmla="*/ 0 w 258538"/>
                  <a:gd name="connsiteY5" fmla="*/ 6489 h 347300"/>
                  <a:gd name="connsiteX6" fmla="*/ 0 w 258538"/>
                  <a:gd name="connsiteY6" fmla="*/ 335894 h 347300"/>
                  <a:gd name="connsiteX7" fmla="*/ 6489 w 258538"/>
                  <a:gd name="connsiteY7" fmla="*/ 342383 h 347300"/>
                  <a:gd name="connsiteX8" fmla="*/ 62405 w 258538"/>
                  <a:gd name="connsiteY8" fmla="*/ 342383 h 347300"/>
                  <a:gd name="connsiteX9" fmla="*/ 68894 w 258538"/>
                  <a:gd name="connsiteY9" fmla="*/ 335894 h 347300"/>
                  <a:gd name="connsiteX10" fmla="*/ 68894 w 258538"/>
                  <a:gd name="connsiteY10" fmla="*/ 311624 h 347300"/>
                  <a:gd name="connsiteX11" fmla="*/ 144249 w 258538"/>
                  <a:gd name="connsiteY11" fmla="*/ 347300 h 347300"/>
                  <a:gd name="connsiteX12" fmla="*/ 258539 w 258538"/>
                  <a:gd name="connsiteY12" fmla="*/ 220689 h 347300"/>
                  <a:gd name="connsiteX13" fmla="*/ 143763 w 258538"/>
                  <a:gd name="connsiteY13" fmla="*/ 93393 h 347300"/>
                  <a:gd name="connsiteX14" fmla="*/ 130041 w 258538"/>
                  <a:gd name="connsiteY14" fmla="*/ 282637 h 347300"/>
                  <a:gd name="connsiteX15" fmla="*/ 68894 w 258538"/>
                  <a:gd name="connsiteY15" fmla="*/ 220718 h 347300"/>
                  <a:gd name="connsiteX16" fmla="*/ 130041 w 258538"/>
                  <a:gd name="connsiteY16" fmla="*/ 159285 h 347300"/>
                  <a:gd name="connsiteX17" fmla="*/ 190216 w 258538"/>
                  <a:gd name="connsiteY17" fmla="*/ 220718 h 347300"/>
                  <a:gd name="connsiteX18" fmla="*/ 130041 w 258538"/>
                  <a:gd name="connsiteY18" fmla="*/ 282637 h 347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8538" h="347300">
                    <a:moveTo>
                      <a:pt x="143734" y="93393"/>
                    </a:moveTo>
                    <a:cubicBezTo>
                      <a:pt x="111946" y="93393"/>
                      <a:pt x="85503" y="107172"/>
                      <a:pt x="68894" y="129755"/>
                    </a:cubicBezTo>
                    <a:lnTo>
                      <a:pt x="68894" y="6489"/>
                    </a:lnTo>
                    <a:cubicBezTo>
                      <a:pt x="68894" y="2916"/>
                      <a:pt x="65978" y="0"/>
                      <a:pt x="62405" y="0"/>
                    </a:cubicBezTo>
                    <a:lnTo>
                      <a:pt x="6489" y="0"/>
                    </a:lnTo>
                    <a:cubicBezTo>
                      <a:pt x="2916" y="0"/>
                      <a:pt x="0" y="2916"/>
                      <a:pt x="0" y="6489"/>
                    </a:cubicBezTo>
                    <a:lnTo>
                      <a:pt x="0" y="335894"/>
                    </a:lnTo>
                    <a:cubicBezTo>
                      <a:pt x="0" y="339467"/>
                      <a:pt x="2916" y="342383"/>
                      <a:pt x="6489" y="342383"/>
                    </a:cubicBezTo>
                    <a:lnTo>
                      <a:pt x="62405" y="342383"/>
                    </a:lnTo>
                    <a:cubicBezTo>
                      <a:pt x="65978" y="342383"/>
                      <a:pt x="68894" y="339467"/>
                      <a:pt x="68894" y="335894"/>
                    </a:cubicBezTo>
                    <a:lnTo>
                      <a:pt x="68894" y="311624"/>
                    </a:lnTo>
                    <a:cubicBezTo>
                      <a:pt x="85532" y="334236"/>
                      <a:pt x="111946" y="347300"/>
                      <a:pt x="144249" y="347300"/>
                    </a:cubicBezTo>
                    <a:cubicBezTo>
                      <a:pt x="212257" y="347300"/>
                      <a:pt x="258539" y="292442"/>
                      <a:pt x="258539" y="220689"/>
                    </a:cubicBezTo>
                    <a:cubicBezTo>
                      <a:pt x="258539" y="148937"/>
                      <a:pt x="212257" y="93393"/>
                      <a:pt x="143763" y="93393"/>
                    </a:cubicBezTo>
                    <a:close/>
                    <a:moveTo>
                      <a:pt x="130041" y="282637"/>
                    </a:moveTo>
                    <a:cubicBezTo>
                      <a:pt x="94822" y="282637"/>
                      <a:pt x="68894" y="254136"/>
                      <a:pt x="68894" y="220718"/>
                    </a:cubicBezTo>
                    <a:cubicBezTo>
                      <a:pt x="68894" y="187300"/>
                      <a:pt x="94822" y="159285"/>
                      <a:pt x="130041" y="159285"/>
                    </a:cubicBezTo>
                    <a:cubicBezTo>
                      <a:pt x="165260" y="159285"/>
                      <a:pt x="190216" y="187300"/>
                      <a:pt x="190216" y="220718"/>
                    </a:cubicBezTo>
                    <a:cubicBezTo>
                      <a:pt x="190216" y="254136"/>
                      <a:pt x="164774" y="282637"/>
                      <a:pt x="130041" y="282637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25" name="Freeform: Shape 15">
                <a:extLst>
                  <a:ext uri="{FF2B5EF4-FFF2-40B4-BE49-F238E27FC236}">
                    <a16:creationId xmlns:a16="http://schemas.microsoft.com/office/drawing/2014/main" id="{DCC19EF5-510E-6BC7-5903-A8E6D8FFEE34}"/>
                  </a:ext>
                </a:extLst>
              </p:cNvPr>
              <p:cNvSpPr/>
              <p:nvPr userDrawn="1"/>
            </p:nvSpPr>
            <p:spPr>
              <a:xfrm>
                <a:off x="9736922" y="3105088"/>
                <a:ext cx="251792" cy="253935"/>
              </a:xfrm>
              <a:custGeom>
                <a:avLst/>
                <a:gdLst>
                  <a:gd name="connsiteX0" fmla="*/ 125896 w 251792"/>
                  <a:gd name="connsiteY0" fmla="*/ 0 h 253935"/>
                  <a:gd name="connsiteX1" fmla="*/ 0 w 251792"/>
                  <a:gd name="connsiteY1" fmla="*/ 126725 h 253935"/>
                  <a:gd name="connsiteX2" fmla="*/ 125896 w 251792"/>
                  <a:gd name="connsiteY2" fmla="*/ 253936 h 253935"/>
                  <a:gd name="connsiteX3" fmla="*/ 251792 w 251792"/>
                  <a:gd name="connsiteY3" fmla="*/ 126725 h 253935"/>
                  <a:gd name="connsiteX4" fmla="*/ 125896 w 251792"/>
                  <a:gd name="connsiteY4" fmla="*/ 0 h 253935"/>
                  <a:gd name="connsiteX5" fmla="*/ 126153 w 251792"/>
                  <a:gd name="connsiteY5" fmla="*/ 188558 h 253935"/>
                  <a:gd name="connsiteX6" fmla="*/ 65378 w 251792"/>
                  <a:gd name="connsiteY6" fmla="*/ 126725 h 253935"/>
                  <a:gd name="connsiteX7" fmla="*/ 126153 w 251792"/>
                  <a:gd name="connsiteY7" fmla="*/ 65378 h 253935"/>
                  <a:gd name="connsiteX8" fmla="*/ 186443 w 251792"/>
                  <a:gd name="connsiteY8" fmla="*/ 126725 h 253935"/>
                  <a:gd name="connsiteX9" fmla="*/ 126153 w 251792"/>
                  <a:gd name="connsiteY9" fmla="*/ 188558 h 253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1792" h="253935">
                    <a:moveTo>
                      <a:pt x="125896" y="0"/>
                    </a:moveTo>
                    <a:cubicBezTo>
                      <a:pt x="54944" y="0"/>
                      <a:pt x="0" y="55287"/>
                      <a:pt x="0" y="126725"/>
                    </a:cubicBezTo>
                    <a:cubicBezTo>
                      <a:pt x="0" y="198163"/>
                      <a:pt x="54915" y="253936"/>
                      <a:pt x="125896" y="253936"/>
                    </a:cubicBezTo>
                    <a:cubicBezTo>
                      <a:pt x="196877" y="253936"/>
                      <a:pt x="251792" y="198163"/>
                      <a:pt x="251792" y="126725"/>
                    </a:cubicBezTo>
                    <a:cubicBezTo>
                      <a:pt x="251792" y="55287"/>
                      <a:pt x="196877" y="0"/>
                      <a:pt x="125896" y="0"/>
                    </a:cubicBezTo>
                    <a:close/>
                    <a:moveTo>
                      <a:pt x="126153" y="188558"/>
                    </a:moveTo>
                    <a:cubicBezTo>
                      <a:pt x="91506" y="188558"/>
                      <a:pt x="65378" y="160314"/>
                      <a:pt x="65378" y="126725"/>
                    </a:cubicBezTo>
                    <a:cubicBezTo>
                      <a:pt x="65378" y="93136"/>
                      <a:pt x="91506" y="65378"/>
                      <a:pt x="126153" y="65378"/>
                    </a:cubicBezTo>
                    <a:cubicBezTo>
                      <a:pt x="160801" y="65378"/>
                      <a:pt x="186443" y="93136"/>
                      <a:pt x="186443" y="126725"/>
                    </a:cubicBezTo>
                    <a:cubicBezTo>
                      <a:pt x="186443" y="160314"/>
                      <a:pt x="161315" y="188558"/>
                      <a:pt x="126153" y="188558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26" name="Freeform: Shape 16">
                <a:extLst>
                  <a:ext uri="{FF2B5EF4-FFF2-40B4-BE49-F238E27FC236}">
                    <a16:creationId xmlns:a16="http://schemas.microsoft.com/office/drawing/2014/main" id="{21EEC141-74D9-2F3A-F83F-6B34634E822D}"/>
                  </a:ext>
                </a:extLst>
              </p:cNvPr>
              <p:cNvSpPr/>
              <p:nvPr/>
            </p:nvSpPr>
            <p:spPr>
              <a:xfrm>
                <a:off x="10370776" y="3105088"/>
                <a:ext cx="251792" cy="253935"/>
              </a:xfrm>
              <a:custGeom>
                <a:avLst/>
                <a:gdLst>
                  <a:gd name="connsiteX0" fmla="*/ 125896 w 251792"/>
                  <a:gd name="connsiteY0" fmla="*/ 0 h 253935"/>
                  <a:gd name="connsiteX1" fmla="*/ 0 w 251792"/>
                  <a:gd name="connsiteY1" fmla="*/ 126725 h 253935"/>
                  <a:gd name="connsiteX2" fmla="*/ 125896 w 251792"/>
                  <a:gd name="connsiteY2" fmla="*/ 253936 h 253935"/>
                  <a:gd name="connsiteX3" fmla="*/ 251792 w 251792"/>
                  <a:gd name="connsiteY3" fmla="*/ 126725 h 253935"/>
                  <a:gd name="connsiteX4" fmla="*/ 125896 w 251792"/>
                  <a:gd name="connsiteY4" fmla="*/ 0 h 253935"/>
                  <a:gd name="connsiteX5" fmla="*/ 126153 w 251792"/>
                  <a:gd name="connsiteY5" fmla="*/ 188558 h 253935"/>
                  <a:gd name="connsiteX6" fmla="*/ 65378 w 251792"/>
                  <a:gd name="connsiteY6" fmla="*/ 126725 h 253935"/>
                  <a:gd name="connsiteX7" fmla="*/ 126153 w 251792"/>
                  <a:gd name="connsiteY7" fmla="*/ 65378 h 253935"/>
                  <a:gd name="connsiteX8" fmla="*/ 186443 w 251792"/>
                  <a:gd name="connsiteY8" fmla="*/ 126725 h 253935"/>
                  <a:gd name="connsiteX9" fmla="*/ 126153 w 251792"/>
                  <a:gd name="connsiteY9" fmla="*/ 188558 h 253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1792" h="253935">
                    <a:moveTo>
                      <a:pt x="125896" y="0"/>
                    </a:moveTo>
                    <a:cubicBezTo>
                      <a:pt x="54944" y="0"/>
                      <a:pt x="0" y="55287"/>
                      <a:pt x="0" y="126725"/>
                    </a:cubicBezTo>
                    <a:cubicBezTo>
                      <a:pt x="0" y="198163"/>
                      <a:pt x="54915" y="253936"/>
                      <a:pt x="125896" y="253936"/>
                    </a:cubicBezTo>
                    <a:cubicBezTo>
                      <a:pt x="196877" y="253936"/>
                      <a:pt x="251792" y="198163"/>
                      <a:pt x="251792" y="126725"/>
                    </a:cubicBezTo>
                    <a:cubicBezTo>
                      <a:pt x="251792" y="55287"/>
                      <a:pt x="196877" y="0"/>
                      <a:pt x="125896" y="0"/>
                    </a:cubicBezTo>
                    <a:close/>
                    <a:moveTo>
                      <a:pt x="126153" y="188558"/>
                    </a:moveTo>
                    <a:cubicBezTo>
                      <a:pt x="91506" y="188558"/>
                      <a:pt x="65378" y="160314"/>
                      <a:pt x="65378" y="126725"/>
                    </a:cubicBezTo>
                    <a:cubicBezTo>
                      <a:pt x="65378" y="93136"/>
                      <a:pt x="91506" y="65378"/>
                      <a:pt x="126153" y="65378"/>
                    </a:cubicBezTo>
                    <a:cubicBezTo>
                      <a:pt x="160801" y="65378"/>
                      <a:pt x="186443" y="93136"/>
                      <a:pt x="186443" y="126725"/>
                    </a:cubicBezTo>
                    <a:cubicBezTo>
                      <a:pt x="186443" y="160314"/>
                      <a:pt x="161315" y="188558"/>
                      <a:pt x="126153" y="188558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27" name="Freeform: Shape 17">
                <a:extLst>
                  <a:ext uri="{FF2B5EF4-FFF2-40B4-BE49-F238E27FC236}">
                    <a16:creationId xmlns:a16="http://schemas.microsoft.com/office/drawing/2014/main" id="{FCF4A446-7A15-A313-EF12-7D3BDE2AA846}"/>
                  </a:ext>
                </a:extLst>
              </p:cNvPr>
              <p:cNvSpPr/>
              <p:nvPr/>
            </p:nvSpPr>
            <p:spPr>
              <a:xfrm>
                <a:off x="9242171" y="3110092"/>
                <a:ext cx="68865" cy="243987"/>
              </a:xfrm>
              <a:custGeom>
                <a:avLst/>
                <a:gdLst>
                  <a:gd name="connsiteX0" fmla="*/ 62405 w 68865"/>
                  <a:gd name="connsiteY0" fmla="*/ 243987 h 243987"/>
                  <a:gd name="connsiteX1" fmla="*/ 6489 w 68865"/>
                  <a:gd name="connsiteY1" fmla="*/ 243987 h 243987"/>
                  <a:gd name="connsiteX2" fmla="*/ 0 w 68865"/>
                  <a:gd name="connsiteY2" fmla="*/ 237498 h 243987"/>
                  <a:gd name="connsiteX3" fmla="*/ 0 w 68865"/>
                  <a:gd name="connsiteY3" fmla="*/ 63891 h 243987"/>
                  <a:gd name="connsiteX4" fmla="*/ 3888 w 68865"/>
                  <a:gd name="connsiteY4" fmla="*/ 54629 h 243987"/>
                  <a:gd name="connsiteX5" fmla="*/ 57860 w 68865"/>
                  <a:gd name="connsiteY5" fmla="*/ 1858 h 243987"/>
                  <a:gd name="connsiteX6" fmla="*/ 68866 w 68865"/>
                  <a:gd name="connsiteY6" fmla="*/ 6489 h 243987"/>
                  <a:gd name="connsiteX7" fmla="*/ 68866 w 68865"/>
                  <a:gd name="connsiteY7" fmla="*/ 237498 h 243987"/>
                  <a:gd name="connsiteX8" fmla="*/ 62376 w 68865"/>
                  <a:gd name="connsiteY8" fmla="*/ 243987 h 243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8865" h="243987">
                    <a:moveTo>
                      <a:pt x="62405" y="243987"/>
                    </a:moveTo>
                    <a:lnTo>
                      <a:pt x="6489" y="243987"/>
                    </a:lnTo>
                    <a:cubicBezTo>
                      <a:pt x="2916" y="243987"/>
                      <a:pt x="0" y="241071"/>
                      <a:pt x="0" y="237498"/>
                    </a:cubicBezTo>
                    <a:lnTo>
                      <a:pt x="0" y="63891"/>
                    </a:lnTo>
                    <a:cubicBezTo>
                      <a:pt x="0" y="60403"/>
                      <a:pt x="1401" y="57059"/>
                      <a:pt x="3888" y="54629"/>
                    </a:cubicBezTo>
                    <a:lnTo>
                      <a:pt x="57860" y="1858"/>
                    </a:lnTo>
                    <a:cubicBezTo>
                      <a:pt x="61976" y="-2144"/>
                      <a:pt x="68866" y="743"/>
                      <a:pt x="68866" y="6489"/>
                    </a:cubicBezTo>
                    <a:lnTo>
                      <a:pt x="68866" y="237498"/>
                    </a:lnTo>
                    <a:cubicBezTo>
                      <a:pt x="68866" y="241071"/>
                      <a:pt x="65950" y="243987"/>
                      <a:pt x="62376" y="243987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28" name="Freeform: Shape 18">
                <a:extLst>
                  <a:ext uri="{FF2B5EF4-FFF2-40B4-BE49-F238E27FC236}">
                    <a16:creationId xmlns:a16="http://schemas.microsoft.com/office/drawing/2014/main" id="{7B9D7A4C-EA60-D0F7-0C81-A5CFB4EFA58A}"/>
                  </a:ext>
                </a:extLst>
              </p:cNvPr>
              <p:cNvSpPr/>
              <p:nvPr/>
            </p:nvSpPr>
            <p:spPr>
              <a:xfrm>
                <a:off x="9347255" y="3105025"/>
                <a:ext cx="224777" cy="249082"/>
              </a:xfrm>
              <a:custGeom>
                <a:avLst/>
                <a:gdLst>
                  <a:gd name="connsiteX0" fmla="*/ 224749 w 224777"/>
                  <a:gd name="connsiteY0" fmla="*/ 87568 h 249082"/>
                  <a:gd name="connsiteX1" fmla="*/ 136416 w 224777"/>
                  <a:gd name="connsiteY1" fmla="*/ 6 h 249082"/>
                  <a:gd name="connsiteX2" fmla="*/ 68894 w 224777"/>
                  <a:gd name="connsiteY2" fmla="*/ 36540 h 249082"/>
                  <a:gd name="connsiteX3" fmla="*/ 68894 w 224777"/>
                  <a:gd name="connsiteY3" fmla="*/ 11670 h 249082"/>
                  <a:gd name="connsiteX4" fmla="*/ 62405 w 224777"/>
                  <a:gd name="connsiteY4" fmla="*/ 5181 h 249082"/>
                  <a:gd name="connsiteX5" fmla="*/ 6489 w 224777"/>
                  <a:gd name="connsiteY5" fmla="*/ 5181 h 249082"/>
                  <a:gd name="connsiteX6" fmla="*/ 0 w 224777"/>
                  <a:gd name="connsiteY6" fmla="*/ 11670 h 249082"/>
                  <a:gd name="connsiteX7" fmla="*/ 0 w 224777"/>
                  <a:gd name="connsiteY7" fmla="*/ 242565 h 249082"/>
                  <a:gd name="connsiteX8" fmla="*/ 6489 w 224777"/>
                  <a:gd name="connsiteY8" fmla="*/ 249054 h 249082"/>
                  <a:gd name="connsiteX9" fmla="*/ 62405 w 224777"/>
                  <a:gd name="connsiteY9" fmla="*/ 249054 h 249082"/>
                  <a:gd name="connsiteX10" fmla="*/ 68894 w 224777"/>
                  <a:gd name="connsiteY10" fmla="*/ 242565 h 249082"/>
                  <a:gd name="connsiteX11" fmla="*/ 68894 w 224777"/>
                  <a:gd name="connsiteY11" fmla="*/ 108293 h 249082"/>
                  <a:gd name="connsiteX12" fmla="*/ 112375 w 224777"/>
                  <a:gd name="connsiteY12" fmla="*/ 66385 h 249082"/>
                  <a:gd name="connsiteX13" fmla="*/ 155884 w 224777"/>
                  <a:gd name="connsiteY13" fmla="*/ 111266 h 249082"/>
                  <a:gd name="connsiteX14" fmla="*/ 155884 w 224777"/>
                  <a:gd name="connsiteY14" fmla="*/ 242593 h 249082"/>
                  <a:gd name="connsiteX15" fmla="*/ 162373 w 224777"/>
                  <a:gd name="connsiteY15" fmla="*/ 249083 h 249082"/>
                  <a:gd name="connsiteX16" fmla="*/ 218289 w 224777"/>
                  <a:gd name="connsiteY16" fmla="*/ 249083 h 249082"/>
                  <a:gd name="connsiteX17" fmla="*/ 224778 w 224777"/>
                  <a:gd name="connsiteY17" fmla="*/ 242593 h 249082"/>
                  <a:gd name="connsiteX18" fmla="*/ 224778 w 224777"/>
                  <a:gd name="connsiteY18" fmla="*/ 87596 h 249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4777" h="249082">
                    <a:moveTo>
                      <a:pt x="224749" y="87568"/>
                    </a:moveTo>
                    <a:cubicBezTo>
                      <a:pt x="224749" y="40257"/>
                      <a:pt x="185671" y="578"/>
                      <a:pt x="136416" y="6"/>
                    </a:cubicBezTo>
                    <a:cubicBezTo>
                      <a:pt x="104370" y="-365"/>
                      <a:pt x="82730" y="15329"/>
                      <a:pt x="68894" y="36540"/>
                    </a:cubicBezTo>
                    <a:lnTo>
                      <a:pt x="68894" y="11670"/>
                    </a:lnTo>
                    <a:cubicBezTo>
                      <a:pt x="68894" y="8097"/>
                      <a:pt x="65978" y="5181"/>
                      <a:pt x="62405" y="5181"/>
                    </a:cubicBezTo>
                    <a:lnTo>
                      <a:pt x="6489" y="5181"/>
                    </a:lnTo>
                    <a:cubicBezTo>
                      <a:pt x="2916" y="5181"/>
                      <a:pt x="0" y="8097"/>
                      <a:pt x="0" y="11670"/>
                    </a:cubicBezTo>
                    <a:lnTo>
                      <a:pt x="0" y="242565"/>
                    </a:lnTo>
                    <a:cubicBezTo>
                      <a:pt x="0" y="246138"/>
                      <a:pt x="2916" y="249054"/>
                      <a:pt x="6489" y="249054"/>
                    </a:cubicBezTo>
                    <a:lnTo>
                      <a:pt x="62405" y="249054"/>
                    </a:lnTo>
                    <a:cubicBezTo>
                      <a:pt x="65978" y="249054"/>
                      <a:pt x="68894" y="246138"/>
                      <a:pt x="68894" y="242565"/>
                    </a:cubicBezTo>
                    <a:lnTo>
                      <a:pt x="68894" y="108293"/>
                    </a:lnTo>
                    <a:cubicBezTo>
                      <a:pt x="70438" y="82451"/>
                      <a:pt x="86818" y="66385"/>
                      <a:pt x="112375" y="66385"/>
                    </a:cubicBezTo>
                    <a:cubicBezTo>
                      <a:pt x="137931" y="66385"/>
                      <a:pt x="155884" y="84423"/>
                      <a:pt x="155884" y="111266"/>
                    </a:cubicBezTo>
                    <a:lnTo>
                      <a:pt x="155884" y="242593"/>
                    </a:lnTo>
                    <a:cubicBezTo>
                      <a:pt x="155884" y="246167"/>
                      <a:pt x="158800" y="249083"/>
                      <a:pt x="162373" y="249083"/>
                    </a:cubicBezTo>
                    <a:lnTo>
                      <a:pt x="218289" y="249083"/>
                    </a:lnTo>
                    <a:cubicBezTo>
                      <a:pt x="221862" y="249083"/>
                      <a:pt x="224778" y="246167"/>
                      <a:pt x="224778" y="242593"/>
                    </a:cubicBezTo>
                    <a:lnTo>
                      <a:pt x="224778" y="87596"/>
                    </a:ln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46557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CF7010AE-F816-A1F9-6CE2-8C97BCC531C1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1122821" y="6467484"/>
            <a:ext cx="799740" cy="17088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14F8155-B856-6E95-7A32-94D92DF0AD0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08681" y="755408"/>
            <a:ext cx="9829471" cy="5555236"/>
          </a:xfrm>
          <a:prstGeom prst="rect">
            <a:avLst/>
          </a:prstGeom>
        </p:spPr>
      </p:pic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E2C2620C-FAC2-C00B-6A3E-452BBB2B432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9596" y="2115594"/>
            <a:ext cx="2585545" cy="215160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76805A1-40E9-CDDD-D8CC-E1B47AD608AA}"/>
              </a:ext>
            </a:extLst>
          </p:cNvPr>
          <p:cNvSpPr txBox="1"/>
          <p:nvPr userDrawn="1"/>
        </p:nvSpPr>
        <p:spPr>
          <a:xfrm>
            <a:off x="4553355" y="4267201"/>
            <a:ext cx="25855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0" i="0" spc="300" dirty="0">
                <a:solidFill>
                  <a:srgbClr val="00BD4D"/>
                </a:solidFill>
                <a:latin typeface="Lato" panose="020F0502020204030203" pitchFamily="34" charset="77"/>
              </a:rPr>
              <a:t>THANK YOU!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4349D66-C23D-6084-6E96-9FEDB08D20C0}"/>
              </a:ext>
            </a:extLst>
          </p:cNvPr>
          <p:cNvSpPr txBox="1"/>
          <p:nvPr userDrawn="1"/>
        </p:nvSpPr>
        <p:spPr>
          <a:xfrm>
            <a:off x="633984" y="6463293"/>
            <a:ext cx="327167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buFont typeface="Arial" panose="020B0604020202020204" pitchFamily="34" charset="0"/>
              <a:buNone/>
            </a:pPr>
            <a:r>
              <a:rPr lang="en-US" sz="1200" b="0" i="0" dirty="0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77"/>
              </a:rPr>
              <a:t>© 2026 Infoblox Inc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3797333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CF7010AE-F816-A1F9-6CE2-8C97BCC531C1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1122821" y="6467484"/>
            <a:ext cx="799740" cy="17088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3139C4E-4BE9-6D78-E1AB-49B0110D8D7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/>
          <a:srcRect l="30346" t="40649" r="30311" b="39833"/>
          <a:stretch>
            <a:fillRect/>
          </a:stretch>
        </p:blipFill>
        <p:spPr bwMode="auto">
          <a:xfrm>
            <a:off x="10182152" y="6467484"/>
            <a:ext cx="816948" cy="212925"/>
          </a:xfrm>
          <a:prstGeom prst="rect">
            <a:avLst/>
          </a:prstGeom>
          <a:noFill/>
          <a:effectLst>
            <a:outerShdw blurRad="50800" dist="38100" dir="2700000" algn="tl" rotWithShape="0">
              <a:schemeClr val="accent1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70738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bg>
      <p:bgPr>
        <a:solidFill>
          <a:srgbClr val="D9E1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CF7010AE-F816-A1F9-6CE2-8C97BCC531C1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1122821" y="6467484"/>
            <a:ext cx="799740" cy="170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6353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1891751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7A5C3F5F-FBD6-DDB2-224B-204A1B161C7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-12069" y="0"/>
            <a:ext cx="12200563" cy="6858000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4CA82CC5-6CDF-48F5-2252-6A984CCA5B7F}"/>
              </a:ext>
            </a:extLst>
          </p:cNvPr>
          <p:cNvGrpSpPr/>
          <p:nvPr userDrawn="1"/>
        </p:nvGrpSpPr>
        <p:grpSpPr>
          <a:xfrm>
            <a:off x="733434" y="544604"/>
            <a:ext cx="2455606" cy="510077"/>
            <a:chOff x="9242171" y="3011696"/>
            <a:chExt cx="1672097" cy="347327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37D6362F-C0E0-5A0D-212E-789BFAD6A452}"/>
                </a:ext>
              </a:extLst>
            </p:cNvPr>
            <p:cNvSpPr/>
            <p:nvPr/>
          </p:nvSpPr>
          <p:spPr>
            <a:xfrm rot="18900000">
              <a:off x="9267550" y="3013811"/>
              <a:ext cx="73496" cy="73496"/>
            </a:xfrm>
            <a:custGeom>
              <a:avLst/>
              <a:gdLst>
                <a:gd name="connsiteX0" fmla="*/ 67007 w 73496"/>
                <a:gd name="connsiteY0" fmla="*/ 0 h 73496"/>
                <a:gd name="connsiteX1" fmla="*/ 73497 w 73496"/>
                <a:gd name="connsiteY1" fmla="*/ 6489 h 73496"/>
                <a:gd name="connsiteX2" fmla="*/ 73497 w 73496"/>
                <a:gd name="connsiteY2" fmla="*/ 67007 h 73496"/>
                <a:gd name="connsiteX3" fmla="*/ 67007 w 73496"/>
                <a:gd name="connsiteY3" fmla="*/ 73496 h 73496"/>
                <a:gd name="connsiteX4" fmla="*/ 6489 w 73496"/>
                <a:gd name="connsiteY4" fmla="*/ 73496 h 73496"/>
                <a:gd name="connsiteX5" fmla="*/ 0 w 73496"/>
                <a:gd name="connsiteY5" fmla="*/ 67007 h 73496"/>
                <a:gd name="connsiteX6" fmla="*/ 0 w 73496"/>
                <a:gd name="connsiteY6" fmla="*/ 6489 h 73496"/>
                <a:gd name="connsiteX7" fmla="*/ 6489 w 73496"/>
                <a:gd name="connsiteY7" fmla="*/ 0 h 73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496" h="73496">
                  <a:moveTo>
                    <a:pt x="67007" y="0"/>
                  </a:moveTo>
                  <a:cubicBezTo>
                    <a:pt x="70591" y="0"/>
                    <a:pt x="73497" y="2905"/>
                    <a:pt x="73497" y="6489"/>
                  </a:cubicBezTo>
                  <a:lnTo>
                    <a:pt x="73497" y="67007"/>
                  </a:lnTo>
                  <a:cubicBezTo>
                    <a:pt x="73497" y="70591"/>
                    <a:pt x="70591" y="73496"/>
                    <a:pt x="67007" y="73496"/>
                  </a:cubicBezTo>
                  <a:lnTo>
                    <a:pt x="6489" y="73496"/>
                  </a:lnTo>
                  <a:cubicBezTo>
                    <a:pt x="2905" y="73496"/>
                    <a:pt x="0" y="70591"/>
                    <a:pt x="0" y="67007"/>
                  </a:cubicBezTo>
                  <a:lnTo>
                    <a:pt x="0" y="6489"/>
                  </a:lnTo>
                  <a:cubicBezTo>
                    <a:pt x="0" y="2905"/>
                    <a:pt x="2905" y="0"/>
                    <a:pt x="6489" y="0"/>
                  </a:cubicBezTo>
                  <a:close/>
                </a:path>
              </a:pathLst>
            </a:custGeom>
            <a:solidFill>
              <a:srgbClr val="00BD4D"/>
            </a:solidFill>
            <a:ln w="284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="0" i="0">
                <a:latin typeface="Lato" panose="020F0502020204030203" pitchFamily="34" charset="77"/>
              </a:endParaRP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BD769220-B256-3808-A89B-3057F63A0870}"/>
                </a:ext>
              </a:extLst>
            </p:cNvPr>
            <p:cNvGrpSpPr/>
            <p:nvPr/>
          </p:nvGrpSpPr>
          <p:grpSpPr>
            <a:xfrm>
              <a:off x="9242171" y="3011696"/>
              <a:ext cx="1672097" cy="347327"/>
              <a:chOff x="9242171" y="3011696"/>
              <a:chExt cx="1672097" cy="347327"/>
            </a:xfrm>
            <a:solidFill>
              <a:schemeClr val="bg1"/>
            </a:solidFill>
          </p:grpSpPr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5E42B49B-9A4D-9851-9C82-4ABDA31CB79B}"/>
                  </a:ext>
                </a:extLst>
              </p:cNvPr>
              <p:cNvSpPr/>
              <p:nvPr/>
            </p:nvSpPr>
            <p:spPr>
              <a:xfrm>
                <a:off x="10604432" y="3110234"/>
                <a:ext cx="249644" cy="243844"/>
              </a:xfrm>
              <a:custGeom>
                <a:avLst/>
                <a:gdLst>
                  <a:gd name="connsiteX0" fmla="*/ 172562 w 249644"/>
                  <a:gd name="connsiteY0" fmla="*/ 121922 h 243844"/>
                  <a:gd name="connsiteX1" fmla="*/ 248603 w 249644"/>
                  <a:gd name="connsiteY1" fmla="*/ 234754 h 243844"/>
                  <a:gd name="connsiteX2" fmla="*/ 243372 w 249644"/>
                  <a:gd name="connsiteY2" fmla="*/ 243845 h 243844"/>
                  <a:gd name="connsiteX3" fmla="*/ 179480 w 249644"/>
                  <a:gd name="connsiteY3" fmla="*/ 243845 h 243844"/>
                  <a:gd name="connsiteX4" fmla="*/ 168789 w 249644"/>
                  <a:gd name="connsiteY4" fmla="*/ 238213 h 243844"/>
                  <a:gd name="connsiteX5" fmla="*/ 124822 w 249644"/>
                  <a:gd name="connsiteY5" fmla="*/ 170949 h 243844"/>
                  <a:gd name="connsiteX6" fmla="*/ 80856 w 249644"/>
                  <a:gd name="connsiteY6" fmla="*/ 238213 h 243844"/>
                  <a:gd name="connsiteX7" fmla="*/ 70164 w 249644"/>
                  <a:gd name="connsiteY7" fmla="*/ 243845 h 243844"/>
                  <a:gd name="connsiteX8" fmla="*/ 6273 w 249644"/>
                  <a:gd name="connsiteY8" fmla="*/ 243845 h 243844"/>
                  <a:gd name="connsiteX9" fmla="*/ 1042 w 249644"/>
                  <a:gd name="connsiteY9" fmla="*/ 234754 h 243844"/>
                  <a:gd name="connsiteX10" fmla="*/ 76854 w 249644"/>
                  <a:gd name="connsiteY10" fmla="*/ 121922 h 243844"/>
                  <a:gd name="connsiteX11" fmla="*/ 1042 w 249644"/>
                  <a:gd name="connsiteY11" fmla="*/ 9091 h 243844"/>
                  <a:gd name="connsiteX12" fmla="*/ 6273 w 249644"/>
                  <a:gd name="connsiteY12" fmla="*/ 0 h 243844"/>
                  <a:gd name="connsiteX13" fmla="*/ 72880 w 249644"/>
                  <a:gd name="connsiteY13" fmla="*/ 0 h 243844"/>
                  <a:gd name="connsiteX14" fmla="*/ 78998 w 249644"/>
                  <a:gd name="connsiteY14" fmla="*/ 3030 h 243844"/>
                  <a:gd name="connsiteX15" fmla="*/ 124794 w 249644"/>
                  <a:gd name="connsiteY15" fmla="*/ 72782 h 243844"/>
                  <a:gd name="connsiteX16" fmla="*/ 167788 w 249644"/>
                  <a:gd name="connsiteY16" fmla="*/ 3059 h 243844"/>
                  <a:gd name="connsiteX17" fmla="*/ 173906 w 249644"/>
                  <a:gd name="connsiteY17" fmla="*/ 0 h 243844"/>
                  <a:gd name="connsiteX18" fmla="*/ 241171 w 249644"/>
                  <a:gd name="connsiteY18" fmla="*/ 0 h 243844"/>
                  <a:gd name="connsiteX19" fmla="*/ 246402 w 249644"/>
                  <a:gd name="connsiteY19" fmla="*/ 9062 h 243844"/>
                  <a:gd name="connsiteX20" fmla="*/ 172505 w 249644"/>
                  <a:gd name="connsiteY20" fmla="*/ 121922 h 243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49644" h="243844">
                    <a:moveTo>
                      <a:pt x="172562" y="121922"/>
                    </a:moveTo>
                    <a:lnTo>
                      <a:pt x="248603" y="234754"/>
                    </a:lnTo>
                    <a:cubicBezTo>
                      <a:pt x="251347" y="238642"/>
                      <a:pt x="248346" y="243845"/>
                      <a:pt x="243372" y="243845"/>
                    </a:cubicBezTo>
                    <a:lnTo>
                      <a:pt x="179480" y="243845"/>
                    </a:lnTo>
                    <a:cubicBezTo>
                      <a:pt x="175221" y="243845"/>
                      <a:pt x="171219" y="241729"/>
                      <a:pt x="168789" y="238213"/>
                    </a:cubicBezTo>
                    <a:lnTo>
                      <a:pt x="124822" y="170949"/>
                    </a:lnTo>
                    <a:lnTo>
                      <a:pt x="80856" y="238213"/>
                    </a:lnTo>
                    <a:cubicBezTo>
                      <a:pt x="78426" y="241729"/>
                      <a:pt x="74452" y="243845"/>
                      <a:pt x="70164" y="243845"/>
                    </a:cubicBezTo>
                    <a:lnTo>
                      <a:pt x="6273" y="243845"/>
                    </a:lnTo>
                    <a:cubicBezTo>
                      <a:pt x="1299" y="243845"/>
                      <a:pt x="-1703" y="238671"/>
                      <a:pt x="1042" y="234754"/>
                    </a:cubicBezTo>
                    <a:lnTo>
                      <a:pt x="76854" y="121922"/>
                    </a:lnTo>
                    <a:lnTo>
                      <a:pt x="1042" y="9091"/>
                    </a:lnTo>
                    <a:cubicBezTo>
                      <a:pt x="-1703" y="5203"/>
                      <a:pt x="1299" y="0"/>
                      <a:pt x="6273" y="0"/>
                    </a:cubicBezTo>
                    <a:lnTo>
                      <a:pt x="72880" y="0"/>
                    </a:lnTo>
                    <a:cubicBezTo>
                      <a:pt x="75367" y="0"/>
                      <a:pt x="77683" y="1143"/>
                      <a:pt x="78998" y="3030"/>
                    </a:cubicBezTo>
                    <a:lnTo>
                      <a:pt x="124794" y="72782"/>
                    </a:lnTo>
                    <a:lnTo>
                      <a:pt x="167788" y="3059"/>
                    </a:lnTo>
                    <a:cubicBezTo>
                      <a:pt x="169075" y="1172"/>
                      <a:pt x="171419" y="0"/>
                      <a:pt x="173906" y="0"/>
                    </a:cubicBezTo>
                    <a:lnTo>
                      <a:pt x="241171" y="0"/>
                    </a:lnTo>
                    <a:cubicBezTo>
                      <a:pt x="246145" y="0"/>
                      <a:pt x="249118" y="5174"/>
                      <a:pt x="246402" y="9062"/>
                    </a:cubicBezTo>
                    <a:lnTo>
                      <a:pt x="172505" y="121922"/>
                    </a:ln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BCB8EDF2-FC0E-8B6D-51E8-FFE28D4ACF5C}"/>
                  </a:ext>
                </a:extLst>
              </p:cNvPr>
              <p:cNvSpPr/>
              <p:nvPr/>
            </p:nvSpPr>
            <p:spPr>
              <a:xfrm>
                <a:off x="9581152" y="3011696"/>
                <a:ext cx="164831" cy="342440"/>
              </a:xfrm>
              <a:custGeom>
                <a:avLst/>
                <a:gdLst>
                  <a:gd name="connsiteX0" fmla="*/ 158342 w 164831"/>
                  <a:gd name="connsiteY0" fmla="*/ 29 h 342440"/>
                  <a:gd name="connsiteX1" fmla="*/ 105342 w 164831"/>
                  <a:gd name="connsiteY1" fmla="*/ 29 h 342440"/>
                  <a:gd name="connsiteX2" fmla="*/ 91592 w 164831"/>
                  <a:gd name="connsiteY2" fmla="*/ 5717 h 342440"/>
                  <a:gd name="connsiteX3" fmla="*/ 41794 w 164831"/>
                  <a:gd name="connsiteY3" fmla="*/ 55515 h 342440"/>
                  <a:gd name="connsiteX4" fmla="*/ 36105 w 164831"/>
                  <a:gd name="connsiteY4" fmla="*/ 69266 h 342440"/>
                  <a:gd name="connsiteX5" fmla="*/ 36105 w 164831"/>
                  <a:gd name="connsiteY5" fmla="*/ 108458 h 342440"/>
                  <a:gd name="connsiteX6" fmla="*/ 6375 w 164831"/>
                  <a:gd name="connsiteY6" fmla="*/ 108458 h 342440"/>
                  <a:gd name="connsiteX7" fmla="*/ 0 w 164831"/>
                  <a:gd name="connsiteY7" fmla="*/ 114833 h 342440"/>
                  <a:gd name="connsiteX8" fmla="*/ 0 w 164831"/>
                  <a:gd name="connsiteY8" fmla="*/ 158828 h 342440"/>
                  <a:gd name="connsiteX9" fmla="*/ 6375 w 164831"/>
                  <a:gd name="connsiteY9" fmla="*/ 165203 h 342440"/>
                  <a:gd name="connsiteX10" fmla="*/ 36105 w 164831"/>
                  <a:gd name="connsiteY10" fmla="*/ 165203 h 342440"/>
                  <a:gd name="connsiteX11" fmla="*/ 36105 w 164831"/>
                  <a:gd name="connsiteY11" fmla="*/ 335951 h 342440"/>
                  <a:gd name="connsiteX12" fmla="*/ 42594 w 164831"/>
                  <a:gd name="connsiteY12" fmla="*/ 342440 h 342440"/>
                  <a:gd name="connsiteX13" fmla="*/ 98510 w 164831"/>
                  <a:gd name="connsiteY13" fmla="*/ 342440 h 342440"/>
                  <a:gd name="connsiteX14" fmla="*/ 104999 w 164831"/>
                  <a:gd name="connsiteY14" fmla="*/ 335951 h 342440"/>
                  <a:gd name="connsiteX15" fmla="*/ 104999 w 164831"/>
                  <a:gd name="connsiteY15" fmla="*/ 165174 h 342440"/>
                  <a:gd name="connsiteX16" fmla="*/ 149394 w 164831"/>
                  <a:gd name="connsiteY16" fmla="*/ 165174 h 342440"/>
                  <a:gd name="connsiteX17" fmla="*/ 155769 w 164831"/>
                  <a:gd name="connsiteY17" fmla="*/ 158799 h 342440"/>
                  <a:gd name="connsiteX18" fmla="*/ 155769 w 164831"/>
                  <a:gd name="connsiteY18" fmla="*/ 114804 h 342440"/>
                  <a:gd name="connsiteX19" fmla="*/ 149394 w 164831"/>
                  <a:gd name="connsiteY19" fmla="*/ 108429 h 342440"/>
                  <a:gd name="connsiteX20" fmla="*/ 104999 w 164831"/>
                  <a:gd name="connsiteY20" fmla="*/ 108429 h 342440"/>
                  <a:gd name="connsiteX21" fmla="*/ 104999 w 164831"/>
                  <a:gd name="connsiteY21" fmla="*/ 80643 h 342440"/>
                  <a:gd name="connsiteX22" fmla="*/ 124438 w 164831"/>
                  <a:gd name="connsiteY22" fmla="*/ 61204 h 342440"/>
                  <a:gd name="connsiteX23" fmla="*/ 158342 w 164831"/>
                  <a:gd name="connsiteY23" fmla="*/ 61204 h 342440"/>
                  <a:gd name="connsiteX24" fmla="*/ 164831 w 164831"/>
                  <a:gd name="connsiteY24" fmla="*/ 54715 h 342440"/>
                  <a:gd name="connsiteX25" fmla="*/ 164831 w 164831"/>
                  <a:gd name="connsiteY25" fmla="*/ 6489 h 342440"/>
                  <a:gd name="connsiteX26" fmla="*/ 158342 w 164831"/>
                  <a:gd name="connsiteY26" fmla="*/ 0 h 342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64831" h="342440">
                    <a:moveTo>
                      <a:pt x="158342" y="29"/>
                    </a:moveTo>
                    <a:lnTo>
                      <a:pt x="105342" y="29"/>
                    </a:lnTo>
                    <a:cubicBezTo>
                      <a:pt x="100197" y="29"/>
                      <a:pt x="95251" y="2087"/>
                      <a:pt x="91592" y="5717"/>
                    </a:cubicBezTo>
                    <a:lnTo>
                      <a:pt x="41794" y="55515"/>
                    </a:lnTo>
                    <a:cubicBezTo>
                      <a:pt x="38135" y="59175"/>
                      <a:pt x="36105" y="64120"/>
                      <a:pt x="36105" y="69266"/>
                    </a:cubicBezTo>
                    <a:lnTo>
                      <a:pt x="36105" y="108458"/>
                    </a:lnTo>
                    <a:lnTo>
                      <a:pt x="6375" y="108458"/>
                    </a:lnTo>
                    <a:cubicBezTo>
                      <a:pt x="2859" y="108458"/>
                      <a:pt x="0" y="111317"/>
                      <a:pt x="0" y="114833"/>
                    </a:cubicBezTo>
                    <a:lnTo>
                      <a:pt x="0" y="158828"/>
                    </a:lnTo>
                    <a:cubicBezTo>
                      <a:pt x="0" y="162344"/>
                      <a:pt x="2859" y="165203"/>
                      <a:pt x="6375" y="165203"/>
                    </a:cubicBezTo>
                    <a:lnTo>
                      <a:pt x="36105" y="165203"/>
                    </a:lnTo>
                    <a:lnTo>
                      <a:pt x="36105" y="335951"/>
                    </a:lnTo>
                    <a:cubicBezTo>
                      <a:pt x="36105" y="339524"/>
                      <a:pt x="39021" y="342440"/>
                      <a:pt x="42594" y="342440"/>
                    </a:cubicBezTo>
                    <a:lnTo>
                      <a:pt x="98510" y="342440"/>
                    </a:lnTo>
                    <a:cubicBezTo>
                      <a:pt x="102083" y="342440"/>
                      <a:pt x="104999" y="339524"/>
                      <a:pt x="104999" y="335951"/>
                    </a:cubicBezTo>
                    <a:lnTo>
                      <a:pt x="104999" y="165174"/>
                    </a:lnTo>
                    <a:lnTo>
                      <a:pt x="149394" y="165174"/>
                    </a:lnTo>
                    <a:cubicBezTo>
                      <a:pt x="152911" y="165174"/>
                      <a:pt x="155769" y="162315"/>
                      <a:pt x="155769" y="158799"/>
                    </a:cubicBezTo>
                    <a:lnTo>
                      <a:pt x="155769" y="114804"/>
                    </a:lnTo>
                    <a:cubicBezTo>
                      <a:pt x="155769" y="111288"/>
                      <a:pt x="152911" y="108429"/>
                      <a:pt x="149394" y="108429"/>
                    </a:cubicBezTo>
                    <a:lnTo>
                      <a:pt x="104999" y="108429"/>
                    </a:lnTo>
                    <a:lnTo>
                      <a:pt x="104999" y="80643"/>
                    </a:lnTo>
                    <a:cubicBezTo>
                      <a:pt x="104999" y="69895"/>
                      <a:pt x="113718" y="61204"/>
                      <a:pt x="124438" y="61204"/>
                    </a:cubicBezTo>
                    <a:lnTo>
                      <a:pt x="158342" y="61204"/>
                    </a:lnTo>
                    <a:cubicBezTo>
                      <a:pt x="161915" y="61204"/>
                      <a:pt x="164831" y="58288"/>
                      <a:pt x="164831" y="54715"/>
                    </a:cubicBezTo>
                    <a:lnTo>
                      <a:pt x="164831" y="6489"/>
                    </a:lnTo>
                    <a:cubicBezTo>
                      <a:pt x="164831" y="2916"/>
                      <a:pt x="161915" y="0"/>
                      <a:pt x="158342" y="0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4ECF721C-8695-AAFF-F3BA-0A4139353E11}"/>
                  </a:ext>
                </a:extLst>
              </p:cNvPr>
              <p:cNvSpPr/>
              <p:nvPr/>
            </p:nvSpPr>
            <p:spPr>
              <a:xfrm>
                <a:off x="10860611" y="3304224"/>
                <a:ext cx="53657" cy="53657"/>
              </a:xfrm>
              <a:custGeom>
                <a:avLst/>
                <a:gdLst>
                  <a:gd name="connsiteX0" fmla="*/ 53657 w 53657"/>
                  <a:gd name="connsiteY0" fmla="*/ 26786 h 53657"/>
                  <a:gd name="connsiteX1" fmla="*/ 26729 w 53657"/>
                  <a:gd name="connsiteY1" fmla="*/ 53657 h 53657"/>
                  <a:gd name="connsiteX2" fmla="*/ 0 w 53657"/>
                  <a:gd name="connsiteY2" fmla="*/ 26786 h 53657"/>
                  <a:gd name="connsiteX3" fmla="*/ 26814 w 53657"/>
                  <a:gd name="connsiteY3" fmla="*/ 0 h 53657"/>
                  <a:gd name="connsiteX4" fmla="*/ 53629 w 53657"/>
                  <a:gd name="connsiteY4" fmla="*/ 26786 h 53657"/>
                  <a:gd name="connsiteX5" fmla="*/ 49541 w 53657"/>
                  <a:gd name="connsiteY5" fmla="*/ 26900 h 53657"/>
                  <a:gd name="connsiteX6" fmla="*/ 26843 w 53657"/>
                  <a:gd name="connsiteY6" fmla="*/ 3831 h 53657"/>
                  <a:gd name="connsiteX7" fmla="*/ 4145 w 53657"/>
                  <a:gd name="connsiteY7" fmla="*/ 26872 h 53657"/>
                  <a:gd name="connsiteX8" fmla="*/ 26729 w 53657"/>
                  <a:gd name="connsiteY8" fmla="*/ 49884 h 53657"/>
                  <a:gd name="connsiteX9" fmla="*/ 49541 w 53657"/>
                  <a:gd name="connsiteY9" fmla="*/ 26900 h 53657"/>
                  <a:gd name="connsiteX10" fmla="*/ 32589 w 53657"/>
                  <a:gd name="connsiteY10" fmla="*/ 31131 h 53657"/>
                  <a:gd name="connsiteX11" fmla="*/ 39335 w 53657"/>
                  <a:gd name="connsiteY11" fmla="*/ 41622 h 53657"/>
                  <a:gd name="connsiteX12" fmla="*/ 34876 w 53657"/>
                  <a:gd name="connsiteY12" fmla="*/ 41622 h 53657"/>
                  <a:gd name="connsiteX13" fmla="*/ 27386 w 53657"/>
                  <a:gd name="connsiteY13" fmla="*/ 29730 h 53657"/>
                  <a:gd name="connsiteX14" fmla="*/ 20554 w 53657"/>
                  <a:gd name="connsiteY14" fmla="*/ 29730 h 53657"/>
                  <a:gd name="connsiteX15" fmla="*/ 20554 w 53657"/>
                  <a:gd name="connsiteY15" fmla="*/ 41622 h 53657"/>
                  <a:gd name="connsiteX16" fmla="*/ 16809 w 53657"/>
                  <a:gd name="connsiteY16" fmla="*/ 41622 h 53657"/>
                  <a:gd name="connsiteX17" fmla="*/ 16809 w 53657"/>
                  <a:gd name="connsiteY17" fmla="*/ 11549 h 53657"/>
                  <a:gd name="connsiteX18" fmla="*/ 28472 w 53657"/>
                  <a:gd name="connsiteY18" fmla="*/ 11549 h 53657"/>
                  <a:gd name="connsiteX19" fmla="*/ 37963 w 53657"/>
                  <a:gd name="connsiteY19" fmla="*/ 20411 h 53657"/>
                  <a:gd name="connsiteX20" fmla="*/ 31131 w 53657"/>
                  <a:gd name="connsiteY20" fmla="*/ 29101 h 53657"/>
                  <a:gd name="connsiteX21" fmla="*/ 32589 w 53657"/>
                  <a:gd name="connsiteY21" fmla="*/ 31160 h 53657"/>
                  <a:gd name="connsiteX22" fmla="*/ 27214 w 53657"/>
                  <a:gd name="connsiteY22" fmla="*/ 26185 h 53657"/>
                  <a:gd name="connsiteX23" fmla="*/ 34047 w 53657"/>
                  <a:gd name="connsiteY23" fmla="*/ 20640 h 53657"/>
                  <a:gd name="connsiteX24" fmla="*/ 28558 w 53657"/>
                  <a:gd name="connsiteY24" fmla="*/ 15037 h 53657"/>
                  <a:gd name="connsiteX25" fmla="*/ 20525 w 53657"/>
                  <a:gd name="connsiteY25" fmla="*/ 15037 h 53657"/>
                  <a:gd name="connsiteX26" fmla="*/ 20525 w 53657"/>
                  <a:gd name="connsiteY26" fmla="*/ 26157 h 53657"/>
                  <a:gd name="connsiteX27" fmla="*/ 27214 w 53657"/>
                  <a:gd name="connsiteY27" fmla="*/ 26157 h 53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53657" h="53657">
                    <a:moveTo>
                      <a:pt x="53657" y="26786"/>
                    </a:moveTo>
                    <a:cubicBezTo>
                      <a:pt x="53657" y="41708"/>
                      <a:pt x="41708" y="53657"/>
                      <a:pt x="26729" y="53657"/>
                    </a:cubicBezTo>
                    <a:cubicBezTo>
                      <a:pt x="11749" y="53657"/>
                      <a:pt x="0" y="41594"/>
                      <a:pt x="0" y="26786"/>
                    </a:cubicBezTo>
                    <a:cubicBezTo>
                      <a:pt x="0" y="11978"/>
                      <a:pt x="11949" y="0"/>
                      <a:pt x="26814" y="0"/>
                    </a:cubicBezTo>
                    <a:cubicBezTo>
                      <a:pt x="41679" y="0"/>
                      <a:pt x="53629" y="11892"/>
                      <a:pt x="53629" y="26786"/>
                    </a:cubicBezTo>
                    <a:close/>
                    <a:moveTo>
                      <a:pt x="49541" y="26900"/>
                    </a:moveTo>
                    <a:cubicBezTo>
                      <a:pt x="49541" y="14036"/>
                      <a:pt x="39392" y="3831"/>
                      <a:pt x="26843" y="3831"/>
                    </a:cubicBezTo>
                    <a:cubicBezTo>
                      <a:pt x="14293" y="3831"/>
                      <a:pt x="4145" y="13922"/>
                      <a:pt x="4145" y="26872"/>
                    </a:cubicBezTo>
                    <a:cubicBezTo>
                      <a:pt x="4145" y="39821"/>
                      <a:pt x="14408" y="49884"/>
                      <a:pt x="26729" y="49884"/>
                    </a:cubicBezTo>
                    <a:cubicBezTo>
                      <a:pt x="39049" y="49884"/>
                      <a:pt x="49541" y="39736"/>
                      <a:pt x="49541" y="26900"/>
                    </a:cubicBezTo>
                    <a:close/>
                    <a:moveTo>
                      <a:pt x="32589" y="31131"/>
                    </a:moveTo>
                    <a:lnTo>
                      <a:pt x="39335" y="41622"/>
                    </a:lnTo>
                    <a:lnTo>
                      <a:pt x="34876" y="41622"/>
                    </a:lnTo>
                    <a:lnTo>
                      <a:pt x="27386" y="29730"/>
                    </a:lnTo>
                    <a:lnTo>
                      <a:pt x="20554" y="29730"/>
                    </a:lnTo>
                    <a:lnTo>
                      <a:pt x="20554" y="41622"/>
                    </a:lnTo>
                    <a:lnTo>
                      <a:pt x="16809" y="41622"/>
                    </a:lnTo>
                    <a:lnTo>
                      <a:pt x="16809" y="11549"/>
                    </a:lnTo>
                    <a:lnTo>
                      <a:pt x="28472" y="11549"/>
                    </a:lnTo>
                    <a:cubicBezTo>
                      <a:pt x="34218" y="11549"/>
                      <a:pt x="37963" y="14636"/>
                      <a:pt x="37963" y="20411"/>
                    </a:cubicBezTo>
                    <a:cubicBezTo>
                      <a:pt x="37963" y="25071"/>
                      <a:pt x="35133" y="27958"/>
                      <a:pt x="31131" y="29101"/>
                    </a:cubicBezTo>
                    <a:cubicBezTo>
                      <a:pt x="31674" y="29702"/>
                      <a:pt x="32217" y="30445"/>
                      <a:pt x="32589" y="31160"/>
                    </a:cubicBezTo>
                    <a:close/>
                    <a:moveTo>
                      <a:pt x="27214" y="26185"/>
                    </a:moveTo>
                    <a:cubicBezTo>
                      <a:pt x="31445" y="26185"/>
                      <a:pt x="34047" y="24184"/>
                      <a:pt x="34047" y="20640"/>
                    </a:cubicBezTo>
                    <a:cubicBezTo>
                      <a:pt x="34047" y="17095"/>
                      <a:pt x="32246" y="15037"/>
                      <a:pt x="28558" y="15037"/>
                    </a:cubicBezTo>
                    <a:lnTo>
                      <a:pt x="20525" y="15037"/>
                    </a:lnTo>
                    <a:lnTo>
                      <a:pt x="20525" y="26157"/>
                    </a:lnTo>
                    <a:lnTo>
                      <a:pt x="27214" y="26157"/>
                    </a:ln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3E660A99-F0B2-5007-98C9-3F482CE6C959}"/>
                  </a:ext>
                </a:extLst>
              </p:cNvPr>
              <p:cNvSpPr/>
              <p:nvPr/>
            </p:nvSpPr>
            <p:spPr>
              <a:xfrm>
                <a:off x="10283815" y="3011724"/>
                <a:ext cx="68865" cy="342354"/>
              </a:xfrm>
              <a:custGeom>
                <a:avLst/>
                <a:gdLst>
                  <a:gd name="connsiteX0" fmla="*/ 62376 w 68865"/>
                  <a:gd name="connsiteY0" fmla="*/ 0 h 342354"/>
                  <a:gd name="connsiteX1" fmla="*/ 68866 w 68865"/>
                  <a:gd name="connsiteY1" fmla="*/ 6489 h 342354"/>
                  <a:gd name="connsiteX2" fmla="*/ 68866 w 68865"/>
                  <a:gd name="connsiteY2" fmla="*/ 335865 h 342354"/>
                  <a:gd name="connsiteX3" fmla="*/ 62376 w 68865"/>
                  <a:gd name="connsiteY3" fmla="*/ 342355 h 342354"/>
                  <a:gd name="connsiteX4" fmla="*/ 6489 w 68865"/>
                  <a:gd name="connsiteY4" fmla="*/ 342355 h 342354"/>
                  <a:gd name="connsiteX5" fmla="*/ 0 w 68865"/>
                  <a:gd name="connsiteY5" fmla="*/ 335865 h 342354"/>
                  <a:gd name="connsiteX6" fmla="*/ 0 w 68865"/>
                  <a:gd name="connsiteY6" fmla="*/ 6489 h 342354"/>
                  <a:gd name="connsiteX7" fmla="*/ 6489 w 68865"/>
                  <a:gd name="connsiteY7" fmla="*/ 0 h 3423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8865" h="342354">
                    <a:moveTo>
                      <a:pt x="62376" y="0"/>
                    </a:moveTo>
                    <a:cubicBezTo>
                      <a:pt x="65960" y="0"/>
                      <a:pt x="68866" y="2905"/>
                      <a:pt x="68866" y="6489"/>
                    </a:cubicBezTo>
                    <a:lnTo>
                      <a:pt x="68866" y="335865"/>
                    </a:lnTo>
                    <a:cubicBezTo>
                      <a:pt x="68866" y="339449"/>
                      <a:pt x="65960" y="342355"/>
                      <a:pt x="62376" y="342355"/>
                    </a:cubicBezTo>
                    <a:lnTo>
                      <a:pt x="6489" y="342355"/>
                    </a:lnTo>
                    <a:cubicBezTo>
                      <a:pt x="2905" y="342355"/>
                      <a:pt x="0" y="339449"/>
                      <a:pt x="0" y="335865"/>
                    </a:cubicBezTo>
                    <a:lnTo>
                      <a:pt x="0" y="6489"/>
                    </a:lnTo>
                    <a:cubicBezTo>
                      <a:pt x="0" y="2905"/>
                      <a:pt x="2905" y="0"/>
                      <a:pt x="6489" y="0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B8FB2F8B-6AB9-4450-DD6B-1D67DAC47C0C}"/>
                  </a:ext>
                </a:extLst>
              </p:cNvPr>
              <p:cNvSpPr/>
              <p:nvPr/>
            </p:nvSpPr>
            <p:spPr>
              <a:xfrm>
                <a:off x="10006809" y="3011696"/>
                <a:ext cx="258538" cy="347300"/>
              </a:xfrm>
              <a:custGeom>
                <a:avLst/>
                <a:gdLst>
                  <a:gd name="connsiteX0" fmla="*/ 143734 w 258538"/>
                  <a:gd name="connsiteY0" fmla="*/ 93393 h 347300"/>
                  <a:gd name="connsiteX1" fmla="*/ 68894 w 258538"/>
                  <a:gd name="connsiteY1" fmla="*/ 129755 h 347300"/>
                  <a:gd name="connsiteX2" fmla="*/ 68894 w 258538"/>
                  <a:gd name="connsiteY2" fmla="*/ 6489 h 347300"/>
                  <a:gd name="connsiteX3" fmla="*/ 62405 w 258538"/>
                  <a:gd name="connsiteY3" fmla="*/ 0 h 347300"/>
                  <a:gd name="connsiteX4" fmla="*/ 6489 w 258538"/>
                  <a:gd name="connsiteY4" fmla="*/ 0 h 347300"/>
                  <a:gd name="connsiteX5" fmla="*/ 0 w 258538"/>
                  <a:gd name="connsiteY5" fmla="*/ 6489 h 347300"/>
                  <a:gd name="connsiteX6" fmla="*/ 0 w 258538"/>
                  <a:gd name="connsiteY6" fmla="*/ 335894 h 347300"/>
                  <a:gd name="connsiteX7" fmla="*/ 6489 w 258538"/>
                  <a:gd name="connsiteY7" fmla="*/ 342383 h 347300"/>
                  <a:gd name="connsiteX8" fmla="*/ 62405 w 258538"/>
                  <a:gd name="connsiteY8" fmla="*/ 342383 h 347300"/>
                  <a:gd name="connsiteX9" fmla="*/ 68894 w 258538"/>
                  <a:gd name="connsiteY9" fmla="*/ 335894 h 347300"/>
                  <a:gd name="connsiteX10" fmla="*/ 68894 w 258538"/>
                  <a:gd name="connsiteY10" fmla="*/ 311624 h 347300"/>
                  <a:gd name="connsiteX11" fmla="*/ 144249 w 258538"/>
                  <a:gd name="connsiteY11" fmla="*/ 347300 h 347300"/>
                  <a:gd name="connsiteX12" fmla="*/ 258539 w 258538"/>
                  <a:gd name="connsiteY12" fmla="*/ 220689 h 347300"/>
                  <a:gd name="connsiteX13" fmla="*/ 143763 w 258538"/>
                  <a:gd name="connsiteY13" fmla="*/ 93393 h 347300"/>
                  <a:gd name="connsiteX14" fmla="*/ 130041 w 258538"/>
                  <a:gd name="connsiteY14" fmla="*/ 282637 h 347300"/>
                  <a:gd name="connsiteX15" fmla="*/ 68894 w 258538"/>
                  <a:gd name="connsiteY15" fmla="*/ 220718 h 347300"/>
                  <a:gd name="connsiteX16" fmla="*/ 130041 w 258538"/>
                  <a:gd name="connsiteY16" fmla="*/ 159285 h 347300"/>
                  <a:gd name="connsiteX17" fmla="*/ 190216 w 258538"/>
                  <a:gd name="connsiteY17" fmla="*/ 220718 h 347300"/>
                  <a:gd name="connsiteX18" fmla="*/ 130041 w 258538"/>
                  <a:gd name="connsiteY18" fmla="*/ 282637 h 347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8538" h="347300">
                    <a:moveTo>
                      <a:pt x="143734" y="93393"/>
                    </a:moveTo>
                    <a:cubicBezTo>
                      <a:pt x="111946" y="93393"/>
                      <a:pt x="85503" y="107172"/>
                      <a:pt x="68894" y="129755"/>
                    </a:cubicBezTo>
                    <a:lnTo>
                      <a:pt x="68894" y="6489"/>
                    </a:lnTo>
                    <a:cubicBezTo>
                      <a:pt x="68894" y="2916"/>
                      <a:pt x="65978" y="0"/>
                      <a:pt x="62405" y="0"/>
                    </a:cubicBezTo>
                    <a:lnTo>
                      <a:pt x="6489" y="0"/>
                    </a:lnTo>
                    <a:cubicBezTo>
                      <a:pt x="2916" y="0"/>
                      <a:pt x="0" y="2916"/>
                      <a:pt x="0" y="6489"/>
                    </a:cubicBezTo>
                    <a:lnTo>
                      <a:pt x="0" y="335894"/>
                    </a:lnTo>
                    <a:cubicBezTo>
                      <a:pt x="0" y="339467"/>
                      <a:pt x="2916" y="342383"/>
                      <a:pt x="6489" y="342383"/>
                    </a:cubicBezTo>
                    <a:lnTo>
                      <a:pt x="62405" y="342383"/>
                    </a:lnTo>
                    <a:cubicBezTo>
                      <a:pt x="65978" y="342383"/>
                      <a:pt x="68894" y="339467"/>
                      <a:pt x="68894" y="335894"/>
                    </a:cubicBezTo>
                    <a:lnTo>
                      <a:pt x="68894" y="311624"/>
                    </a:lnTo>
                    <a:cubicBezTo>
                      <a:pt x="85532" y="334236"/>
                      <a:pt x="111946" y="347300"/>
                      <a:pt x="144249" y="347300"/>
                    </a:cubicBezTo>
                    <a:cubicBezTo>
                      <a:pt x="212257" y="347300"/>
                      <a:pt x="258539" y="292442"/>
                      <a:pt x="258539" y="220689"/>
                    </a:cubicBezTo>
                    <a:cubicBezTo>
                      <a:pt x="258539" y="148937"/>
                      <a:pt x="212257" y="93393"/>
                      <a:pt x="143763" y="93393"/>
                    </a:cubicBezTo>
                    <a:close/>
                    <a:moveTo>
                      <a:pt x="130041" y="282637"/>
                    </a:moveTo>
                    <a:cubicBezTo>
                      <a:pt x="94822" y="282637"/>
                      <a:pt x="68894" y="254136"/>
                      <a:pt x="68894" y="220718"/>
                    </a:cubicBezTo>
                    <a:cubicBezTo>
                      <a:pt x="68894" y="187300"/>
                      <a:pt x="94822" y="159285"/>
                      <a:pt x="130041" y="159285"/>
                    </a:cubicBezTo>
                    <a:cubicBezTo>
                      <a:pt x="165260" y="159285"/>
                      <a:pt x="190216" y="187300"/>
                      <a:pt x="190216" y="220718"/>
                    </a:cubicBezTo>
                    <a:cubicBezTo>
                      <a:pt x="190216" y="254136"/>
                      <a:pt x="164774" y="282637"/>
                      <a:pt x="130041" y="282637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07BE9964-9487-28F0-45B5-BFF7EDFEAB72}"/>
                  </a:ext>
                </a:extLst>
              </p:cNvPr>
              <p:cNvSpPr/>
              <p:nvPr/>
            </p:nvSpPr>
            <p:spPr>
              <a:xfrm>
                <a:off x="9736922" y="3105088"/>
                <a:ext cx="251792" cy="253935"/>
              </a:xfrm>
              <a:custGeom>
                <a:avLst/>
                <a:gdLst>
                  <a:gd name="connsiteX0" fmla="*/ 125896 w 251792"/>
                  <a:gd name="connsiteY0" fmla="*/ 0 h 253935"/>
                  <a:gd name="connsiteX1" fmla="*/ 0 w 251792"/>
                  <a:gd name="connsiteY1" fmla="*/ 126725 h 253935"/>
                  <a:gd name="connsiteX2" fmla="*/ 125896 w 251792"/>
                  <a:gd name="connsiteY2" fmla="*/ 253936 h 253935"/>
                  <a:gd name="connsiteX3" fmla="*/ 251792 w 251792"/>
                  <a:gd name="connsiteY3" fmla="*/ 126725 h 253935"/>
                  <a:gd name="connsiteX4" fmla="*/ 125896 w 251792"/>
                  <a:gd name="connsiteY4" fmla="*/ 0 h 253935"/>
                  <a:gd name="connsiteX5" fmla="*/ 126153 w 251792"/>
                  <a:gd name="connsiteY5" fmla="*/ 188558 h 253935"/>
                  <a:gd name="connsiteX6" fmla="*/ 65378 w 251792"/>
                  <a:gd name="connsiteY6" fmla="*/ 126725 h 253935"/>
                  <a:gd name="connsiteX7" fmla="*/ 126153 w 251792"/>
                  <a:gd name="connsiteY7" fmla="*/ 65378 h 253935"/>
                  <a:gd name="connsiteX8" fmla="*/ 186443 w 251792"/>
                  <a:gd name="connsiteY8" fmla="*/ 126725 h 253935"/>
                  <a:gd name="connsiteX9" fmla="*/ 126153 w 251792"/>
                  <a:gd name="connsiteY9" fmla="*/ 188558 h 253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1792" h="253935">
                    <a:moveTo>
                      <a:pt x="125896" y="0"/>
                    </a:moveTo>
                    <a:cubicBezTo>
                      <a:pt x="54944" y="0"/>
                      <a:pt x="0" y="55287"/>
                      <a:pt x="0" y="126725"/>
                    </a:cubicBezTo>
                    <a:cubicBezTo>
                      <a:pt x="0" y="198163"/>
                      <a:pt x="54915" y="253936"/>
                      <a:pt x="125896" y="253936"/>
                    </a:cubicBezTo>
                    <a:cubicBezTo>
                      <a:pt x="196877" y="253936"/>
                      <a:pt x="251792" y="198163"/>
                      <a:pt x="251792" y="126725"/>
                    </a:cubicBezTo>
                    <a:cubicBezTo>
                      <a:pt x="251792" y="55287"/>
                      <a:pt x="196877" y="0"/>
                      <a:pt x="125896" y="0"/>
                    </a:cubicBezTo>
                    <a:close/>
                    <a:moveTo>
                      <a:pt x="126153" y="188558"/>
                    </a:moveTo>
                    <a:cubicBezTo>
                      <a:pt x="91506" y="188558"/>
                      <a:pt x="65378" y="160314"/>
                      <a:pt x="65378" y="126725"/>
                    </a:cubicBezTo>
                    <a:cubicBezTo>
                      <a:pt x="65378" y="93136"/>
                      <a:pt x="91506" y="65378"/>
                      <a:pt x="126153" y="65378"/>
                    </a:cubicBezTo>
                    <a:cubicBezTo>
                      <a:pt x="160801" y="65378"/>
                      <a:pt x="186443" y="93136"/>
                      <a:pt x="186443" y="126725"/>
                    </a:cubicBezTo>
                    <a:cubicBezTo>
                      <a:pt x="186443" y="160314"/>
                      <a:pt x="161315" y="188558"/>
                      <a:pt x="126153" y="188558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C7D30DCD-1485-7F9E-EBAC-645359438BF7}"/>
                  </a:ext>
                </a:extLst>
              </p:cNvPr>
              <p:cNvSpPr/>
              <p:nvPr/>
            </p:nvSpPr>
            <p:spPr>
              <a:xfrm>
                <a:off x="10370776" y="3105088"/>
                <a:ext cx="251792" cy="253935"/>
              </a:xfrm>
              <a:custGeom>
                <a:avLst/>
                <a:gdLst>
                  <a:gd name="connsiteX0" fmla="*/ 125896 w 251792"/>
                  <a:gd name="connsiteY0" fmla="*/ 0 h 253935"/>
                  <a:gd name="connsiteX1" fmla="*/ 0 w 251792"/>
                  <a:gd name="connsiteY1" fmla="*/ 126725 h 253935"/>
                  <a:gd name="connsiteX2" fmla="*/ 125896 w 251792"/>
                  <a:gd name="connsiteY2" fmla="*/ 253936 h 253935"/>
                  <a:gd name="connsiteX3" fmla="*/ 251792 w 251792"/>
                  <a:gd name="connsiteY3" fmla="*/ 126725 h 253935"/>
                  <a:gd name="connsiteX4" fmla="*/ 125896 w 251792"/>
                  <a:gd name="connsiteY4" fmla="*/ 0 h 253935"/>
                  <a:gd name="connsiteX5" fmla="*/ 126153 w 251792"/>
                  <a:gd name="connsiteY5" fmla="*/ 188558 h 253935"/>
                  <a:gd name="connsiteX6" fmla="*/ 65378 w 251792"/>
                  <a:gd name="connsiteY6" fmla="*/ 126725 h 253935"/>
                  <a:gd name="connsiteX7" fmla="*/ 126153 w 251792"/>
                  <a:gd name="connsiteY7" fmla="*/ 65378 h 253935"/>
                  <a:gd name="connsiteX8" fmla="*/ 186443 w 251792"/>
                  <a:gd name="connsiteY8" fmla="*/ 126725 h 253935"/>
                  <a:gd name="connsiteX9" fmla="*/ 126153 w 251792"/>
                  <a:gd name="connsiteY9" fmla="*/ 188558 h 253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1792" h="253935">
                    <a:moveTo>
                      <a:pt x="125896" y="0"/>
                    </a:moveTo>
                    <a:cubicBezTo>
                      <a:pt x="54944" y="0"/>
                      <a:pt x="0" y="55287"/>
                      <a:pt x="0" y="126725"/>
                    </a:cubicBezTo>
                    <a:cubicBezTo>
                      <a:pt x="0" y="198163"/>
                      <a:pt x="54915" y="253936"/>
                      <a:pt x="125896" y="253936"/>
                    </a:cubicBezTo>
                    <a:cubicBezTo>
                      <a:pt x="196877" y="253936"/>
                      <a:pt x="251792" y="198163"/>
                      <a:pt x="251792" y="126725"/>
                    </a:cubicBezTo>
                    <a:cubicBezTo>
                      <a:pt x="251792" y="55287"/>
                      <a:pt x="196877" y="0"/>
                      <a:pt x="125896" y="0"/>
                    </a:cubicBezTo>
                    <a:close/>
                    <a:moveTo>
                      <a:pt x="126153" y="188558"/>
                    </a:moveTo>
                    <a:cubicBezTo>
                      <a:pt x="91506" y="188558"/>
                      <a:pt x="65378" y="160314"/>
                      <a:pt x="65378" y="126725"/>
                    </a:cubicBezTo>
                    <a:cubicBezTo>
                      <a:pt x="65378" y="93136"/>
                      <a:pt x="91506" y="65378"/>
                      <a:pt x="126153" y="65378"/>
                    </a:cubicBezTo>
                    <a:cubicBezTo>
                      <a:pt x="160801" y="65378"/>
                      <a:pt x="186443" y="93136"/>
                      <a:pt x="186443" y="126725"/>
                    </a:cubicBezTo>
                    <a:cubicBezTo>
                      <a:pt x="186443" y="160314"/>
                      <a:pt x="161315" y="188558"/>
                      <a:pt x="126153" y="188558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1E30582E-26B3-57E3-D7EF-6CEE8FFA2368}"/>
                  </a:ext>
                </a:extLst>
              </p:cNvPr>
              <p:cNvSpPr/>
              <p:nvPr/>
            </p:nvSpPr>
            <p:spPr>
              <a:xfrm>
                <a:off x="9242171" y="3110092"/>
                <a:ext cx="68865" cy="243987"/>
              </a:xfrm>
              <a:custGeom>
                <a:avLst/>
                <a:gdLst>
                  <a:gd name="connsiteX0" fmla="*/ 62405 w 68865"/>
                  <a:gd name="connsiteY0" fmla="*/ 243987 h 243987"/>
                  <a:gd name="connsiteX1" fmla="*/ 6489 w 68865"/>
                  <a:gd name="connsiteY1" fmla="*/ 243987 h 243987"/>
                  <a:gd name="connsiteX2" fmla="*/ 0 w 68865"/>
                  <a:gd name="connsiteY2" fmla="*/ 237498 h 243987"/>
                  <a:gd name="connsiteX3" fmla="*/ 0 w 68865"/>
                  <a:gd name="connsiteY3" fmla="*/ 63891 h 243987"/>
                  <a:gd name="connsiteX4" fmla="*/ 3888 w 68865"/>
                  <a:gd name="connsiteY4" fmla="*/ 54629 h 243987"/>
                  <a:gd name="connsiteX5" fmla="*/ 57860 w 68865"/>
                  <a:gd name="connsiteY5" fmla="*/ 1858 h 243987"/>
                  <a:gd name="connsiteX6" fmla="*/ 68866 w 68865"/>
                  <a:gd name="connsiteY6" fmla="*/ 6489 h 243987"/>
                  <a:gd name="connsiteX7" fmla="*/ 68866 w 68865"/>
                  <a:gd name="connsiteY7" fmla="*/ 237498 h 243987"/>
                  <a:gd name="connsiteX8" fmla="*/ 62376 w 68865"/>
                  <a:gd name="connsiteY8" fmla="*/ 243987 h 243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8865" h="243987">
                    <a:moveTo>
                      <a:pt x="62405" y="243987"/>
                    </a:moveTo>
                    <a:lnTo>
                      <a:pt x="6489" y="243987"/>
                    </a:lnTo>
                    <a:cubicBezTo>
                      <a:pt x="2916" y="243987"/>
                      <a:pt x="0" y="241071"/>
                      <a:pt x="0" y="237498"/>
                    </a:cubicBezTo>
                    <a:lnTo>
                      <a:pt x="0" y="63891"/>
                    </a:lnTo>
                    <a:cubicBezTo>
                      <a:pt x="0" y="60403"/>
                      <a:pt x="1401" y="57059"/>
                      <a:pt x="3888" y="54629"/>
                    </a:cubicBezTo>
                    <a:lnTo>
                      <a:pt x="57860" y="1858"/>
                    </a:lnTo>
                    <a:cubicBezTo>
                      <a:pt x="61976" y="-2144"/>
                      <a:pt x="68866" y="743"/>
                      <a:pt x="68866" y="6489"/>
                    </a:cubicBezTo>
                    <a:lnTo>
                      <a:pt x="68866" y="237498"/>
                    </a:lnTo>
                    <a:cubicBezTo>
                      <a:pt x="68866" y="241071"/>
                      <a:pt x="65950" y="243987"/>
                      <a:pt x="62376" y="243987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751BBF1F-6731-030C-5CCE-910478D3A3A1}"/>
                  </a:ext>
                </a:extLst>
              </p:cNvPr>
              <p:cNvSpPr/>
              <p:nvPr/>
            </p:nvSpPr>
            <p:spPr>
              <a:xfrm>
                <a:off x="9347255" y="3105025"/>
                <a:ext cx="224777" cy="249082"/>
              </a:xfrm>
              <a:custGeom>
                <a:avLst/>
                <a:gdLst>
                  <a:gd name="connsiteX0" fmla="*/ 224749 w 224777"/>
                  <a:gd name="connsiteY0" fmla="*/ 87568 h 249082"/>
                  <a:gd name="connsiteX1" fmla="*/ 136416 w 224777"/>
                  <a:gd name="connsiteY1" fmla="*/ 6 h 249082"/>
                  <a:gd name="connsiteX2" fmla="*/ 68894 w 224777"/>
                  <a:gd name="connsiteY2" fmla="*/ 36540 h 249082"/>
                  <a:gd name="connsiteX3" fmla="*/ 68894 w 224777"/>
                  <a:gd name="connsiteY3" fmla="*/ 11670 h 249082"/>
                  <a:gd name="connsiteX4" fmla="*/ 62405 w 224777"/>
                  <a:gd name="connsiteY4" fmla="*/ 5181 h 249082"/>
                  <a:gd name="connsiteX5" fmla="*/ 6489 w 224777"/>
                  <a:gd name="connsiteY5" fmla="*/ 5181 h 249082"/>
                  <a:gd name="connsiteX6" fmla="*/ 0 w 224777"/>
                  <a:gd name="connsiteY6" fmla="*/ 11670 h 249082"/>
                  <a:gd name="connsiteX7" fmla="*/ 0 w 224777"/>
                  <a:gd name="connsiteY7" fmla="*/ 242565 h 249082"/>
                  <a:gd name="connsiteX8" fmla="*/ 6489 w 224777"/>
                  <a:gd name="connsiteY8" fmla="*/ 249054 h 249082"/>
                  <a:gd name="connsiteX9" fmla="*/ 62405 w 224777"/>
                  <a:gd name="connsiteY9" fmla="*/ 249054 h 249082"/>
                  <a:gd name="connsiteX10" fmla="*/ 68894 w 224777"/>
                  <a:gd name="connsiteY10" fmla="*/ 242565 h 249082"/>
                  <a:gd name="connsiteX11" fmla="*/ 68894 w 224777"/>
                  <a:gd name="connsiteY11" fmla="*/ 108293 h 249082"/>
                  <a:gd name="connsiteX12" fmla="*/ 112375 w 224777"/>
                  <a:gd name="connsiteY12" fmla="*/ 66385 h 249082"/>
                  <a:gd name="connsiteX13" fmla="*/ 155884 w 224777"/>
                  <a:gd name="connsiteY13" fmla="*/ 111266 h 249082"/>
                  <a:gd name="connsiteX14" fmla="*/ 155884 w 224777"/>
                  <a:gd name="connsiteY14" fmla="*/ 242593 h 249082"/>
                  <a:gd name="connsiteX15" fmla="*/ 162373 w 224777"/>
                  <a:gd name="connsiteY15" fmla="*/ 249083 h 249082"/>
                  <a:gd name="connsiteX16" fmla="*/ 218289 w 224777"/>
                  <a:gd name="connsiteY16" fmla="*/ 249083 h 249082"/>
                  <a:gd name="connsiteX17" fmla="*/ 224778 w 224777"/>
                  <a:gd name="connsiteY17" fmla="*/ 242593 h 249082"/>
                  <a:gd name="connsiteX18" fmla="*/ 224778 w 224777"/>
                  <a:gd name="connsiteY18" fmla="*/ 87596 h 249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4777" h="249082">
                    <a:moveTo>
                      <a:pt x="224749" y="87568"/>
                    </a:moveTo>
                    <a:cubicBezTo>
                      <a:pt x="224749" y="40257"/>
                      <a:pt x="185671" y="578"/>
                      <a:pt x="136416" y="6"/>
                    </a:cubicBezTo>
                    <a:cubicBezTo>
                      <a:pt x="104370" y="-365"/>
                      <a:pt x="82730" y="15329"/>
                      <a:pt x="68894" y="36540"/>
                    </a:cubicBezTo>
                    <a:lnTo>
                      <a:pt x="68894" y="11670"/>
                    </a:lnTo>
                    <a:cubicBezTo>
                      <a:pt x="68894" y="8097"/>
                      <a:pt x="65978" y="5181"/>
                      <a:pt x="62405" y="5181"/>
                    </a:cubicBezTo>
                    <a:lnTo>
                      <a:pt x="6489" y="5181"/>
                    </a:lnTo>
                    <a:cubicBezTo>
                      <a:pt x="2916" y="5181"/>
                      <a:pt x="0" y="8097"/>
                      <a:pt x="0" y="11670"/>
                    </a:cubicBezTo>
                    <a:lnTo>
                      <a:pt x="0" y="242565"/>
                    </a:lnTo>
                    <a:cubicBezTo>
                      <a:pt x="0" y="246138"/>
                      <a:pt x="2916" y="249054"/>
                      <a:pt x="6489" y="249054"/>
                    </a:cubicBezTo>
                    <a:lnTo>
                      <a:pt x="62405" y="249054"/>
                    </a:lnTo>
                    <a:cubicBezTo>
                      <a:pt x="65978" y="249054"/>
                      <a:pt x="68894" y="246138"/>
                      <a:pt x="68894" y="242565"/>
                    </a:cubicBezTo>
                    <a:lnTo>
                      <a:pt x="68894" y="108293"/>
                    </a:lnTo>
                    <a:cubicBezTo>
                      <a:pt x="70438" y="82451"/>
                      <a:pt x="86818" y="66385"/>
                      <a:pt x="112375" y="66385"/>
                    </a:cubicBezTo>
                    <a:cubicBezTo>
                      <a:pt x="137931" y="66385"/>
                      <a:pt x="155884" y="84423"/>
                      <a:pt x="155884" y="111266"/>
                    </a:cubicBezTo>
                    <a:lnTo>
                      <a:pt x="155884" y="242593"/>
                    </a:lnTo>
                    <a:cubicBezTo>
                      <a:pt x="155884" y="246167"/>
                      <a:pt x="158800" y="249083"/>
                      <a:pt x="162373" y="249083"/>
                    </a:cubicBezTo>
                    <a:lnTo>
                      <a:pt x="218289" y="249083"/>
                    </a:lnTo>
                    <a:cubicBezTo>
                      <a:pt x="221862" y="249083"/>
                      <a:pt x="224778" y="246167"/>
                      <a:pt x="224778" y="242593"/>
                    </a:cubicBezTo>
                    <a:lnTo>
                      <a:pt x="224778" y="87596"/>
                    </a:ln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58CD8E0-C4FA-BEDC-5938-36BDD273715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2497248"/>
            <a:ext cx="5393313" cy="1297512"/>
          </a:xfrm>
          <a:prstGeom prst="rect">
            <a:avLst/>
          </a:prstGeom>
        </p:spPr>
        <p:txBody>
          <a:bodyPr anchor="b" anchorCtr="0"/>
          <a:lstStyle>
            <a:lvl1pPr algn="l">
              <a:defRPr sz="3800" b="1" i="0" cap="all" baseline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r>
              <a:rPr lang="en-US" noProof="0"/>
              <a:t>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F514931-92B9-1384-0FE7-44734F85020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3896633"/>
            <a:ext cx="5393313" cy="1406620"/>
          </a:xfrm>
          <a:prstGeom prst="rect">
            <a:avLst/>
          </a:prstGeom>
        </p:spPr>
        <p:txBody>
          <a:bodyPr anchor="t" anchorCtr="0"/>
          <a:lstStyle>
            <a:lvl1pPr marL="0" indent="0" algn="l">
              <a:buNone/>
              <a:defRPr sz="2200" b="0" i="0" cap="all" baseline="0">
                <a:solidFill>
                  <a:srgbClr val="00BD4D"/>
                </a:solidFill>
                <a:latin typeface="Lato" panose="020F0502020204030203" pitchFamily="34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107737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0C359F9B-D3C6-C913-9123-EBDBEE40A9D5}"/>
              </a:ext>
            </a:extLst>
          </p:cNvPr>
          <p:cNvSpPr/>
          <p:nvPr userDrawn="1"/>
        </p:nvSpPr>
        <p:spPr>
          <a:xfrm>
            <a:off x="-13077" y="-37244"/>
            <a:ext cx="12205077" cy="6895244"/>
          </a:xfrm>
          <a:prstGeom prst="rect">
            <a:avLst/>
          </a:prstGeom>
          <a:solidFill>
            <a:srgbClr val="D9E1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 err="1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0555EA65-922D-717F-41D9-2782E53F225A}"/>
              </a:ext>
            </a:extLst>
          </p:cNvPr>
          <p:cNvGrpSpPr/>
          <p:nvPr userDrawn="1"/>
        </p:nvGrpSpPr>
        <p:grpSpPr>
          <a:xfrm>
            <a:off x="733434" y="542252"/>
            <a:ext cx="2455606" cy="510077"/>
            <a:chOff x="733434" y="876300"/>
            <a:chExt cx="2455606" cy="510077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EE64C78D-E858-976D-05E7-5E1A5D1E86A4}"/>
                </a:ext>
              </a:extLst>
            </p:cNvPr>
            <p:cNvSpPr/>
            <p:nvPr/>
          </p:nvSpPr>
          <p:spPr>
            <a:xfrm rot="18900000">
              <a:off x="770705" y="879406"/>
              <a:ext cx="107935" cy="107935"/>
            </a:xfrm>
            <a:custGeom>
              <a:avLst/>
              <a:gdLst>
                <a:gd name="connsiteX0" fmla="*/ 67007 w 73496"/>
                <a:gd name="connsiteY0" fmla="*/ 0 h 73496"/>
                <a:gd name="connsiteX1" fmla="*/ 73497 w 73496"/>
                <a:gd name="connsiteY1" fmla="*/ 6489 h 73496"/>
                <a:gd name="connsiteX2" fmla="*/ 73497 w 73496"/>
                <a:gd name="connsiteY2" fmla="*/ 67007 h 73496"/>
                <a:gd name="connsiteX3" fmla="*/ 67007 w 73496"/>
                <a:gd name="connsiteY3" fmla="*/ 73496 h 73496"/>
                <a:gd name="connsiteX4" fmla="*/ 6489 w 73496"/>
                <a:gd name="connsiteY4" fmla="*/ 73496 h 73496"/>
                <a:gd name="connsiteX5" fmla="*/ 0 w 73496"/>
                <a:gd name="connsiteY5" fmla="*/ 67007 h 73496"/>
                <a:gd name="connsiteX6" fmla="*/ 0 w 73496"/>
                <a:gd name="connsiteY6" fmla="*/ 6489 h 73496"/>
                <a:gd name="connsiteX7" fmla="*/ 6489 w 73496"/>
                <a:gd name="connsiteY7" fmla="*/ 0 h 73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496" h="73496">
                  <a:moveTo>
                    <a:pt x="67007" y="0"/>
                  </a:moveTo>
                  <a:cubicBezTo>
                    <a:pt x="70591" y="0"/>
                    <a:pt x="73497" y="2905"/>
                    <a:pt x="73497" y="6489"/>
                  </a:cubicBezTo>
                  <a:lnTo>
                    <a:pt x="73497" y="67007"/>
                  </a:lnTo>
                  <a:cubicBezTo>
                    <a:pt x="73497" y="70591"/>
                    <a:pt x="70591" y="73496"/>
                    <a:pt x="67007" y="73496"/>
                  </a:cubicBezTo>
                  <a:lnTo>
                    <a:pt x="6489" y="73496"/>
                  </a:lnTo>
                  <a:cubicBezTo>
                    <a:pt x="2905" y="73496"/>
                    <a:pt x="0" y="70591"/>
                    <a:pt x="0" y="67007"/>
                  </a:cubicBezTo>
                  <a:lnTo>
                    <a:pt x="0" y="6489"/>
                  </a:lnTo>
                  <a:cubicBezTo>
                    <a:pt x="0" y="2905"/>
                    <a:pt x="2905" y="0"/>
                    <a:pt x="6489" y="0"/>
                  </a:cubicBezTo>
                  <a:close/>
                </a:path>
              </a:pathLst>
            </a:custGeom>
            <a:solidFill>
              <a:srgbClr val="00BD4D"/>
            </a:solidFill>
            <a:ln w="284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="0" i="0" dirty="0">
                <a:latin typeface="Lato" panose="020F0502020204030203" pitchFamily="34" charset="77"/>
              </a:endParaRP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92C19A1E-A528-741B-117D-62E1DFE304C7}"/>
                </a:ext>
              </a:extLst>
            </p:cNvPr>
            <p:cNvGrpSpPr/>
            <p:nvPr/>
          </p:nvGrpSpPr>
          <p:grpSpPr>
            <a:xfrm>
              <a:off x="733434" y="876300"/>
              <a:ext cx="2455606" cy="510077"/>
              <a:chOff x="9242171" y="3011696"/>
              <a:chExt cx="1672097" cy="347327"/>
            </a:xfrm>
            <a:solidFill>
              <a:schemeClr val="tx1"/>
            </a:solidFill>
          </p:grpSpPr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4DCA580A-552A-F1D3-40DB-940A34BB5577}"/>
                  </a:ext>
                </a:extLst>
              </p:cNvPr>
              <p:cNvSpPr/>
              <p:nvPr/>
            </p:nvSpPr>
            <p:spPr>
              <a:xfrm>
                <a:off x="10604432" y="3110234"/>
                <a:ext cx="249644" cy="243844"/>
              </a:xfrm>
              <a:custGeom>
                <a:avLst/>
                <a:gdLst>
                  <a:gd name="connsiteX0" fmla="*/ 172562 w 249644"/>
                  <a:gd name="connsiteY0" fmla="*/ 121922 h 243844"/>
                  <a:gd name="connsiteX1" fmla="*/ 248603 w 249644"/>
                  <a:gd name="connsiteY1" fmla="*/ 234754 h 243844"/>
                  <a:gd name="connsiteX2" fmla="*/ 243372 w 249644"/>
                  <a:gd name="connsiteY2" fmla="*/ 243845 h 243844"/>
                  <a:gd name="connsiteX3" fmla="*/ 179480 w 249644"/>
                  <a:gd name="connsiteY3" fmla="*/ 243845 h 243844"/>
                  <a:gd name="connsiteX4" fmla="*/ 168789 w 249644"/>
                  <a:gd name="connsiteY4" fmla="*/ 238213 h 243844"/>
                  <a:gd name="connsiteX5" fmla="*/ 124822 w 249644"/>
                  <a:gd name="connsiteY5" fmla="*/ 170949 h 243844"/>
                  <a:gd name="connsiteX6" fmla="*/ 80856 w 249644"/>
                  <a:gd name="connsiteY6" fmla="*/ 238213 h 243844"/>
                  <a:gd name="connsiteX7" fmla="*/ 70164 w 249644"/>
                  <a:gd name="connsiteY7" fmla="*/ 243845 h 243844"/>
                  <a:gd name="connsiteX8" fmla="*/ 6273 w 249644"/>
                  <a:gd name="connsiteY8" fmla="*/ 243845 h 243844"/>
                  <a:gd name="connsiteX9" fmla="*/ 1042 w 249644"/>
                  <a:gd name="connsiteY9" fmla="*/ 234754 h 243844"/>
                  <a:gd name="connsiteX10" fmla="*/ 76854 w 249644"/>
                  <a:gd name="connsiteY10" fmla="*/ 121922 h 243844"/>
                  <a:gd name="connsiteX11" fmla="*/ 1042 w 249644"/>
                  <a:gd name="connsiteY11" fmla="*/ 9091 h 243844"/>
                  <a:gd name="connsiteX12" fmla="*/ 6273 w 249644"/>
                  <a:gd name="connsiteY12" fmla="*/ 0 h 243844"/>
                  <a:gd name="connsiteX13" fmla="*/ 72880 w 249644"/>
                  <a:gd name="connsiteY13" fmla="*/ 0 h 243844"/>
                  <a:gd name="connsiteX14" fmla="*/ 78998 w 249644"/>
                  <a:gd name="connsiteY14" fmla="*/ 3030 h 243844"/>
                  <a:gd name="connsiteX15" fmla="*/ 124794 w 249644"/>
                  <a:gd name="connsiteY15" fmla="*/ 72782 h 243844"/>
                  <a:gd name="connsiteX16" fmla="*/ 167788 w 249644"/>
                  <a:gd name="connsiteY16" fmla="*/ 3059 h 243844"/>
                  <a:gd name="connsiteX17" fmla="*/ 173906 w 249644"/>
                  <a:gd name="connsiteY17" fmla="*/ 0 h 243844"/>
                  <a:gd name="connsiteX18" fmla="*/ 241171 w 249644"/>
                  <a:gd name="connsiteY18" fmla="*/ 0 h 243844"/>
                  <a:gd name="connsiteX19" fmla="*/ 246402 w 249644"/>
                  <a:gd name="connsiteY19" fmla="*/ 9062 h 243844"/>
                  <a:gd name="connsiteX20" fmla="*/ 172505 w 249644"/>
                  <a:gd name="connsiteY20" fmla="*/ 121922 h 243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49644" h="243844">
                    <a:moveTo>
                      <a:pt x="172562" y="121922"/>
                    </a:moveTo>
                    <a:lnTo>
                      <a:pt x="248603" y="234754"/>
                    </a:lnTo>
                    <a:cubicBezTo>
                      <a:pt x="251347" y="238642"/>
                      <a:pt x="248346" y="243845"/>
                      <a:pt x="243372" y="243845"/>
                    </a:cubicBezTo>
                    <a:lnTo>
                      <a:pt x="179480" y="243845"/>
                    </a:lnTo>
                    <a:cubicBezTo>
                      <a:pt x="175221" y="243845"/>
                      <a:pt x="171219" y="241729"/>
                      <a:pt x="168789" y="238213"/>
                    </a:cubicBezTo>
                    <a:lnTo>
                      <a:pt x="124822" y="170949"/>
                    </a:lnTo>
                    <a:lnTo>
                      <a:pt x="80856" y="238213"/>
                    </a:lnTo>
                    <a:cubicBezTo>
                      <a:pt x="78426" y="241729"/>
                      <a:pt x="74452" y="243845"/>
                      <a:pt x="70164" y="243845"/>
                    </a:cubicBezTo>
                    <a:lnTo>
                      <a:pt x="6273" y="243845"/>
                    </a:lnTo>
                    <a:cubicBezTo>
                      <a:pt x="1299" y="243845"/>
                      <a:pt x="-1703" y="238671"/>
                      <a:pt x="1042" y="234754"/>
                    </a:cubicBezTo>
                    <a:lnTo>
                      <a:pt x="76854" y="121922"/>
                    </a:lnTo>
                    <a:lnTo>
                      <a:pt x="1042" y="9091"/>
                    </a:lnTo>
                    <a:cubicBezTo>
                      <a:pt x="-1703" y="5203"/>
                      <a:pt x="1299" y="0"/>
                      <a:pt x="6273" y="0"/>
                    </a:cubicBezTo>
                    <a:lnTo>
                      <a:pt x="72880" y="0"/>
                    </a:lnTo>
                    <a:cubicBezTo>
                      <a:pt x="75367" y="0"/>
                      <a:pt x="77683" y="1143"/>
                      <a:pt x="78998" y="3030"/>
                    </a:cubicBezTo>
                    <a:lnTo>
                      <a:pt x="124794" y="72782"/>
                    </a:lnTo>
                    <a:lnTo>
                      <a:pt x="167788" y="3059"/>
                    </a:lnTo>
                    <a:cubicBezTo>
                      <a:pt x="169075" y="1172"/>
                      <a:pt x="171419" y="0"/>
                      <a:pt x="173906" y="0"/>
                    </a:cubicBezTo>
                    <a:lnTo>
                      <a:pt x="241171" y="0"/>
                    </a:lnTo>
                    <a:cubicBezTo>
                      <a:pt x="246145" y="0"/>
                      <a:pt x="249118" y="5174"/>
                      <a:pt x="246402" y="9062"/>
                    </a:cubicBezTo>
                    <a:lnTo>
                      <a:pt x="172505" y="121922"/>
                    </a:ln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F2B5623E-DECF-6F25-04E9-387929975331}"/>
                  </a:ext>
                </a:extLst>
              </p:cNvPr>
              <p:cNvSpPr/>
              <p:nvPr/>
            </p:nvSpPr>
            <p:spPr>
              <a:xfrm>
                <a:off x="9581152" y="3011696"/>
                <a:ext cx="164831" cy="342440"/>
              </a:xfrm>
              <a:custGeom>
                <a:avLst/>
                <a:gdLst>
                  <a:gd name="connsiteX0" fmla="*/ 158342 w 164831"/>
                  <a:gd name="connsiteY0" fmla="*/ 29 h 342440"/>
                  <a:gd name="connsiteX1" fmla="*/ 105342 w 164831"/>
                  <a:gd name="connsiteY1" fmla="*/ 29 h 342440"/>
                  <a:gd name="connsiteX2" fmla="*/ 91592 w 164831"/>
                  <a:gd name="connsiteY2" fmla="*/ 5717 h 342440"/>
                  <a:gd name="connsiteX3" fmla="*/ 41794 w 164831"/>
                  <a:gd name="connsiteY3" fmla="*/ 55515 h 342440"/>
                  <a:gd name="connsiteX4" fmla="*/ 36105 w 164831"/>
                  <a:gd name="connsiteY4" fmla="*/ 69266 h 342440"/>
                  <a:gd name="connsiteX5" fmla="*/ 36105 w 164831"/>
                  <a:gd name="connsiteY5" fmla="*/ 108458 h 342440"/>
                  <a:gd name="connsiteX6" fmla="*/ 6375 w 164831"/>
                  <a:gd name="connsiteY6" fmla="*/ 108458 h 342440"/>
                  <a:gd name="connsiteX7" fmla="*/ 0 w 164831"/>
                  <a:gd name="connsiteY7" fmla="*/ 114833 h 342440"/>
                  <a:gd name="connsiteX8" fmla="*/ 0 w 164831"/>
                  <a:gd name="connsiteY8" fmla="*/ 158828 h 342440"/>
                  <a:gd name="connsiteX9" fmla="*/ 6375 w 164831"/>
                  <a:gd name="connsiteY9" fmla="*/ 165203 h 342440"/>
                  <a:gd name="connsiteX10" fmla="*/ 36105 w 164831"/>
                  <a:gd name="connsiteY10" fmla="*/ 165203 h 342440"/>
                  <a:gd name="connsiteX11" fmla="*/ 36105 w 164831"/>
                  <a:gd name="connsiteY11" fmla="*/ 335951 h 342440"/>
                  <a:gd name="connsiteX12" fmla="*/ 42594 w 164831"/>
                  <a:gd name="connsiteY12" fmla="*/ 342440 h 342440"/>
                  <a:gd name="connsiteX13" fmla="*/ 98510 w 164831"/>
                  <a:gd name="connsiteY13" fmla="*/ 342440 h 342440"/>
                  <a:gd name="connsiteX14" fmla="*/ 104999 w 164831"/>
                  <a:gd name="connsiteY14" fmla="*/ 335951 h 342440"/>
                  <a:gd name="connsiteX15" fmla="*/ 104999 w 164831"/>
                  <a:gd name="connsiteY15" fmla="*/ 165174 h 342440"/>
                  <a:gd name="connsiteX16" fmla="*/ 149394 w 164831"/>
                  <a:gd name="connsiteY16" fmla="*/ 165174 h 342440"/>
                  <a:gd name="connsiteX17" fmla="*/ 155769 w 164831"/>
                  <a:gd name="connsiteY17" fmla="*/ 158799 h 342440"/>
                  <a:gd name="connsiteX18" fmla="*/ 155769 w 164831"/>
                  <a:gd name="connsiteY18" fmla="*/ 114804 h 342440"/>
                  <a:gd name="connsiteX19" fmla="*/ 149394 w 164831"/>
                  <a:gd name="connsiteY19" fmla="*/ 108429 h 342440"/>
                  <a:gd name="connsiteX20" fmla="*/ 104999 w 164831"/>
                  <a:gd name="connsiteY20" fmla="*/ 108429 h 342440"/>
                  <a:gd name="connsiteX21" fmla="*/ 104999 w 164831"/>
                  <a:gd name="connsiteY21" fmla="*/ 80643 h 342440"/>
                  <a:gd name="connsiteX22" fmla="*/ 124438 w 164831"/>
                  <a:gd name="connsiteY22" fmla="*/ 61204 h 342440"/>
                  <a:gd name="connsiteX23" fmla="*/ 158342 w 164831"/>
                  <a:gd name="connsiteY23" fmla="*/ 61204 h 342440"/>
                  <a:gd name="connsiteX24" fmla="*/ 164831 w 164831"/>
                  <a:gd name="connsiteY24" fmla="*/ 54715 h 342440"/>
                  <a:gd name="connsiteX25" fmla="*/ 164831 w 164831"/>
                  <a:gd name="connsiteY25" fmla="*/ 6489 h 342440"/>
                  <a:gd name="connsiteX26" fmla="*/ 158342 w 164831"/>
                  <a:gd name="connsiteY26" fmla="*/ 0 h 342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64831" h="342440">
                    <a:moveTo>
                      <a:pt x="158342" y="29"/>
                    </a:moveTo>
                    <a:lnTo>
                      <a:pt x="105342" y="29"/>
                    </a:lnTo>
                    <a:cubicBezTo>
                      <a:pt x="100197" y="29"/>
                      <a:pt x="95251" y="2087"/>
                      <a:pt x="91592" y="5717"/>
                    </a:cubicBezTo>
                    <a:lnTo>
                      <a:pt x="41794" y="55515"/>
                    </a:lnTo>
                    <a:cubicBezTo>
                      <a:pt x="38135" y="59175"/>
                      <a:pt x="36105" y="64120"/>
                      <a:pt x="36105" y="69266"/>
                    </a:cubicBezTo>
                    <a:lnTo>
                      <a:pt x="36105" y="108458"/>
                    </a:lnTo>
                    <a:lnTo>
                      <a:pt x="6375" y="108458"/>
                    </a:lnTo>
                    <a:cubicBezTo>
                      <a:pt x="2859" y="108458"/>
                      <a:pt x="0" y="111317"/>
                      <a:pt x="0" y="114833"/>
                    </a:cubicBezTo>
                    <a:lnTo>
                      <a:pt x="0" y="158828"/>
                    </a:lnTo>
                    <a:cubicBezTo>
                      <a:pt x="0" y="162344"/>
                      <a:pt x="2859" y="165203"/>
                      <a:pt x="6375" y="165203"/>
                    </a:cubicBezTo>
                    <a:lnTo>
                      <a:pt x="36105" y="165203"/>
                    </a:lnTo>
                    <a:lnTo>
                      <a:pt x="36105" y="335951"/>
                    </a:lnTo>
                    <a:cubicBezTo>
                      <a:pt x="36105" y="339524"/>
                      <a:pt x="39021" y="342440"/>
                      <a:pt x="42594" y="342440"/>
                    </a:cubicBezTo>
                    <a:lnTo>
                      <a:pt x="98510" y="342440"/>
                    </a:lnTo>
                    <a:cubicBezTo>
                      <a:pt x="102083" y="342440"/>
                      <a:pt x="104999" y="339524"/>
                      <a:pt x="104999" y="335951"/>
                    </a:cubicBezTo>
                    <a:lnTo>
                      <a:pt x="104999" y="165174"/>
                    </a:lnTo>
                    <a:lnTo>
                      <a:pt x="149394" y="165174"/>
                    </a:lnTo>
                    <a:cubicBezTo>
                      <a:pt x="152911" y="165174"/>
                      <a:pt x="155769" y="162315"/>
                      <a:pt x="155769" y="158799"/>
                    </a:cubicBezTo>
                    <a:lnTo>
                      <a:pt x="155769" y="114804"/>
                    </a:lnTo>
                    <a:cubicBezTo>
                      <a:pt x="155769" y="111288"/>
                      <a:pt x="152911" y="108429"/>
                      <a:pt x="149394" y="108429"/>
                    </a:cubicBezTo>
                    <a:lnTo>
                      <a:pt x="104999" y="108429"/>
                    </a:lnTo>
                    <a:lnTo>
                      <a:pt x="104999" y="80643"/>
                    </a:lnTo>
                    <a:cubicBezTo>
                      <a:pt x="104999" y="69895"/>
                      <a:pt x="113718" y="61204"/>
                      <a:pt x="124438" y="61204"/>
                    </a:cubicBezTo>
                    <a:lnTo>
                      <a:pt x="158342" y="61204"/>
                    </a:lnTo>
                    <a:cubicBezTo>
                      <a:pt x="161915" y="61204"/>
                      <a:pt x="164831" y="58288"/>
                      <a:pt x="164831" y="54715"/>
                    </a:cubicBezTo>
                    <a:lnTo>
                      <a:pt x="164831" y="6489"/>
                    </a:lnTo>
                    <a:cubicBezTo>
                      <a:pt x="164831" y="2916"/>
                      <a:pt x="161915" y="0"/>
                      <a:pt x="158342" y="0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C5BCF988-EB47-8E53-1AC2-B4493065568E}"/>
                  </a:ext>
                </a:extLst>
              </p:cNvPr>
              <p:cNvSpPr/>
              <p:nvPr/>
            </p:nvSpPr>
            <p:spPr>
              <a:xfrm>
                <a:off x="10860611" y="3304224"/>
                <a:ext cx="53657" cy="53657"/>
              </a:xfrm>
              <a:custGeom>
                <a:avLst/>
                <a:gdLst>
                  <a:gd name="connsiteX0" fmla="*/ 53657 w 53657"/>
                  <a:gd name="connsiteY0" fmla="*/ 26786 h 53657"/>
                  <a:gd name="connsiteX1" fmla="*/ 26729 w 53657"/>
                  <a:gd name="connsiteY1" fmla="*/ 53657 h 53657"/>
                  <a:gd name="connsiteX2" fmla="*/ 0 w 53657"/>
                  <a:gd name="connsiteY2" fmla="*/ 26786 h 53657"/>
                  <a:gd name="connsiteX3" fmla="*/ 26814 w 53657"/>
                  <a:gd name="connsiteY3" fmla="*/ 0 h 53657"/>
                  <a:gd name="connsiteX4" fmla="*/ 53629 w 53657"/>
                  <a:gd name="connsiteY4" fmla="*/ 26786 h 53657"/>
                  <a:gd name="connsiteX5" fmla="*/ 49541 w 53657"/>
                  <a:gd name="connsiteY5" fmla="*/ 26900 h 53657"/>
                  <a:gd name="connsiteX6" fmla="*/ 26843 w 53657"/>
                  <a:gd name="connsiteY6" fmla="*/ 3831 h 53657"/>
                  <a:gd name="connsiteX7" fmla="*/ 4145 w 53657"/>
                  <a:gd name="connsiteY7" fmla="*/ 26872 h 53657"/>
                  <a:gd name="connsiteX8" fmla="*/ 26729 w 53657"/>
                  <a:gd name="connsiteY8" fmla="*/ 49884 h 53657"/>
                  <a:gd name="connsiteX9" fmla="*/ 49541 w 53657"/>
                  <a:gd name="connsiteY9" fmla="*/ 26900 h 53657"/>
                  <a:gd name="connsiteX10" fmla="*/ 32589 w 53657"/>
                  <a:gd name="connsiteY10" fmla="*/ 31131 h 53657"/>
                  <a:gd name="connsiteX11" fmla="*/ 39335 w 53657"/>
                  <a:gd name="connsiteY11" fmla="*/ 41622 h 53657"/>
                  <a:gd name="connsiteX12" fmla="*/ 34876 w 53657"/>
                  <a:gd name="connsiteY12" fmla="*/ 41622 h 53657"/>
                  <a:gd name="connsiteX13" fmla="*/ 27386 w 53657"/>
                  <a:gd name="connsiteY13" fmla="*/ 29730 h 53657"/>
                  <a:gd name="connsiteX14" fmla="*/ 20554 w 53657"/>
                  <a:gd name="connsiteY14" fmla="*/ 29730 h 53657"/>
                  <a:gd name="connsiteX15" fmla="*/ 20554 w 53657"/>
                  <a:gd name="connsiteY15" fmla="*/ 41622 h 53657"/>
                  <a:gd name="connsiteX16" fmla="*/ 16809 w 53657"/>
                  <a:gd name="connsiteY16" fmla="*/ 41622 h 53657"/>
                  <a:gd name="connsiteX17" fmla="*/ 16809 w 53657"/>
                  <a:gd name="connsiteY17" fmla="*/ 11549 h 53657"/>
                  <a:gd name="connsiteX18" fmla="*/ 28472 w 53657"/>
                  <a:gd name="connsiteY18" fmla="*/ 11549 h 53657"/>
                  <a:gd name="connsiteX19" fmla="*/ 37963 w 53657"/>
                  <a:gd name="connsiteY19" fmla="*/ 20411 h 53657"/>
                  <a:gd name="connsiteX20" fmla="*/ 31131 w 53657"/>
                  <a:gd name="connsiteY20" fmla="*/ 29101 h 53657"/>
                  <a:gd name="connsiteX21" fmla="*/ 32589 w 53657"/>
                  <a:gd name="connsiteY21" fmla="*/ 31160 h 53657"/>
                  <a:gd name="connsiteX22" fmla="*/ 27214 w 53657"/>
                  <a:gd name="connsiteY22" fmla="*/ 26185 h 53657"/>
                  <a:gd name="connsiteX23" fmla="*/ 34047 w 53657"/>
                  <a:gd name="connsiteY23" fmla="*/ 20640 h 53657"/>
                  <a:gd name="connsiteX24" fmla="*/ 28558 w 53657"/>
                  <a:gd name="connsiteY24" fmla="*/ 15037 h 53657"/>
                  <a:gd name="connsiteX25" fmla="*/ 20525 w 53657"/>
                  <a:gd name="connsiteY25" fmla="*/ 15037 h 53657"/>
                  <a:gd name="connsiteX26" fmla="*/ 20525 w 53657"/>
                  <a:gd name="connsiteY26" fmla="*/ 26157 h 53657"/>
                  <a:gd name="connsiteX27" fmla="*/ 27214 w 53657"/>
                  <a:gd name="connsiteY27" fmla="*/ 26157 h 53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53657" h="53657">
                    <a:moveTo>
                      <a:pt x="53657" y="26786"/>
                    </a:moveTo>
                    <a:cubicBezTo>
                      <a:pt x="53657" y="41708"/>
                      <a:pt x="41708" y="53657"/>
                      <a:pt x="26729" y="53657"/>
                    </a:cubicBezTo>
                    <a:cubicBezTo>
                      <a:pt x="11749" y="53657"/>
                      <a:pt x="0" y="41594"/>
                      <a:pt x="0" y="26786"/>
                    </a:cubicBezTo>
                    <a:cubicBezTo>
                      <a:pt x="0" y="11978"/>
                      <a:pt x="11949" y="0"/>
                      <a:pt x="26814" y="0"/>
                    </a:cubicBezTo>
                    <a:cubicBezTo>
                      <a:pt x="41679" y="0"/>
                      <a:pt x="53629" y="11892"/>
                      <a:pt x="53629" y="26786"/>
                    </a:cubicBezTo>
                    <a:close/>
                    <a:moveTo>
                      <a:pt x="49541" y="26900"/>
                    </a:moveTo>
                    <a:cubicBezTo>
                      <a:pt x="49541" y="14036"/>
                      <a:pt x="39392" y="3831"/>
                      <a:pt x="26843" y="3831"/>
                    </a:cubicBezTo>
                    <a:cubicBezTo>
                      <a:pt x="14293" y="3831"/>
                      <a:pt x="4145" y="13922"/>
                      <a:pt x="4145" y="26872"/>
                    </a:cubicBezTo>
                    <a:cubicBezTo>
                      <a:pt x="4145" y="39821"/>
                      <a:pt x="14408" y="49884"/>
                      <a:pt x="26729" y="49884"/>
                    </a:cubicBezTo>
                    <a:cubicBezTo>
                      <a:pt x="39049" y="49884"/>
                      <a:pt x="49541" y="39736"/>
                      <a:pt x="49541" y="26900"/>
                    </a:cubicBezTo>
                    <a:close/>
                    <a:moveTo>
                      <a:pt x="32589" y="31131"/>
                    </a:moveTo>
                    <a:lnTo>
                      <a:pt x="39335" y="41622"/>
                    </a:lnTo>
                    <a:lnTo>
                      <a:pt x="34876" y="41622"/>
                    </a:lnTo>
                    <a:lnTo>
                      <a:pt x="27386" y="29730"/>
                    </a:lnTo>
                    <a:lnTo>
                      <a:pt x="20554" y="29730"/>
                    </a:lnTo>
                    <a:lnTo>
                      <a:pt x="20554" y="41622"/>
                    </a:lnTo>
                    <a:lnTo>
                      <a:pt x="16809" y="41622"/>
                    </a:lnTo>
                    <a:lnTo>
                      <a:pt x="16809" y="11549"/>
                    </a:lnTo>
                    <a:lnTo>
                      <a:pt x="28472" y="11549"/>
                    </a:lnTo>
                    <a:cubicBezTo>
                      <a:pt x="34218" y="11549"/>
                      <a:pt x="37963" y="14636"/>
                      <a:pt x="37963" y="20411"/>
                    </a:cubicBezTo>
                    <a:cubicBezTo>
                      <a:pt x="37963" y="25071"/>
                      <a:pt x="35133" y="27958"/>
                      <a:pt x="31131" y="29101"/>
                    </a:cubicBezTo>
                    <a:cubicBezTo>
                      <a:pt x="31674" y="29702"/>
                      <a:pt x="32217" y="30445"/>
                      <a:pt x="32589" y="31160"/>
                    </a:cubicBezTo>
                    <a:close/>
                    <a:moveTo>
                      <a:pt x="27214" y="26185"/>
                    </a:moveTo>
                    <a:cubicBezTo>
                      <a:pt x="31445" y="26185"/>
                      <a:pt x="34047" y="24184"/>
                      <a:pt x="34047" y="20640"/>
                    </a:cubicBezTo>
                    <a:cubicBezTo>
                      <a:pt x="34047" y="17095"/>
                      <a:pt x="32246" y="15037"/>
                      <a:pt x="28558" y="15037"/>
                    </a:cubicBezTo>
                    <a:lnTo>
                      <a:pt x="20525" y="15037"/>
                    </a:lnTo>
                    <a:lnTo>
                      <a:pt x="20525" y="26157"/>
                    </a:lnTo>
                    <a:lnTo>
                      <a:pt x="27214" y="26157"/>
                    </a:ln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9E439346-E27B-7B43-4754-B841D446EED2}"/>
                  </a:ext>
                </a:extLst>
              </p:cNvPr>
              <p:cNvSpPr/>
              <p:nvPr/>
            </p:nvSpPr>
            <p:spPr>
              <a:xfrm>
                <a:off x="10283815" y="3011724"/>
                <a:ext cx="68865" cy="342354"/>
              </a:xfrm>
              <a:custGeom>
                <a:avLst/>
                <a:gdLst>
                  <a:gd name="connsiteX0" fmla="*/ 62376 w 68865"/>
                  <a:gd name="connsiteY0" fmla="*/ 0 h 342354"/>
                  <a:gd name="connsiteX1" fmla="*/ 68866 w 68865"/>
                  <a:gd name="connsiteY1" fmla="*/ 6489 h 342354"/>
                  <a:gd name="connsiteX2" fmla="*/ 68866 w 68865"/>
                  <a:gd name="connsiteY2" fmla="*/ 335865 h 342354"/>
                  <a:gd name="connsiteX3" fmla="*/ 62376 w 68865"/>
                  <a:gd name="connsiteY3" fmla="*/ 342355 h 342354"/>
                  <a:gd name="connsiteX4" fmla="*/ 6489 w 68865"/>
                  <a:gd name="connsiteY4" fmla="*/ 342355 h 342354"/>
                  <a:gd name="connsiteX5" fmla="*/ 0 w 68865"/>
                  <a:gd name="connsiteY5" fmla="*/ 335865 h 342354"/>
                  <a:gd name="connsiteX6" fmla="*/ 0 w 68865"/>
                  <a:gd name="connsiteY6" fmla="*/ 6489 h 342354"/>
                  <a:gd name="connsiteX7" fmla="*/ 6489 w 68865"/>
                  <a:gd name="connsiteY7" fmla="*/ 0 h 3423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8865" h="342354">
                    <a:moveTo>
                      <a:pt x="62376" y="0"/>
                    </a:moveTo>
                    <a:cubicBezTo>
                      <a:pt x="65960" y="0"/>
                      <a:pt x="68866" y="2905"/>
                      <a:pt x="68866" y="6489"/>
                    </a:cubicBezTo>
                    <a:lnTo>
                      <a:pt x="68866" y="335865"/>
                    </a:lnTo>
                    <a:cubicBezTo>
                      <a:pt x="68866" y="339449"/>
                      <a:pt x="65960" y="342355"/>
                      <a:pt x="62376" y="342355"/>
                    </a:cubicBezTo>
                    <a:lnTo>
                      <a:pt x="6489" y="342355"/>
                    </a:lnTo>
                    <a:cubicBezTo>
                      <a:pt x="2905" y="342355"/>
                      <a:pt x="0" y="339449"/>
                      <a:pt x="0" y="335865"/>
                    </a:cubicBezTo>
                    <a:lnTo>
                      <a:pt x="0" y="6489"/>
                    </a:lnTo>
                    <a:cubicBezTo>
                      <a:pt x="0" y="2905"/>
                      <a:pt x="2905" y="0"/>
                      <a:pt x="6489" y="0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C8266ACB-848F-0304-8311-A0BDCD0E46B6}"/>
                  </a:ext>
                </a:extLst>
              </p:cNvPr>
              <p:cNvSpPr/>
              <p:nvPr/>
            </p:nvSpPr>
            <p:spPr>
              <a:xfrm>
                <a:off x="10006809" y="3011696"/>
                <a:ext cx="258538" cy="347300"/>
              </a:xfrm>
              <a:custGeom>
                <a:avLst/>
                <a:gdLst>
                  <a:gd name="connsiteX0" fmla="*/ 143734 w 258538"/>
                  <a:gd name="connsiteY0" fmla="*/ 93393 h 347300"/>
                  <a:gd name="connsiteX1" fmla="*/ 68894 w 258538"/>
                  <a:gd name="connsiteY1" fmla="*/ 129755 h 347300"/>
                  <a:gd name="connsiteX2" fmla="*/ 68894 w 258538"/>
                  <a:gd name="connsiteY2" fmla="*/ 6489 h 347300"/>
                  <a:gd name="connsiteX3" fmla="*/ 62405 w 258538"/>
                  <a:gd name="connsiteY3" fmla="*/ 0 h 347300"/>
                  <a:gd name="connsiteX4" fmla="*/ 6489 w 258538"/>
                  <a:gd name="connsiteY4" fmla="*/ 0 h 347300"/>
                  <a:gd name="connsiteX5" fmla="*/ 0 w 258538"/>
                  <a:gd name="connsiteY5" fmla="*/ 6489 h 347300"/>
                  <a:gd name="connsiteX6" fmla="*/ 0 w 258538"/>
                  <a:gd name="connsiteY6" fmla="*/ 335894 h 347300"/>
                  <a:gd name="connsiteX7" fmla="*/ 6489 w 258538"/>
                  <a:gd name="connsiteY7" fmla="*/ 342383 h 347300"/>
                  <a:gd name="connsiteX8" fmla="*/ 62405 w 258538"/>
                  <a:gd name="connsiteY8" fmla="*/ 342383 h 347300"/>
                  <a:gd name="connsiteX9" fmla="*/ 68894 w 258538"/>
                  <a:gd name="connsiteY9" fmla="*/ 335894 h 347300"/>
                  <a:gd name="connsiteX10" fmla="*/ 68894 w 258538"/>
                  <a:gd name="connsiteY10" fmla="*/ 311624 h 347300"/>
                  <a:gd name="connsiteX11" fmla="*/ 144249 w 258538"/>
                  <a:gd name="connsiteY11" fmla="*/ 347300 h 347300"/>
                  <a:gd name="connsiteX12" fmla="*/ 258539 w 258538"/>
                  <a:gd name="connsiteY12" fmla="*/ 220689 h 347300"/>
                  <a:gd name="connsiteX13" fmla="*/ 143763 w 258538"/>
                  <a:gd name="connsiteY13" fmla="*/ 93393 h 347300"/>
                  <a:gd name="connsiteX14" fmla="*/ 130041 w 258538"/>
                  <a:gd name="connsiteY14" fmla="*/ 282637 h 347300"/>
                  <a:gd name="connsiteX15" fmla="*/ 68894 w 258538"/>
                  <a:gd name="connsiteY15" fmla="*/ 220718 h 347300"/>
                  <a:gd name="connsiteX16" fmla="*/ 130041 w 258538"/>
                  <a:gd name="connsiteY16" fmla="*/ 159285 h 347300"/>
                  <a:gd name="connsiteX17" fmla="*/ 190216 w 258538"/>
                  <a:gd name="connsiteY17" fmla="*/ 220718 h 347300"/>
                  <a:gd name="connsiteX18" fmla="*/ 130041 w 258538"/>
                  <a:gd name="connsiteY18" fmla="*/ 282637 h 347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8538" h="347300">
                    <a:moveTo>
                      <a:pt x="143734" y="93393"/>
                    </a:moveTo>
                    <a:cubicBezTo>
                      <a:pt x="111946" y="93393"/>
                      <a:pt x="85503" y="107172"/>
                      <a:pt x="68894" y="129755"/>
                    </a:cubicBezTo>
                    <a:lnTo>
                      <a:pt x="68894" y="6489"/>
                    </a:lnTo>
                    <a:cubicBezTo>
                      <a:pt x="68894" y="2916"/>
                      <a:pt x="65978" y="0"/>
                      <a:pt x="62405" y="0"/>
                    </a:cubicBezTo>
                    <a:lnTo>
                      <a:pt x="6489" y="0"/>
                    </a:lnTo>
                    <a:cubicBezTo>
                      <a:pt x="2916" y="0"/>
                      <a:pt x="0" y="2916"/>
                      <a:pt x="0" y="6489"/>
                    </a:cubicBezTo>
                    <a:lnTo>
                      <a:pt x="0" y="335894"/>
                    </a:lnTo>
                    <a:cubicBezTo>
                      <a:pt x="0" y="339467"/>
                      <a:pt x="2916" y="342383"/>
                      <a:pt x="6489" y="342383"/>
                    </a:cubicBezTo>
                    <a:lnTo>
                      <a:pt x="62405" y="342383"/>
                    </a:lnTo>
                    <a:cubicBezTo>
                      <a:pt x="65978" y="342383"/>
                      <a:pt x="68894" y="339467"/>
                      <a:pt x="68894" y="335894"/>
                    </a:cubicBezTo>
                    <a:lnTo>
                      <a:pt x="68894" y="311624"/>
                    </a:lnTo>
                    <a:cubicBezTo>
                      <a:pt x="85532" y="334236"/>
                      <a:pt x="111946" y="347300"/>
                      <a:pt x="144249" y="347300"/>
                    </a:cubicBezTo>
                    <a:cubicBezTo>
                      <a:pt x="212257" y="347300"/>
                      <a:pt x="258539" y="292442"/>
                      <a:pt x="258539" y="220689"/>
                    </a:cubicBezTo>
                    <a:cubicBezTo>
                      <a:pt x="258539" y="148937"/>
                      <a:pt x="212257" y="93393"/>
                      <a:pt x="143763" y="93393"/>
                    </a:cubicBezTo>
                    <a:close/>
                    <a:moveTo>
                      <a:pt x="130041" y="282637"/>
                    </a:moveTo>
                    <a:cubicBezTo>
                      <a:pt x="94822" y="282637"/>
                      <a:pt x="68894" y="254136"/>
                      <a:pt x="68894" y="220718"/>
                    </a:cubicBezTo>
                    <a:cubicBezTo>
                      <a:pt x="68894" y="187300"/>
                      <a:pt x="94822" y="159285"/>
                      <a:pt x="130041" y="159285"/>
                    </a:cubicBezTo>
                    <a:cubicBezTo>
                      <a:pt x="165260" y="159285"/>
                      <a:pt x="190216" y="187300"/>
                      <a:pt x="190216" y="220718"/>
                    </a:cubicBezTo>
                    <a:cubicBezTo>
                      <a:pt x="190216" y="254136"/>
                      <a:pt x="164774" y="282637"/>
                      <a:pt x="130041" y="282637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38D8C612-2A8E-BFD2-7DC1-BE975248995C}"/>
                  </a:ext>
                </a:extLst>
              </p:cNvPr>
              <p:cNvSpPr/>
              <p:nvPr/>
            </p:nvSpPr>
            <p:spPr>
              <a:xfrm>
                <a:off x="9736922" y="3105088"/>
                <a:ext cx="251792" cy="253935"/>
              </a:xfrm>
              <a:custGeom>
                <a:avLst/>
                <a:gdLst>
                  <a:gd name="connsiteX0" fmla="*/ 125896 w 251792"/>
                  <a:gd name="connsiteY0" fmla="*/ 0 h 253935"/>
                  <a:gd name="connsiteX1" fmla="*/ 0 w 251792"/>
                  <a:gd name="connsiteY1" fmla="*/ 126725 h 253935"/>
                  <a:gd name="connsiteX2" fmla="*/ 125896 w 251792"/>
                  <a:gd name="connsiteY2" fmla="*/ 253936 h 253935"/>
                  <a:gd name="connsiteX3" fmla="*/ 251792 w 251792"/>
                  <a:gd name="connsiteY3" fmla="*/ 126725 h 253935"/>
                  <a:gd name="connsiteX4" fmla="*/ 125896 w 251792"/>
                  <a:gd name="connsiteY4" fmla="*/ 0 h 253935"/>
                  <a:gd name="connsiteX5" fmla="*/ 126153 w 251792"/>
                  <a:gd name="connsiteY5" fmla="*/ 188558 h 253935"/>
                  <a:gd name="connsiteX6" fmla="*/ 65378 w 251792"/>
                  <a:gd name="connsiteY6" fmla="*/ 126725 h 253935"/>
                  <a:gd name="connsiteX7" fmla="*/ 126153 w 251792"/>
                  <a:gd name="connsiteY7" fmla="*/ 65378 h 253935"/>
                  <a:gd name="connsiteX8" fmla="*/ 186443 w 251792"/>
                  <a:gd name="connsiteY8" fmla="*/ 126725 h 253935"/>
                  <a:gd name="connsiteX9" fmla="*/ 126153 w 251792"/>
                  <a:gd name="connsiteY9" fmla="*/ 188558 h 253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1792" h="253935">
                    <a:moveTo>
                      <a:pt x="125896" y="0"/>
                    </a:moveTo>
                    <a:cubicBezTo>
                      <a:pt x="54944" y="0"/>
                      <a:pt x="0" y="55287"/>
                      <a:pt x="0" y="126725"/>
                    </a:cubicBezTo>
                    <a:cubicBezTo>
                      <a:pt x="0" y="198163"/>
                      <a:pt x="54915" y="253936"/>
                      <a:pt x="125896" y="253936"/>
                    </a:cubicBezTo>
                    <a:cubicBezTo>
                      <a:pt x="196877" y="253936"/>
                      <a:pt x="251792" y="198163"/>
                      <a:pt x="251792" y="126725"/>
                    </a:cubicBezTo>
                    <a:cubicBezTo>
                      <a:pt x="251792" y="55287"/>
                      <a:pt x="196877" y="0"/>
                      <a:pt x="125896" y="0"/>
                    </a:cubicBezTo>
                    <a:close/>
                    <a:moveTo>
                      <a:pt x="126153" y="188558"/>
                    </a:moveTo>
                    <a:cubicBezTo>
                      <a:pt x="91506" y="188558"/>
                      <a:pt x="65378" y="160314"/>
                      <a:pt x="65378" y="126725"/>
                    </a:cubicBezTo>
                    <a:cubicBezTo>
                      <a:pt x="65378" y="93136"/>
                      <a:pt x="91506" y="65378"/>
                      <a:pt x="126153" y="65378"/>
                    </a:cubicBezTo>
                    <a:cubicBezTo>
                      <a:pt x="160801" y="65378"/>
                      <a:pt x="186443" y="93136"/>
                      <a:pt x="186443" y="126725"/>
                    </a:cubicBezTo>
                    <a:cubicBezTo>
                      <a:pt x="186443" y="160314"/>
                      <a:pt x="161315" y="188558"/>
                      <a:pt x="126153" y="188558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B17C92C7-6735-D736-1C20-27200DA3893E}"/>
                  </a:ext>
                </a:extLst>
              </p:cNvPr>
              <p:cNvSpPr/>
              <p:nvPr/>
            </p:nvSpPr>
            <p:spPr>
              <a:xfrm>
                <a:off x="10370776" y="3105088"/>
                <a:ext cx="251792" cy="253935"/>
              </a:xfrm>
              <a:custGeom>
                <a:avLst/>
                <a:gdLst>
                  <a:gd name="connsiteX0" fmla="*/ 125896 w 251792"/>
                  <a:gd name="connsiteY0" fmla="*/ 0 h 253935"/>
                  <a:gd name="connsiteX1" fmla="*/ 0 w 251792"/>
                  <a:gd name="connsiteY1" fmla="*/ 126725 h 253935"/>
                  <a:gd name="connsiteX2" fmla="*/ 125896 w 251792"/>
                  <a:gd name="connsiteY2" fmla="*/ 253936 h 253935"/>
                  <a:gd name="connsiteX3" fmla="*/ 251792 w 251792"/>
                  <a:gd name="connsiteY3" fmla="*/ 126725 h 253935"/>
                  <a:gd name="connsiteX4" fmla="*/ 125896 w 251792"/>
                  <a:gd name="connsiteY4" fmla="*/ 0 h 253935"/>
                  <a:gd name="connsiteX5" fmla="*/ 126153 w 251792"/>
                  <a:gd name="connsiteY5" fmla="*/ 188558 h 253935"/>
                  <a:gd name="connsiteX6" fmla="*/ 65378 w 251792"/>
                  <a:gd name="connsiteY6" fmla="*/ 126725 h 253935"/>
                  <a:gd name="connsiteX7" fmla="*/ 126153 w 251792"/>
                  <a:gd name="connsiteY7" fmla="*/ 65378 h 253935"/>
                  <a:gd name="connsiteX8" fmla="*/ 186443 w 251792"/>
                  <a:gd name="connsiteY8" fmla="*/ 126725 h 253935"/>
                  <a:gd name="connsiteX9" fmla="*/ 126153 w 251792"/>
                  <a:gd name="connsiteY9" fmla="*/ 188558 h 253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1792" h="253935">
                    <a:moveTo>
                      <a:pt x="125896" y="0"/>
                    </a:moveTo>
                    <a:cubicBezTo>
                      <a:pt x="54944" y="0"/>
                      <a:pt x="0" y="55287"/>
                      <a:pt x="0" y="126725"/>
                    </a:cubicBezTo>
                    <a:cubicBezTo>
                      <a:pt x="0" y="198163"/>
                      <a:pt x="54915" y="253936"/>
                      <a:pt x="125896" y="253936"/>
                    </a:cubicBezTo>
                    <a:cubicBezTo>
                      <a:pt x="196877" y="253936"/>
                      <a:pt x="251792" y="198163"/>
                      <a:pt x="251792" y="126725"/>
                    </a:cubicBezTo>
                    <a:cubicBezTo>
                      <a:pt x="251792" y="55287"/>
                      <a:pt x="196877" y="0"/>
                      <a:pt x="125896" y="0"/>
                    </a:cubicBezTo>
                    <a:close/>
                    <a:moveTo>
                      <a:pt x="126153" y="188558"/>
                    </a:moveTo>
                    <a:cubicBezTo>
                      <a:pt x="91506" y="188558"/>
                      <a:pt x="65378" y="160314"/>
                      <a:pt x="65378" y="126725"/>
                    </a:cubicBezTo>
                    <a:cubicBezTo>
                      <a:pt x="65378" y="93136"/>
                      <a:pt x="91506" y="65378"/>
                      <a:pt x="126153" y="65378"/>
                    </a:cubicBezTo>
                    <a:cubicBezTo>
                      <a:pt x="160801" y="65378"/>
                      <a:pt x="186443" y="93136"/>
                      <a:pt x="186443" y="126725"/>
                    </a:cubicBezTo>
                    <a:cubicBezTo>
                      <a:pt x="186443" y="160314"/>
                      <a:pt x="161315" y="188558"/>
                      <a:pt x="126153" y="188558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C9EF28E3-9229-27FB-75F2-46D56E75A829}"/>
                  </a:ext>
                </a:extLst>
              </p:cNvPr>
              <p:cNvSpPr/>
              <p:nvPr/>
            </p:nvSpPr>
            <p:spPr>
              <a:xfrm>
                <a:off x="9242171" y="3110092"/>
                <a:ext cx="68865" cy="243987"/>
              </a:xfrm>
              <a:custGeom>
                <a:avLst/>
                <a:gdLst>
                  <a:gd name="connsiteX0" fmla="*/ 62405 w 68865"/>
                  <a:gd name="connsiteY0" fmla="*/ 243987 h 243987"/>
                  <a:gd name="connsiteX1" fmla="*/ 6489 w 68865"/>
                  <a:gd name="connsiteY1" fmla="*/ 243987 h 243987"/>
                  <a:gd name="connsiteX2" fmla="*/ 0 w 68865"/>
                  <a:gd name="connsiteY2" fmla="*/ 237498 h 243987"/>
                  <a:gd name="connsiteX3" fmla="*/ 0 w 68865"/>
                  <a:gd name="connsiteY3" fmla="*/ 63891 h 243987"/>
                  <a:gd name="connsiteX4" fmla="*/ 3888 w 68865"/>
                  <a:gd name="connsiteY4" fmla="*/ 54629 h 243987"/>
                  <a:gd name="connsiteX5" fmla="*/ 57860 w 68865"/>
                  <a:gd name="connsiteY5" fmla="*/ 1858 h 243987"/>
                  <a:gd name="connsiteX6" fmla="*/ 68866 w 68865"/>
                  <a:gd name="connsiteY6" fmla="*/ 6489 h 243987"/>
                  <a:gd name="connsiteX7" fmla="*/ 68866 w 68865"/>
                  <a:gd name="connsiteY7" fmla="*/ 237498 h 243987"/>
                  <a:gd name="connsiteX8" fmla="*/ 62376 w 68865"/>
                  <a:gd name="connsiteY8" fmla="*/ 243987 h 243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8865" h="243987">
                    <a:moveTo>
                      <a:pt x="62405" y="243987"/>
                    </a:moveTo>
                    <a:lnTo>
                      <a:pt x="6489" y="243987"/>
                    </a:lnTo>
                    <a:cubicBezTo>
                      <a:pt x="2916" y="243987"/>
                      <a:pt x="0" y="241071"/>
                      <a:pt x="0" y="237498"/>
                    </a:cubicBezTo>
                    <a:lnTo>
                      <a:pt x="0" y="63891"/>
                    </a:lnTo>
                    <a:cubicBezTo>
                      <a:pt x="0" y="60403"/>
                      <a:pt x="1401" y="57059"/>
                      <a:pt x="3888" y="54629"/>
                    </a:cubicBezTo>
                    <a:lnTo>
                      <a:pt x="57860" y="1858"/>
                    </a:lnTo>
                    <a:cubicBezTo>
                      <a:pt x="61976" y="-2144"/>
                      <a:pt x="68866" y="743"/>
                      <a:pt x="68866" y="6489"/>
                    </a:cubicBezTo>
                    <a:lnTo>
                      <a:pt x="68866" y="237498"/>
                    </a:lnTo>
                    <a:cubicBezTo>
                      <a:pt x="68866" y="241071"/>
                      <a:pt x="65950" y="243987"/>
                      <a:pt x="62376" y="243987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E7C0F6DD-830E-3400-95E1-E2ED0EC2694C}"/>
                  </a:ext>
                </a:extLst>
              </p:cNvPr>
              <p:cNvSpPr/>
              <p:nvPr/>
            </p:nvSpPr>
            <p:spPr>
              <a:xfrm>
                <a:off x="9347255" y="3105025"/>
                <a:ext cx="224777" cy="249082"/>
              </a:xfrm>
              <a:custGeom>
                <a:avLst/>
                <a:gdLst>
                  <a:gd name="connsiteX0" fmla="*/ 224749 w 224777"/>
                  <a:gd name="connsiteY0" fmla="*/ 87568 h 249082"/>
                  <a:gd name="connsiteX1" fmla="*/ 136416 w 224777"/>
                  <a:gd name="connsiteY1" fmla="*/ 6 h 249082"/>
                  <a:gd name="connsiteX2" fmla="*/ 68894 w 224777"/>
                  <a:gd name="connsiteY2" fmla="*/ 36540 h 249082"/>
                  <a:gd name="connsiteX3" fmla="*/ 68894 w 224777"/>
                  <a:gd name="connsiteY3" fmla="*/ 11670 h 249082"/>
                  <a:gd name="connsiteX4" fmla="*/ 62405 w 224777"/>
                  <a:gd name="connsiteY4" fmla="*/ 5181 h 249082"/>
                  <a:gd name="connsiteX5" fmla="*/ 6489 w 224777"/>
                  <a:gd name="connsiteY5" fmla="*/ 5181 h 249082"/>
                  <a:gd name="connsiteX6" fmla="*/ 0 w 224777"/>
                  <a:gd name="connsiteY6" fmla="*/ 11670 h 249082"/>
                  <a:gd name="connsiteX7" fmla="*/ 0 w 224777"/>
                  <a:gd name="connsiteY7" fmla="*/ 242565 h 249082"/>
                  <a:gd name="connsiteX8" fmla="*/ 6489 w 224777"/>
                  <a:gd name="connsiteY8" fmla="*/ 249054 h 249082"/>
                  <a:gd name="connsiteX9" fmla="*/ 62405 w 224777"/>
                  <a:gd name="connsiteY9" fmla="*/ 249054 h 249082"/>
                  <a:gd name="connsiteX10" fmla="*/ 68894 w 224777"/>
                  <a:gd name="connsiteY10" fmla="*/ 242565 h 249082"/>
                  <a:gd name="connsiteX11" fmla="*/ 68894 w 224777"/>
                  <a:gd name="connsiteY11" fmla="*/ 108293 h 249082"/>
                  <a:gd name="connsiteX12" fmla="*/ 112375 w 224777"/>
                  <a:gd name="connsiteY12" fmla="*/ 66385 h 249082"/>
                  <a:gd name="connsiteX13" fmla="*/ 155884 w 224777"/>
                  <a:gd name="connsiteY13" fmla="*/ 111266 h 249082"/>
                  <a:gd name="connsiteX14" fmla="*/ 155884 w 224777"/>
                  <a:gd name="connsiteY14" fmla="*/ 242593 h 249082"/>
                  <a:gd name="connsiteX15" fmla="*/ 162373 w 224777"/>
                  <a:gd name="connsiteY15" fmla="*/ 249083 h 249082"/>
                  <a:gd name="connsiteX16" fmla="*/ 218289 w 224777"/>
                  <a:gd name="connsiteY16" fmla="*/ 249083 h 249082"/>
                  <a:gd name="connsiteX17" fmla="*/ 224778 w 224777"/>
                  <a:gd name="connsiteY17" fmla="*/ 242593 h 249082"/>
                  <a:gd name="connsiteX18" fmla="*/ 224778 w 224777"/>
                  <a:gd name="connsiteY18" fmla="*/ 87596 h 249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4777" h="249082">
                    <a:moveTo>
                      <a:pt x="224749" y="87568"/>
                    </a:moveTo>
                    <a:cubicBezTo>
                      <a:pt x="224749" y="40257"/>
                      <a:pt x="185671" y="578"/>
                      <a:pt x="136416" y="6"/>
                    </a:cubicBezTo>
                    <a:cubicBezTo>
                      <a:pt x="104370" y="-365"/>
                      <a:pt x="82730" y="15329"/>
                      <a:pt x="68894" y="36540"/>
                    </a:cubicBezTo>
                    <a:lnTo>
                      <a:pt x="68894" y="11670"/>
                    </a:lnTo>
                    <a:cubicBezTo>
                      <a:pt x="68894" y="8097"/>
                      <a:pt x="65978" y="5181"/>
                      <a:pt x="62405" y="5181"/>
                    </a:cubicBezTo>
                    <a:lnTo>
                      <a:pt x="6489" y="5181"/>
                    </a:lnTo>
                    <a:cubicBezTo>
                      <a:pt x="2916" y="5181"/>
                      <a:pt x="0" y="8097"/>
                      <a:pt x="0" y="11670"/>
                    </a:cubicBezTo>
                    <a:lnTo>
                      <a:pt x="0" y="242565"/>
                    </a:lnTo>
                    <a:cubicBezTo>
                      <a:pt x="0" y="246138"/>
                      <a:pt x="2916" y="249054"/>
                      <a:pt x="6489" y="249054"/>
                    </a:cubicBezTo>
                    <a:lnTo>
                      <a:pt x="62405" y="249054"/>
                    </a:lnTo>
                    <a:cubicBezTo>
                      <a:pt x="65978" y="249054"/>
                      <a:pt x="68894" y="246138"/>
                      <a:pt x="68894" y="242565"/>
                    </a:cubicBezTo>
                    <a:lnTo>
                      <a:pt x="68894" y="108293"/>
                    </a:lnTo>
                    <a:cubicBezTo>
                      <a:pt x="70438" y="82451"/>
                      <a:pt x="86818" y="66385"/>
                      <a:pt x="112375" y="66385"/>
                    </a:cubicBezTo>
                    <a:cubicBezTo>
                      <a:pt x="137931" y="66385"/>
                      <a:pt x="155884" y="84423"/>
                      <a:pt x="155884" y="111266"/>
                    </a:cubicBezTo>
                    <a:lnTo>
                      <a:pt x="155884" y="242593"/>
                    </a:lnTo>
                    <a:cubicBezTo>
                      <a:pt x="155884" y="246167"/>
                      <a:pt x="158800" y="249083"/>
                      <a:pt x="162373" y="249083"/>
                    </a:cubicBezTo>
                    <a:lnTo>
                      <a:pt x="218289" y="249083"/>
                    </a:lnTo>
                    <a:cubicBezTo>
                      <a:pt x="221862" y="249083"/>
                      <a:pt x="224778" y="246167"/>
                      <a:pt x="224778" y="242593"/>
                    </a:cubicBezTo>
                    <a:lnTo>
                      <a:pt x="224778" y="87596"/>
                    </a:ln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</p:grp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28E3E695-E4C4-96A6-15D7-FFE921DDAA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-16702" y="-21685"/>
            <a:ext cx="12235296" cy="687918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58CD8E0-C4FA-BEDC-5938-36BDD273715D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536658" y="1770018"/>
            <a:ext cx="5472112" cy="1692001"/>
          </a:xfrm>
          <a:prstGeom prst="rect">
            <a:avLst/>
          </a:prstGeom>
        </p:spPr>
        <p:txBody>
          <a:bodyPr anchor="b" anchorCtr="0"/>
          <a:lstStyle>
            <a:lvl1pPr algn="l">
              <a:defRPr sz="3800" b="1" i="0" cap="all" baseline="0">
                <a:solidFill>
                  <a:schemeClr val="tx1"/>
                </a:solidFill>
                <a:latin typeface="Lato" panose="020F0502020204030203" pitchFamily="34" charset="77"/>
              </a:defRPr>
            </a:lvl1pPr>
          </a:lstStyle>
          <a:p>
            <a:r>
              <a:rPr lang="en-US" dirty="0"/>
              <a:t>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F514931-92B9-1384-0FE7-44734F85020E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536658" y="3589681"/>
            <a:ext cx="5472112" cy="1406620"/>
          </a:xfrm>
          <a:prstGeom prst="rect">
            <a:avLst/>
          </a:prstGeom>
        </p:spPr>
        <p:txBody>
          <a:bodyPr anchor="t" anchorCtr="0"/>
          <a:lstStyle>
            <a:lvl1pPr marL="0" indent="0" algn="l">
              <a:buNone/>
              <a:defRPr sz="2200" b="0" i="0" cap="all" baseline="0">
                <a:solidFill>
                  <a:schemeClr val="tx1"/>
                </a:solidFill>
                <a:latin typeface="Lato" panose="020F0502020204030203" pitchFamily="34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</a:p>
        </p:txBody>
      </p:sp>
      <p:grpSp>
        <p:nvGrpSpPr>
          <p:cNvPr id="78" name="Group 77">
            <a:extLst>
              <a:ext uri="{FF2B5EF4-FFF2-40B4-BE49-F238E27FC236}">
                <a16:creationId xmlns:a16="http://schemas.microsoft.com/office/drawing/2014/main" id="{EA26DEFA-F3F3-635A-A818-31635C3596A0}"/>
              </a:ext>
            </a:extLst>
          </p:cNvPr>
          <p:cNvGrpSpPr/>
          <p:nvPr userDrawn="1"/>
        </p:nvGrpSpPr>
        <p:grpSpPr>
          <a:xfrm>
            <a:off x="733434" y="542252"/>
            <a:ext cx="2455606" cy="510077"/>
            <a:chOff x="733434" y="876300"/>
            <a:chExt cx="2455606" cy="510077"/>
          </a:xfrm>
        </p:grpSpPr>
        <p:sp>
          <p:nvSpPr>
            <p:cNvPr id="79" name="Freeform: Shape 8">
              <a:extLst>
                <a:ext uri="{FF2B5EF4-FFF2-40B4-BE49-F238E27FC236}">
                  <a16:creationId xmlns:a16="http://schemas.microsoft.com/office/drawing/2014/main" id="{E2DCE9FB-09F5-E3FA-7654-A31C33145D68}"/>
                </a:ext>
              </a:extLst>
            </p:cNvPr>
            <p:cNvSpPr/>
            <p:nvPr/>
          </p:nvSpPr>
          <p:spPr>
            <a:xfrm rot="18900000">
              <a:off x="770705" y="879406"/>
              <a:ext cx="107935" cy="107935"/>
            </a:xfrm>
            <a:custGeom>
              <a:avLst/>
              <a:gdLst>
                <a:gd name="connsiteX0" fmla="*/ 67007 w 73496"/>
                <a:gd name="connsiteY0" fmla="*/ 0 h 73496"/>
                <a:gd name="connsiteX1" fmla="*/ 73497 w 73496"/>
                <a:gd name="connsiteY1" fmla="*/ 6489 h 73496"/>
                <a:gd name="connsiteX2" fmla="*/ 73497 w 73496"/>
                <a:gd name="connsiteY2" fmla="*/ 67007 h 73496"/>
                <a:gd name="connsiteX3" fmla="*/ 67007 w 73496"/>
                <a:gd name="connsiteY3" fmla="*/ 73496 h 73496"/>
                <a:gd name="connsiteX4" fmla="*/ 6489 w 73496"/>
                <a:gd name="connsiteY4" fmla="*/ 73496 h 73496"/>
                <a:gd name="connsiteX5" fmla="*/ 0 w 73496"/>
                <a:gd name="connsiteY5" fmla="*/ 67007 h 73496"/>
                <a:gd name="connsiteX6" fmla="*/ 0 w 73496"/>
                <a:gd name="connsiteY6" fmla="*/ 6489 h 73496"/>
                <a:gd name="connsiteX7" fmla="*/ 6489 w 73496"/>
                <a:gd name="connsiteY7" fmla="*/ 0 h 73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496" h="73496">
                  <a:moveTo>
                    <a:pt x="67007" y="0"/>
                  </a:moveTo>
                  <a:cubicBezTo>
                    <a:pt x="70591" y="0"/>
                    <a:pt x="73497" y="2905"/>
                    <a:pt x="73497" y="6489"/>
                  </a:cubicBezTo>
                  <a:lnTo>
                    <a:pt x="73497" y="67007"/>
                  </a:lnTo>
                  <a:cubicBezTo>
                    <a:pt x="73497" y="70591"/>
                    <a:pt x="70591" y="73496"/>
                    <a:pt x="67007" y="73496"/>
                  </a:cubicBezTo>
                  <a:lnTo>
                    <a:pt x="6489" y="73496"/>
                  </a:lnTo>
                  <a:cubicBezTo>
                    <a:pt x="2905" y="73496"/>
                    <a:pt x="0" y="70591"/>
                    <a:pt x="0" y="67007"/>
                  </a:cubicBezTo>
                  <a:lnTo>
                    <a:pt x="0" y="6489"/>
                  </a:lnTo>
                  <a:cubicBezTo>
                    <a:pt x="0" y="2905"/>
                    <a:pt x="2905" y="0"/>
                    <a:pt x="6489" y="0"/>
                  </a:cubicBezTo>
                  <a:close/>
                </a:path>
              </a:pathLst>
            </a:custGeom>
            <a:solidFill>
              <a:srgbClr val="00BD4D"/>
            </a:solidFill>
            <a:ln w="284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="0" i="0" dirty="0">
                <a:latin typeface="Lato" panose="020F0502020204030203" pitchFamily="34" charset="77"/>
              </a:endParaRPr>
            </a:p>
          </p:txBody>
        </p: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F95AA508-4376-D786-8428-F8B0240EB7EE}"/>
                </a:ext>
              </a:extLst>
            </p:cNvPr>
            <p:cNvGrpSpPr/>
            <p:nvPr/>
          </p:nvGrpSpPr>
          <p:grpSpPr>
            <a:xfrm>
              <a:off x="733434" y="876300"/>
              <a:ext cx="2455606" cy="510077"/>
              <a:chOff x="9242171" y="3011696"/>
              <a:chExt cx="1672097" cy="347327"/>
            </a:xfrm>
            <a:solidFill>
              <a:schemeClr val="tx1"/>
            </a:solidFill>
          </p:grpSpPr>
          <p:sp>
            <p:nvSpPr>
              <p:cNvPr id="81" name="Freeform: Shape 10">
                <a:extLst>
                  <a:ext uri="{FF2B5EF4-FFF2-40B4-BE49-F238E27FC236}">
                    <a16:creationId xmlns:a16="http://schemas.microsoft.com/office/drawing/2014/main" id="{BE8E924F-78CC-194B-B83A-1E4BC8A0194F}"/>
                  </a:ext>
                </a:extLst>
              </p:cNvPr>
              <p:cNvSpPr/>
              <p:nvPr/>
            </p:nvSpPr>
            <p:spPr>
              <a:xfrm>
                <a:off x="10604432" y="3110234"/>
                <a:ext cx="249644" cy="243844"/>
              </a:xfrm>
              <a:custGeom>
                <a:avLst/>
                <a:gdLst>
                  <a:gd name="connsiteX0" fmla="*/ 172562 w 249644"/>
                  <a:gd name="connsiteY0" fmla="*/ 121922 h 243844"/>
                  <a:gd name="connsiteX1" fmla="*/ 248603 w 249644"/>
                  <a:gd name="connsiteY1" fmla="*/ 234754 h 243844"/>
                  <a:gd name="connsiteX2" fmla="*/ 243372 w 249644"/>
                  <a:gd name="connsiteY2" fmla="*/ 243845 h 243844"/>
                  <a:gd name="connsiteX3" fmla="*/ 179480 w 249644"/>
                  <a:gd name="connsiteY3" fmla="*/ 243845 h 243844"/>
                  <a:gd name="connsiteX4" fmla="*/ 168789 w 249644"/>
                  <a:gd name="connsiteY4" fmla="*/ 238213 h 243844"/>
                  <a:gd name="connsiteX5" fmla="*/ 124822 w 249644"/>
                  <a:gd name="connsiteY5" fmla="*/ 170949 h 243844"/>
                  <a:gd name="connsiteX6" fmla="*/ 80856 w 249644"/>
                  <a:gd name="connsiteY6" fmla="*/ 238213 h 243844"/>
                  <a:gd name="connsiteX7" fmla="*/ 70164 w 249644"/>
                  <a:gd name="connsiteY7" fmla="*/ 243845 h 243844"/>
                  <a:gd name="connsiteX8" fmla="*/ 6273 w 249644"/>
                  <a:gd name="connsiteY8" fmla="*/ 243845 h 243844"/>
                  <a:gd name="connsiteX9" fmla="*/ 1042 w 249644"/>
                  <a:gd name="connsiteY9" fmla="*/ 234754 h 243844"/>
                  <a:gd name="connsiteX10" fmla="*/ 76854 w 249644"/>
                  <a:gd name="connsiteY10" fmla="*/ 121922 h 243844"/>
                  <a:gd name="connsiteX11" fmla="*/ 1042 w 249644"/>
                  <a:gd name="connsiteY11" fmla="*/ 9091 h 243844"/>
                  <a:gd name="connsiteX12" fmla="*/ 6273 w 249644"/>
                  <a:gd name="connsiteY12" fmla="*/ 0 h 243844"/>
                  <a:gd name="connsiteX13" fmla="*/ 72880 w 249644"/>
                  <a:gd name="connsiteY13" fmla="*/ 0 h 243844"/>
                  <a:gd name="connsiteX14" fmla="*/ 78998 w 249644"/>
                  <a:gd name="connsiteY14" fmla="*/ 3030 h 243844"/>
                  <a:gd name="connsiteX15" fmla="*/ 124794 w 249644"/>
                  <a:gd name="connsiteY15" fmla="*/ 72782 h 243844"/>
                  <a:gd name="connsiteX16" fmla="*/ 167788 w 249644"/>
                  <a:gd name="connsiteY16" fmla="*/ 3059 h 243844"/>
                  <a:gd name="connsiteX17" fmla="*/ 173906 w 249644"/>
                  <a:gd name="connsiteY17" fmla="*/ 0 h 243844"/>
                  <a:gd name="connsiteX18" fmla="*/ 241171 w 249644"/>
                  <a:gd name="connsiteY18" fmla="*/ 0 h 243844"/>
                  <a:gd name="connsiteX19" fmla="*/ 246402 w 249644"/>
                  <a:gd name="connsiteY19" fmla="*/ 9062 h 243844"/>
                  <a:gd name="connsiteX20" fmla="*/ 172505 w 249644"/>
                  <a:gd name="connsiteY20" fmla="*/ 121922 h 243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49644" h="243844">
                    <a:moveTo>
                      <a:pt x="172562" y="121922"/>
                    </a:moveTo>
                    <a:lnTo>
                      <a:pt x="248603" y="234754"/>
                    </a:lnTo>
                    <a:cubicBezTo>
                      <a:pt x="251347" y="238642"/>
                      <a:pt x="248346" y="243845"/>
                      <a:pt x="243372" y="243845"/>
                    </a:cubicBezTo>
                    <a:lnTo>
                      <a:pt x="179480" y="243845"/>
                    </a:lnTo>
                    <a:cubicBezTo>
                      <a:pt x="175221" y="243845"/>
                      <a:pt x="171219" y="241729"/>
                      <a:pt x="168789" y="238213"/>
                    </a:cubicBezTo>
                    <a:lnTo>
                      <a:pt x="124822" y="170949"/>
                    </a:lnTo>
                    <a:lnTo>
                      <a:pt x="80856" y="238213"/>
                    </a:lnTo>
                    <a:cubicBezTo>
                      <a:pt x="78426" y="241729"/>
                      <a:pt x="74452" y="243845"/>
                      <a:pt x="70164" y="243845"/>
                    </a:cubicBezTo>
                    <a:lnTo>
                      <a:pt x="6273" y="243845"/>
                    </a:lnTo>
                    <a:cubicBezTo>
                      <a:pt x="1299" y="243845"/>
                      <a:pt x="-1703" y="238671"/>
                      <a:pt x="1042" y="234754"/>
                    </a:cubicBezTo>
                    <a:lnTo>
                      <a:pt x="76854" y="121922"/>
                    </a:lnTo>
                    <a:lnTo>
                      <a:pt x="1042" y="9091"/>
                    </a:lnTo>
                    <a:cubicBezTo>
                      <a:pt x="-1703" y="5203"/>
                      <a:pt x="1299" y="0"/>
                      <a:pt x="6273" y="0"/>
                    </a:cubicBezTo>
                    <a:lnTo>
                      <a:pt x="72880" y="0"/>
                    </a:lnTo>
                    <a:cubicBezTo>
                      <a:pt x="75367" y="0"/>
                      <a:pt x="77683" y="1143"/>
                      <a:pt x="78998" y="3030"/>
                    </a:cubicBezTo>
                    <a:lnTo>
                      <a:pt x="124794" y="72782"/>
                    </a:lnTo>
                    <a:lnTo>
                      <a:pt x="167788" y="3059"/>
                    </a:lnTo>
                    <a:cubicBezTo>
                      <a:pt x="169075" y="1172"/>
                      <a:pt x="171419" y="0"/>
                      <a:pt x="173906" y="0"/>
                    </a:cubicBezTo>
                    <a:lnTo>
                      <a:pt x="241171" y="0"/>
                    </a:lnTo>
                    <a:cubicBezTo>
                      <a:pt x="246145" y="0"/>
                      <a:pt x="249118" y="5174"/>
                      <a:pt x="246402" y="9062"/>
                    </a:cubicBezTo>
                    <a:lnTo>
                      <a:pt x="172505" y="121922"/>
                    </a:ln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82" name="Freeform: Shape 11">
                <a:extLst>
                  <a:ext uri="{FF2B5EF4-FFF2-40B4-BE49-F238E27FC236}">
                    <a16:creationId xmlns:a16="http://schemas.microsoft.com/office/drawing/2014/main" id="{F1F89DC6-9BFF-8582-9A9F-69576C013E3D}"/>
                  </a:ext>
                </a:extLst>
              </p:cNvPr>
              <p:cNvSpPr/>
              <p:nvPr/>
            </p:nvSpPr>
            <p:spPr>
              <a:xfrm>
                <a:off x="9581152" y="3011696"/>
                <a:ext cx="164831" cy="342440"/>
              </a:xfrm>
              <a:custGeom>
                <a:avLst/>
                <a:gdLst>
                  <a:gd name="connsiteX0" fmla="*/ 158342 w 164831"/>
                  <a:gd name="connsiteY0" fmla="*/ 29 h 342440"/>
                  <a:gd name="connsiteX1" fmla="*/ 105342 w 164831"/>
                  <a:gd name="connsiteY1" fmla="*/ 29 h 342440"/>
                  <a:gd name="connsiteX2" fmla="*/ 91592 w 164831"/>
                  <a:gd name="connsiteY2" fmla="*/ 5717 h 342440"/>
                  <a:gd name="connsiteX3" fmla="*/ 41794 w 164831"/>
                  <a:gd name="connsiteY3" fmla="*/ 55515 h 342440"/>
                  <a:gd name="connsiteX4" fmla="*/ 36105 w 164831"/>
                  <a:gd name="connsiteY4" fmla="*/ 69266 h 342440"/>
                  <a:gd name="connsiteX5" fmla="*/ 36105 w 164831"/>
                  <a:gd name="connsiteY5" fmla="*/ 108458 h 342440"/>
                  <a:gd name="connsiteX6" fmla="*/ 6375 w 164831"/>
                  <a:gd name="connsiteY6" fmla="*/ 108458 h 342440"/>
                  <a:gd name="connsiteX7" fmla="*/ 0 w 164831"/>
                  <a:gd name="connsiteY7" fmla="*/ 114833 h 342440"/>
                  <a:gd name="connsiteX8" fmla="*/ 0 w 164831"/>
                  <a:gd name="connsiteY8" fmla="*/ 158828 h 342440"/>
                  <a:gd name="connsiteX9" fmla="*/ 6375 w 164831"/>
                  <a:gd name="connsiteY9" fmla="*/ 165203 h 342440"/>
                  <a:gd name="connsiteX10" fmla="*/ 36105 w 164831"/>
                  <a:gd name="connsiteY10" fmla="*/ 165203 h 342440"/>
                  <a:gd name="connsiteX11" fmla="*/ 36105 w 164831"/>
                  <a:gd name="connsiteY11" fmla="*/ 335951 h 342440"/>
                  <a:gd name="connsiteX12" fmla="*/ 42594 w 164831"/>
                  <a:gd name="connsiteY12" fmla="*/ 342440 h 342440"/>
                  <a:gd name="connsiteX13" fmla="*/ 98510 w 164831"/>
                  <a:gd name="connsiteY13" fmla="*/ 342440 h 342440"/>
                  <a:gd name="connsiteX14" fmla="*/ 104999 w 164831"/>
                  <a:gd name="connsiteY14" fmla="*/ 335951 h 342440"/>
                  <a:gd name="connsiteX15" fmla="*/ 104999 w 164831"/>
                  <a:gd name="connsiteY15" fmla="*/ 165174 h 342440"/>
                  <a:gd name="connsiteX16" fmla="*/ 149394 w 164831"/>
                  <a:gd name="connsiteY16" fmla="*/ 165174 h 342440"/>
                  <a:gd name="connsiteX17" fmla="*/ 155769 w 164831"/>
                  <a:gd name="connsiteY17" fmla="*/ 158799 h 342440"/>
                  <a:gd name="connsiteX18" fmla="*/ 155769 w 164831"/>
                  <a:gd name="connsiteY18" fmla="*/ 114804 h 342440"/>
                  <a:gd name="connsiteX19" fmla="*/ 149394 w 164831"/>
                  <a:gd name="connsiteY19" fmla="*/ 108429 h 342440"/>
                  <a:gd name="connsiteX20" fmla="*/ 104999 w 164831"/>
                  <a:gd name="connsiteY20" fmla="*/ 108429 h 342440"/>
                  <a:gd name="connsiteX21" fmla="*/ 104999 w 164831"/>
                  <a:gd name="connsiteY21" fmla="*/ 80643 h 342440"/>
                  <a:gd name="connsiteX22" fmla="*/ 124438 w 164831"/>
                  <a:gd name="connsiteY22" fmla="*/ 61204 h 342440"/>
                  <a:gd name="connsiteX23" fmla="*/ 158342 w 164831"/>
                  <a:gd name="connsiteY23" fmla="*/ 61204 h 342440"/>
                  <a:gd name="connsiteX24" fmla="*/ 164831 w 164831"/>
                  <a:gd name="connsiteY24" fmla="*/ 54715 h 342440"/>
                  <a:gd name="connsiteX25" fmla="*/ 164831 w 164831"/>
                  <a:gd name="connsiteY25" fmla="*/ 6489 h 342440"/>
                  <a:gd name="connsiteX26" fmla="*/ 158342 w 164831"/>
                  <a:gd name="connsiteY26" fmla="*/ 0 h 342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64831" h="342440">
                    <a:moveTo>
                      <a:pt x="158342" y="29"/>
                    </a:moveTo>
                    <a:lnTo>
                      <a:pt x="105342" y="29"/>
                    </a:lnTo>
                    <a:cubicBezTo>
                      <a:pt x="100197" y="29"/>
                      <a:pt x="95251" y="2087"/>
                      <a:pt x="91592" y="5717"/>
                    </a:cubicBezTo>
                    <a:lnTo>
                      <a:pt x="41794" y="55515"/>
                    </a:lnTo>
                    <a:cubicBezTo>
                      <a:pt x="38135" y="59175"/>
                      <a:pt x="36105" y="64120"/>
                      <a:pt x="36105" y="69266"/>
                    </a:cubicBezTo>
                    <a:lnTo>
                      <a:pt x="36105" y="108458"/>
                    </a:lnTo>
                    <a:lnTo>
                      <a:pt x="6375" y="108458"/>
                    </a:lnTo>
                    <a:cubicBezTo>
                      <a:pt x="2859" y="108458"/>
                      <a:pt x="0" y="111317"/>
                      <a:pt x="0" y="114833"/>
                    </a:cubicBezTo>
                    <a:lnTo>
                      <a:pt x="0" y="158828"/>
                    </a:lnTo>
                    <a:cubicBezTo>
                      <a:pt x="0" y="162344"/>
                      <a:pt x="2859" y="165203"/>
                      <a:pt x="6375" y="165203"/>
                    </a:cubicBezTo>
                    <a:lnTo>
                      <a:pt x="36105" y="165203"/>
                    </a:lnTo>
                    <a:lnTo>
                      <a:pt x="36105" y="335951"/>
                    </a:lnTo>
                    <a:cubicBezTo>
                      <a:pt x="36105" y="339524"/>
                      <a:pt x="39021" y="342440"/>
                      <a:pt x="42594" y="342440"/>
                    </a:cubicBezTo>
                    <a:lnTo>
                      <a:pt x="98510" y="342440"/>
                    </a:lnTo>
                    <a:cubicBezTo>
                      <a:pt x="102083" y="342440"/>
                      <a:pt x="104999" y="339524"/>
                      <a:pt x="104999" y="335951"/>
                    </a:cubicBezTo>
                    <a:lnTo>
                      <a:pt x="104999" y="165174"/>
                    </a:lnTo>
                    <a:lnTo>
                      <a:pt x="149394" y="165174"/>
                    </a:lnTo>
                    <a:cubicBezTo>
                      <a:pt x="152911" y="165174"/>
                      <a:pt x="155769" y="162315"/>
                      <a:pt x="155769" y="158799"/>
                    </a:cubicBezTo>
                    <a:lnTo>
                      <a:pt x="155769" y="114804"/>
                    </a:lnTo>
                    <a:cubicBezTo>
                      <a:pt x="155769" y="111288"/>
                      <a:pt x="152911" y="108429"/>
                      <a:pt x="149394" y="108429"/>
                    </a:cubicBezTo>
                    <a:lnTo>
                      <a:pt x="104999" y="108429"/>
                    </a:lnTo>
                    <a:lnTo>
                      <a:pt x="104999" y="80643"/>
                    </a:lnTo>
                    <a:cubicBezTo>
                      <a:pt x="104999" y="69895"/>
                      <a:pt x="113718" y="61204"/>
                      <a:pt x="124438" y="61204"/>
                    </a:cubicBezTo>
                    <a:lnTo>
                      <a:pt x="158342" y="61204"/>
                    </a:lnTo>
                    <a:cubicBezTo>
                      <a:pt x="161915" y="61204"/>
                      <a:pt x="164831" y="58288"/>
                      <a:pt x="164831" y="54715"/>
                    </a:cubicBezTo>
                    <a:lnTo>
                      <a:pt x="164831" y="6489"/>
                    </a:lnTo>
                    <a:cubicBezTo>
                      <a:pt x="164831" y="2916"/>
                      <a:pt x="161915" y="0"/>
                      <a:pt x="158342" y="0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83" name="Freeform: Shape 12">
                <a:extLst>
                  <a:ext uri="{FF2B5EF4-FFF2-40B4-BE49-F238E27FC236}">
                    <a16:creationId xmlns:a16="http://schemas.microsoft.com/office/drawing/2014/main" id="{4F3BD694-D665-2FA2-8D5E-A71D809765C6}"/>
                  </a:ext>
                </a:extLst>
              </p:cNvPr>
              <p:cNvSpPr/>
              <p:nvPr/>
            </p:nvSpPr>
            <p:spPr>
              <a:xfrm>
                <a:off x="10860611" y="3304224"/>
                <a:ext cx="53657" cy="53657"/>
              </a:xfrm>
              <a:custGeom>
                <a:avLst/>
                <a:gdLst>
                  <a:gd name="connsiteX0" fmla="*/ 53657 w 53657"/>
                  <a:gd name="connsiteY0" fmla="*/ 26786 h 53657"/>
                  <a:gd name="connsiteX1" fmla="*/ 26729 w 53657"/>
                  <a:gd name="connsiteY1" fmla="*/ 53657 h 53657"/>
                  <a:gd name="connsiteX2" fmla="*/ 0 w 53657"/>
                  <a:gd name="connsiteY2" fmla="*/ 26786 h 53657"/>
                  <a:gd name="connsiteX3" fmla="*/ 26814 w 53657"/>
                  <a:gd name="connsiteY3" fmla="*/ 0 h 53657"/>
                  <a:gd name="connsiteX4" fmla="*/ 53629 w 53657"/>
                  <a:gd name="connsiteY4" fmla="*/ 26786 h 53657"/>
                  <a:gd name="connsiteX5" fmla="*/ 49541 w 53657"/>
                  <a:gd name="connsiteY5" fmla="*/ 26900 h 53657"/>
                  <a:gd name="connsiteX6" fmla="*/ 26843 w 53657"/>
                  <a:gd name="connsiteY6" fmla="*/ 3831 h 53657"/>
                  <a:gd name="connsiteX7" fmla="*/ 4145 w 53657"/>
                  <a:gd name="connsiteY7" fmla="*/ 26872 h 53657"/>
                  <a:gd name="connsiteX8" fmla="*/ 26729 w 53657"/>
                  <a:gd name="connsiteY8" fmla="*/ 49884 h 53657"/>
                  <a:gd name="connsiteX9" fmla="*/ 49541 w 53657"/>
                  <a:gd name="connsiteY9" fmla="*/ 26900 h 53657"/>
                  <a:gd name="connsiteX10" fmla="*/ 32589 w 53657"/>
                  <a:gd name="connsiteY10" fmla="*/ 31131 h 53657"/>
                  <a:gd name="connsiteX11" fmla="*/ 39335 w 53657"/>
                  <a:gd name="connsiteY11" fmla="*/ 41622 h 53657"/>
                  <a:gd name="connsiteX12" fmla="*/ 34876 w 53657"/>
                  <a:gd name="connsiteY12" fmla="*/ 41622 h 53657"/>
                  <a:gd name="connsiteX13" fmla="*/ 27386 w 53657"/>
                  <a:gd name="connsiteY13" fmla="*/ 29730 h 53657"/>
                  <a:gd name="connsiteX14" fmla="*/ 20554 w 53657"/>
                  <a:gd name="connsiteY14" fmla="*/ 29730 h 53657"/>
                  <a:gd name="connsiteX15" fmla="*/ 20554 w 53657"/>
                  <a:gd name="connsiteY15" fmla="*/ 41622 h 53657"/>
                  <a:gd name="connsiteX16" fmla="*/ 16809 w 53657"/>
                  <a:gd name="connsiteY16" fmla="*/ 41622 h 53657"/>
                  <a:gd name="connsiteX17" fmla="*/ 16809 w 53657"/>
                  <a:gd name="connsiteY17" fmla="*/ 11549 h 53657"/>
                  <a:gd name="connsiteX18" fmla="*/ 28472 w 53657"/>
                  <a:gd name="connsiteY18" fmla="*/ 11549 h 53657"/>
                  <a:gd name="connsiteX19" fmla="*/ 37963 w 53657"/>
                  <a:gd name="connsiteY19" fmla="*/ 20411 h 53657"/>
                  <a:gd name="connsiteX20" fmla="*/ 31131 w 53657"/>
                  <a:gd name="connsiteY20" fmla="*/ 29101 h 53657"/>
                  <a:gd name="connsiteX21" fmla="*/ 32589 w 53657"/>
                  <a:gd name="connsiteY21" fmla="*/ 31160 h 53657"/>
                  <a:gd name="connsiteX22" fmla="*/ 27214 w 53657"/>
                  <a:gd name="connsiteY22" fmla="*/ 26185 h 53657"/>
                  <a:gd name="connsiteX23" fmla="*/ 34047 w 53657"/>
                  <a:gd name="connsiteY23" fmla="*/ 20640 h 53657"/>
                  <a:gd name="connsiteX24" fmla="*/ 28558 w 53657"/>
                  <a:gd name="connsiteY24" fmla="*/ 15037 h 53657"/>
                  <a:gd name="connsiteX25" fmla="*/ 20525 w 53657"/>
                  <a:gd name="connsiteY25" fmla="*/ 15037 h 53657"/>
                  <a:gd name="connsiteX26" fmla="*/ 20525 w 53657"/>
                  <a:gd name="connsiteY26" fmla="*/ 26157 h 53657"/>
                  <a:gd name="connsiteX27" fmla="*/ 27214 w 53657"/>
                  <a:gd name="connsiteY27" fmla="*/ 26157 h 53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53657" h="53657">
                    <a:moveTo>
                      <a:pt x="53657" y="26786"/>
                    </a:moveTo>
                    <a:cubicBezTo>
                      <a:pt x="53657" y="41708"/>
                      <a:pt x="41708" y="53657"/>
                      <a:pt x="26729" y="53657"/>
                    </a:cubicBezTo>
                    <a:cubicBezTo>
                      <a:pt x="11749" y="53657"/>
                      <a:pt x="0" y="41594"/>
                      <a:pt x="0" y="26786"/>
                    </a:cubicBezTo>
                    <a:cubicBezTo>
                      <a:pt x="0" y="11978"/>
                      <a:pt x="11949" y="0"/>
                      <a:pt x="26814" y="0"/>
                    </a:cubicBezTo>
                    <a:cubicBezTo>
                      <a:pt x="41679" y="0"/>
                      <a:pt x="53629" y="11892"/>
                      <a:pt x="53629" y="26786"/>
                    </a:cubicBezTo>
                    <a:close/>
                    <a:moveTo>
                      <a:pt x="49541" y="26900"/>
                    </a:moveTo>
                    <a:cubicBezTo>
                      <a:pt x="49541" y="14036"/>
                      <a:pt x="39392" y="3831"/>
                      <a:pt x="26843" y="3831"/>
                    </a:cubicBezTo>
                    <a:cubicBezTo>
                      <a:pt x="14293" y="3831"/>
                      <a:pt x="4145" y="13922"/>
                      <a:pt x="4145" y="26872"/>
                    </a:cubicBezTo>
                    <a:cubicBezTo>
                      <a:pt x="4145" y="39821"/>
                      <a:pt x="14408" y="49884"/>
                      <a:pt x="26729" y="49884"/>
                    </a:cubicBezTo>
                    <a:cubicBezTo>
                      <a:pt x="39049" y="49884"/>
                      <a:pt x="49541" y="39736"/>
                      <a:pt x="49541" y="26900"/>
                    </a:cubicBezTo>
                    <a:close/>
                    <a:moveTo>
                      <a:pt x="32589" y="31131"/>
                    </a:moveTo>
                    <a:lnTo>
                      <a:pt x="39335" y="41622"/>
                    </a:lnTo>
                    <a:lnTo>
                      <a:pt x="34876" y="41622"/>
                    </a:lnTo>
                    <a:lnTo>
                      <a:pt x="27386" y="29730"/>
                    </a:lnTo>
                    <a:lnTo>
                      <a:pt x="20554" y="29730"/>
                    </a:lnTo>
                    <a:lnTo>
                      <a:pt x="20554" y="41622"/>
                    </a:lnTo>
                    <a:lnTo>
                      <a:pt x="16809" y="41622"/>
                    </a:lnTo>
                    <a:lnTo>
                      <a:pt x="16809" y="11549"/>
                    </a:lnTo>
                    <a:lnTo>
                      <a:pt x="28472" y="11549"/>
                    </a:lnTo>
                    <a:cubicBezTo>
                      <a:pt x="34218" y="11549"/>
                      <a:pt x="37963" y="14636"/>
                      <a:pt x="37963" y="20411"/>
                    </a:cubicBezTo>
                    <a:cubicBezTo>
                      <a:pt x="37963" y="25071"/>
                      <a:pt x="35133" y="27958"/>
                      <a:pt x="31131" y="29101"/>
                    </a:cubicBezTo>
                    <a:cubicBezTo>
                      <a:pt x="31674" y="29702"/>
                      <a:pt x="32217" y="30445"/>
                      <a:pt x="32589" y="31160"/>
                    </a:cubicBezTo>
                    <a:close/>
                    <a:moveTo>
                      <a:pt x="27214" y="26185"/>
                    </a:moveTo>
                    <a:cubicBezTo>
                      <a:pt x="31445" y="26185"/>
                      <a:pt x="34047" y="24184"/>
                      <a:pt x="34047" y="20640"/>
                    </a:cubicBezTo>
                    <a:cubicBezTo>
                      <a:pt x="34047" y="17095"/>
                      <a:pt x="32246" y="15037"/>
                      <a:pt x="28558" y="15037"/>
                    </a:cubicBezTo>
                    <a:lnTo>
                      <a:pt x="20525" y="15037"/>
                    </a:lnTo>
                    <a:lnTo>
                      <a:pt x="20525" y="26157"/>
                    </a:lnTo>
                    <a:lnTo>
                      <a:pt x="27214" y="26157"/>
                    </a:ln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84" name="Freeform: Shape 13">
                <a:extLst>
                  <a:ext uri="{FF2B5EF4-FFF2-40B4-BE49-F238E27FC236}">
                    <a16:creationId xmlns:a16="http://schemas.microsoft.com/office/drawing/2014/main" id="{FA26D8DF-2BE1-3F4B-D962-A458F1C4D6E0}"/>
                  </a:ext>
                </a:extLst>
              </p:cNvPr>
              <p:cNvSpPr/>
              <p:nvPr/>
            </p:nvSpPr>
            <p:spPr>
              <a:xfrm>
                <a:off x="10283815" y="3011724"/>
                <a:ext cx="68865" cy="342354"/>
              </a:xfrm>
              <a:custGeom>
                <a:avLst/>
                <a:gdLst>
                  <a:gd name="connsiteX0" fmla="*/ 62376 w 68865"/>
                  <a:gd name="connsiteY0" fmla="*/ 0 h 342354"/>
                  <a:gd name="connsiteX1" fmla="*/ 68866 w 68865"/>
                  <a:gd name="connsiteY1" fmla="*/ 6489 h 342354"/>
                  <a:gd name="connsiteX2" fmla="*/ 68866 w 68865"/>
                  <a:gd name="connsiteY2" fmla="*/ 335865 h 342354"/>
                  <a:gd name="connsiteX3" fmla="*/ 62376 w 68865"/>
                  <a:gd name="connsiteY3" fmla="*/ 342355 h 342354"/>
                  <a:gd name="connsiteX4" fmla="*/ 6489 w 68865"/>
                  <a:gd name="connsiteY4" fmla="*/ 342355 h 342354"/>
                  <a:gd name="connsiteX5" fmla="*/ 0 w 68865"/>
                  <a:gd name="connsiteY5" fmla="*/ 335865 h 342354"/>
                  <a:gd name="connsiteX6" fmla="*/ 0 w 68865"/>
                  <a:gd name="connsiteY6" fmla="*/ 6489 h 342354"/>
                  <a:gd name="connsiteX7" fmla="*/ 6489 w 68865"/>
                  <a:gd name="connsiteY7" fmla="*/ 0 h 3423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8865" h="342354">
                    <a:moveTo>
                      <a:pt x="62376" y="0"/>
                    </a:moveTo>
                    <a:cubicBezTo>
                      <a:pt x="65960" y="0"/>
                      <a:pt x="68866" y="2905"/>
                      <a:pt x="68866" y="6489"/>
                    </a:cubicBezTo>
                    <a:lnTo>
                      <a:pt x="68866" y="335865"/>
                    </a:lnTo>
                    <a:cubicBezTo>
                      <a:pt x="68866" y="339449"/>
                      <a:pt x="65960" y="342355"/>
                      <a:pt x="62376" y="342355"/>
                    </a:cubicBezTo>
                    <a:lnTo>
                      <a:pt x="6489" y="342355"/>
                    </a:lnTo>
                    <a:cubicBezTo>
                      <a:pt x="2905" y="342355"/>
                      <a:pt x="0" y="339449"/>
                      <a:pt x="0" y="335865"/>
                    </a:cubicBezTo>
                    <a:lnTo>
                      <a:pt x="0" y="6489"/>
                    </a:lnTo>
                    <a:cubicBezTo>
                      <a:pt x="0" y="2905"/>
                      <a:pt x="2905" y="0"/>
                      <a:pt x="6489" y="0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85" name="Freeform: Shape 14">
                <a:extLst>
                  <a:ext uri="{FF2B5EF4-FFF2-40B4-BE49-F238E27FC236}">
                    <a16:creationId xmlns:a16="http://schemas.microsoft.com/office/drawing/2014/main" id="{5ECE6436-8DFA-8140-EF60-5F19657600CA}"/>
                  </a:ext>
                </a:extLst>
              </p:cNvPr>
              <p:cNvSpPr/>
              <p:nvPr/>
            </p:nvSpPr>
            <p:spPr>
              <a:xfrm>
                <a:off x="10006809" y="3011696"/>
                <a:ext cx="258538" cy="347300"/>
              </a:xfrm>
              <a:custGeom>
                <a:avLst/>
                <a:gdLst>
                  <a:gd name="connsiteX0" fmla="*/ 143734 w 258538"/>
                  <a:gd name="connsiteY0" fmla="*/ 93393 h 347300"/>
                  <a:gd name="connsiteX1" fmla="*/ 68894 w 258538"/>
                  <a:gd name="connsiteY1" fmla="*/ 129755 h 347300"/>
                  <a:gd name="connsiteX2" fmla="*/ 68894 w 258538"/>
                  <a:gd name="connsiteY2" fmla="*/ 6489 h 347300"/>
                  <a:gd name="connsiteX3" fmla="*/ 62405 w 258538"/>
                  <a:gd name="connsiteY3" fmla="*/ 0 h 347300"/>
                  <a:gd name="connsiteX4" fmla="*/ 6489 w 258538"/>
                  <a:gd name="connsiteY4" fmla="*/ 0 h 347300"/>
                  <a:gd name="connsiteX5" fmla="*/ 0 w 258538"/>
                  <a:gd name="connsiteY5" fmla="*/ 6489 h 347300"/>
                  <a:gd name="connsiteX6" fmla="*/ 0 w 258538"/>
                  <a:gd name="connsiteY6" fmla="*/ 335894 h 347300"/>
                  <a:gd name="connsiteX7" fmla="*/ 6489 w 258538"/>
                  <a:gd name="connsiteY7" fmla="*/ 342383 h 347300"/>
                  <a:gd name="connsiteX8" fmla="*/ 62405 w 258538"/>
                  <a:gd name="connsiteY8" fmla="*/ 342383 h 347300"/>
                  <a:gd name="connsiteX9" fmla="*/ 68894 w 258538"/>
                  <a:gd name="connsiteY9" fmla="*/ 335894 h 347300"/>
                  <a:gd name="connsiteX10" fmla="*/ 68894 w 258538"/>
                  <a:gd name="connsiteY10" fmla="*/ 311624 h 347300"/>
                  <a:gd name="connsiteX11" fmla="*/ 144249 w 258538"/>
                  <a:gd name="connsiteY11" fmla="*/ 347300 h 347300"/>
                  <a:gd name="connsiteX12" fmla="*/ 258539 w 258538"/>
                  <a:gd name="connsiteY12" fmla="*/ 220689 h 347300"/>
                  <a:gd name="connsiteX13" fmla="*/ 143763 w 258538"/>
                  <a:gd name="connsiteY13" fmla="*/ 93393 h 347300"/>
                  <a:gd name="connsiteX14" fmla="*/ 130041 w 258538"/>
                  <a:gd name="connsiteY14" fmla="*/ 282637 h 347300"/>
                  <a:gd name="connsiteX15" fmla="*/ 68894 w 258538"/>
                  <a:gd name="connsiteY15" fmla="*/ 220718 h 347300"/>
                  <a:gd name="connsiteX16" fmla="*/ 130041 w 258538"/>
                  <a:gd name="connsiteY16" fmla="*/ 159285 h 347300"/>
                  <a:gd name="connsiteX17" fmla="*/ 190216 w 258538"/>
                  <a:gd name="connsiteY17" fmla="*/ 220718 h 347300"/>
                  <a:gd name="connsiteX18" fmla="*/ 130041 w 258538"/>
                  <a:gd name="connsiteY18" fmla="*/ 282637 h 347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8538" h="347300">
                    <a:moveTo>
                      <a:pt x="143734" y="93393"/>
                    </a:moveTo>
                    <a:cubicBezTo>
                      <a:pt x="111946" y="93393"/>
                      <a:pt x="85503" y="107172"/>
                      <a:pt x="68894" y="129755"/>
                    </a:cubicBezTo>
                    <a:lnTo>
                      <a:pt x="68894" y="6489"/>
                    </a:lnTo>
                    <a:cubicBezTo>
                      <a:pt x="68894" y="2916"/>
                      <a:pt x="65978" y="0"/>
                      <a:pt x="62405" y="0"/>
                    </a:cubicBezTo>
                    <a:lnTo>
                      <a:pt x="6489" y="0"/>
                    </a:lnTo>
                    <a:cubicBezTo>
                      <a:pt x="2916" y="0"/>
                      <a:pt x="0" y="2916"/>
                      <a:pt x="0" y="6489"/>
                    </a:cubicBezTo>
                    <a:lnTo>
                      <a:pt x="0" y="335894"/>
                    </a:lnTo>
                    <a:cubicBezTo>
                      <a:pt x="0" y="339467"/>
                      <a:pt x="2916" y="342383"/>
                      <a:pt x="6489" y="342383"/>
                    </a:cubicBezTo>
                    <a:lnTo>
                      <a:pt x="62405" y="342383"/>
                    </a:lnTo>
                    <a:cubicBezTo>
                      <a:pt x="65978" y="342383"/>
                      <a:pt x="68894" y="339467"/>
                      <a:pt x="68894" y="335894"/>
                    </a:cubicBezTo>
                    <a:lnTo>
                      <a:pt x="68894" y="311624"/>
                    </a:lnTo>
                    <a:cubicBezTo>
                      <a:pt x="85532" y="334236"/>
                      <a:pt x="111946" y="347300"/>
                      <a:pt x="144249" y="347300"/>
                    </a:cubicBezTo>
                    <a:cubicBezTo>
                      <a:pt x="212257" y="347300"/>
                      <a:pt x="258539" y="292442"/>
                      <a:pt x="258539" y="220689"/>
                    </a:cubicBezTo>
                    <a:cubicBezTo>
                      <a:pt x="258539" y="148937"/>
                      <a:pt x="212257" y="93393"/>
                      <a:pt x="143763" y="93393"/>
                    </a:cubicBezTo>
                    <a:close/>
                    <a:moveTo>
                      <a:pt x="130041" y="282637"/>
                    </a:moveTo>
                    <a:cubicBezTo>
                      <a:pt x="94822" y="282637"/>
                      <a:pt x="68894" y="254136"/>
                      <a:pt x="68894" y="220718"/>
                    </a:cubicBezTo>
                    <a:cubicBezTo>
                      <a:pt x="68894" y="187300"/>
                      <a:pt x="94822" y="159285"/>
                      <a:pt x="130041" y="159285"/>
                    </a:cubicBezTo>
                    <a:cubicBezTo>
                      <a:pt x="165260" y="159285"/>
                      <a:pt x="190216" y="187300"/>
                      <a:pt x="190216" y="220718"/>
                    </a:cubicBezTo>
                    <a:cubicBezTo>
                      <a:pt x="190216" y="254136"/>
                      <a:pt x="164774" y="282637"/>
                      <a:pt x="130041" y="282637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86" name="Freeform: Shape 15">
                <a:extLst>
                  <a:ext uri="{FF2B5EF4-FFF2-40B4-BE49-F238E27FC236}">
                    <a16:creationId xmlns:a16="http://schemas.microsoft.com/office/drawing/2014/main" id="{8DCB5B1B-B664-C4FB-FEBF-51F82FABBE74}"/>
                  </a:ext>
                </a:extLst>
              </p:cNvPr>
              <p:cNvSpPr/>
              <p:nvPr/>
            </p:nvSpPr>
            <p:spPr>
              <a:xfrm>
                <a:off x="9736922" y="3105088"/>
                <a:ext cx="251792" cy="253935"/>
              </a:xfrm>
              <a:custGeom>
                <a:avLst/>
                <a:gdLst>
                  <a:gd name="connsiteX0" fmla="*/ 125896 w 251792"/>
                  <a:gd name="connsiteY0" fmla="*/ 0 h 253935"/>
                  <a:gd name="connsiteX1" fmla="*/ 0 w 251792"/>
                  <a:gd name="connsiteY1" fmla="*/ 126725 h 253935"/>
                  <a:gd name="connsiteX2" fmla="*/ 125896 w 251792"/>
                  <a:gd name="connsiteY2" fmla="*/ 253936 h 253935"/>
                  <a:gd name="connsiteX3" fmla="*/ 251792 w 251792"/>
                  <a:gd name="connsiteY3" fmla="*/ 126725 h 253935"/>
                  <a:gd name="connsiteX4" fmla="*/ 125896 w 251792"/>
                  <a:gd name="connsiteY4" fmla="*/ 0 h 253935"/>
                  <a:gd name="connsiteX5" fmla="*/ 126153 w 251792"/>
                  <a:gd name="connsiteY5" fmla="*/ 188558 h 253935"/>
                  <a:gd name="connsiteX6" fmla="*/ 65378 w 251792"/>
                  <a:gd name="connsiteY6" fmla="*/ 126725 h 253935"/>
                  <a:gd name="connsiteX7" fmla="*/ 126153 w 251792"/>
                  <a:gd name="connsiteY7" fmla="*/ 65378 h 253935"/>
                  <a:gd name="connsiteX8" fmla="*/ 186443 w 251792"/>
                  <a:gd name="connsiteY8" fmla="*/ 126725 h 253935"/>
                  <a:gd name="connsiteX9" fmla="*/ 126153 w 251792"/>
                  <a:gd name="connsiteY9" fmla="*/ 188558 h 253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1792" h="253935">
                    <a:moveTo>
                      <a:pt x="125896" y="0"/>
                    </a:moveTo>
                    <a:cubicBezTo>
                      <a:pt x="54944" y="0"/>
                      <a:pt x="0" y="55287"/>
                      <a:pt x="0" y="126725"/>
                    </a:cubicBezTo>
                    <a:cubicBezTo>
                      <a:pt x="0" y="198163"/>
                      <a:pt x="54915" y="253936"/>
                      <a:pt x="125896" y="253936"/>
                    </a:cubicBezTo>
                    <a:cubicBezTo>
                      <a:pt x="196877" y="253936"/>
                      <a:pt x="251792" y="198163"/>
                      <a:pt x="251792" y="126725"/>
                    </a:cubicBezTo>
                    <a:cubicBezTo>
                      <a:pt x="251792" y="55287"/>
                      <a:pt x="196877" y="0"/>
                      <a:pt x="125896" y="0"/>
                    </a:cubicBezTo>
                    <a:close/>
                    <a:moveTo>
                      <a:pt x="126153" y="188558"/>
                    </a:moveTo>
                    <a:cubicBezTo>
                      <a:pt x="91506" y="188558"/>
                      <a:pt x="65378" y="160314"/>
                      <a:pt x="65378" y="126725"/>
                    </a:cubicBezTo>
                    <a:cubicBezTo>
                      <a:pt x="65378" y="93136"/>
                      <a:pt x="91506" y="65378"/>
                      <a:pt x="126153" y="65378"/>
                    </a:cubicBezTo>
                    <a:cubicBezTo>
                      <a:pt x="160801" y="65378"/>
                      <a:pt x="186443" y="93136"/>
                      <a:pt x="186443" y="126725"/>
                    </a:cubicBezTo>
                    <a:cubicBezTo>
                      <a:pt x="186443" y="160314"/>
                      <a:pt x="161315" y="188558"/>
                      <a:pt x="126153" y="188558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87" name="Freeform: Shape 16">
                <a:extLst>
                  <a:ext uri="{FF2B5EF4-FFF2-40B4-BE49-F238E27FC236}">
                    <a16:creationId xmlns:a16="http://schemas.microsoft.com/office/drawing/2014/main" id="{25E1B06A-9003-8881-6681-853DB0975401}"/>
                  </a:ext>
                </a:extLst>
              </p:cNvPr>
              <p:cNvSpPr/>
              <p:nvPr/>
            </p:nvSpPr>
            <p:spPr>
              <a:xfrm>
                <a:off x="10370776" y="3105088"/>
                <a:ext cx="251792" cy="253935"/>
              </a:xfrm>
              <a:custGeom>
                <a:avLst/>
                <a:gdLst>
                  <a:gd name="connsiteX0" fmla="*/ 125896 w 251792"/>
                  <a:gd name="connsiteY0" fmla="*/ 0 h 253935"/>
                  <a:gd name="connsiteX1" fmla="*/ 0 w 251792"/>
                  <a:gd name="connsiteY1" fmla="*/ 126725 h 253935"/>
                  <a:gd name="connsiteX2" fmla="*/ 125896 w 251792"/>
                  <a:gd name="connsiteY2" fmla="*/ 253936 h 253935"/>
                  <a:gd name="connsiteX3" fmla="*/ 251792 w 251792"/>
                  <a:gd name="connsiteY3" fmla="*/ 126725 h 253935"/>
                  <a:gd name="connsiteX4" fmla="*/ 125896 w 251792"/>
                  <a:gd name="connsiteY4" fmla="*/ 0 h 253935"/>
                  <a:gd name="connsiteX5" fmla="*/ 126153 w 251792"/>
                  <a:gd name="connsiteY5" fmla="*/ 188558 h 253935"/>
                  <a:gd name="connsiteX6" fmla="*/ 65378 w 251792"/>
                  <a:gd name="connsiteY6" fmla="*/ 126725 h 253935"/>
                  <a:gd name="connsiteX7" fmla="*/ 126153 w 251792"/>
                  <a:gd name="connsiteY7" fmla="*/ 65378 h 253935"/>
                  <a:gd name="connsiteX8" fmla="*/ 186443 w 251792"/>
                  <a:gd name="connsiteY8" fmla="*/ 126725 h 253935"/>
                  <a:gd name="connsiteX9" fmla="*/ 126153 w 251792"/>
                  <a:gd name="connsiteY9" fmla="*/ 188558 h 253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1792" h="253935">
                    <a:moveTo>
                      <a:pt x="125896" y="0"/>
                    </a:moveTo>
                    <a:cubicBezTo>
                      <a:pt x="54944" y="0"/>
                      <a:pt x="0" y="55287"/>
                      <a:pt x="0" y="126725"/>
                    </a:cubicBezTo>
                    <a:cubicBezTo>
                      <a:pt x="0" y="198163"/>
                      <a:pt x="54915" y="253936"/>
                      <a:pt x="125896" y="253936"/>
                    </a:cubicBezTo>
                    <a:cubicBezTo>
                      <a:pt x="196877" y="253936"/>
                      <a:pt x="251792" y="198163"/>
                      <a:pt x="251792" y="126725"/>
                    </a:cubicBezTo>
                    <a:cubicBezTo>
                      <a:pt x="251792" y="55287"/>
                      <a:pt x="196877" y="0"/>
                      <a:pt x="125896" y="0"/>
                    </a:cubicBezTo>
                    <a:close/>
                    <a:moveTo>
                      <a:pt x="126153" y="188558"/>
                    </a:moveTo>
                    <a:cubicBezTo>
                      <a:pt x="91506" y="188558"/>
                      <a:pt x="65378" y="160314"/>
                      <a:pt x="65378" y="126725"/>
                    </a:cubicBezTo>
                    <a:cubicBezTo>
                      <a:pt x="65378" y="93136"/>
                      <a:pt x="91506" y="65378"/>
                      <a:pt x="126153" y="65378"/>
                    </a:cubicBezTo>
                    <a:cubicBezTo>
                      <a:pt x="160801" y="65378"/>
                      <a:pt x="186443" y="93136"/>
                      <a:pt x="186443" y="126725"/>
                    </a:cubicBezTo>
                    <a:cubicBezTo>
                      <a:pt x="186443" y="160314"/>
                      <a:pt x="161315" y="188558"/>
                      <a:pt x="126153" y="188558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88" name="Freeform: Shape 17">
                <a:extLst>
                  <a:ext uri="{FF2B5EF4-FFF2-40B4-BE49-F238E27FC236}">
                    <a16:creationId xmlns:a16="http://schemas.microsoft.com/office/drawing/2014/main" id="{7E1F1390-C88D-BC4B-E1C4-A6C62ACE761B}"/>
                  </a:ext>
                </a:extLst>
              </p:cNvPr>
              <p:cNvSpPr/>
              <p:nvPr/>
            </p:nvSpPr>
            <p:spPr>
              <a:xfrm>
                <a:off x="9242171" y="3110092"/>
                <a:ext cx="68865" cy="243987"/>
              </a:xfrm>
              <a:custGeom>
                <a:avLst/>
                <a:gdLst>
                  <a:gd name="connsiteX0" fmla="*/ 62405 w 68865"/>
                  <a:gd name="connsiteY0" fmla="*/ 243987 h 243987"/>
                  <a:gd name="connsiteX1" fmla="*/ 6489 w 68865"/>
                  <a:gd name="connsiteY1" fmla="*/ 243987 h 243987"/>
                  <a:gd name="connsiteX2" fmla="*/ 0 w 68865"/>
                  <a:gd name="connsiteY2" fmla="*/ 237498 h 243987"/>
                  <a:gd name="connsiteX3" fmla="*/ 0 w 68865"/>
                  <a:gd name="connsiteY3" fmla="*/ 63891 h 243987"/>
                  <a:gd name="connsiteX4" fmla="*/ 3888 w 68865"/>
                  <a:gd name="connsiteY4" fmla="*/ 54629 h 243987"/>
                  <a:gd name="connsiteX5" fmla="*/ 57860 w 68865"/>
                  <a:gd name="connsiteY5" fmla="*/ 1858 h 243987"/>
                  <a:gd name="connsiteX6" fmla="*/ 68866 w 68865"/>
                  <a:gd name="connsiteY6" fmla="*/ 6489 h 243987"/>
                  <a:gd name="connsiteX7" fmla="*/ 68866 w 68865"/>
                  <a:gd name="connsiteY7" fmla="*/ 237498 h 243987"/>
                  <a:gd name="connsiteX8" fmla="*/ 62376 w 68865"/>
                  <a:gd name="connsiteY8" fmla="*/ 243987 h 243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8865" h="243987">
                    <a:moveTo>
                      <a:pt x="62405" y="243987"/>
                    </a:moveTo>
                    <a:lnTo>
                      <a:pt x="6489" y="243987"/>
                    </a:lnTo>
                    <a:cubicBezTo>
                      <a:pt x="2916" y="243987"/>
                      <a:pt x="0" y="241071"/>
                      <a:pt x="0" y="237498"/>
                    </a:cubicBezTo>
                    <a:lnTo>
                      <a:pt x="0" y="63891"/>
                    </a:lnTo>
                    <a:cubicBezTo>
                      <a:pt x="0" y="60403"/>
                      <a:pt x="1401" y="57059"/>
                      <a:pt x="3888" y="54629"/>
                    </a:cubicBezTo>
                    <a:lnTo>
                      <a:pt x="57860" y="1858"/>
                    </a:lnTo>
                    <a:cubicBezTo>
                      <a:pt x="61976" y="-2144"/>
                      <a:pt x="68866" y="743"/>
                      <a:pt x="68866" y="6489"/>
                    </a:cubicBezTo>
                    <a:lnTo>
                      <a:pt x="68866" y="237498"/>
                    </a:lnTo>
                    <a:cubicBezTo>
                      <a:pt x="68866" y="241071"/>
                      <a:pt x="65950" y="243987"/>
                      <a:pt x="62376" y="243987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89" name="Freeform: Shape 18">
                <a:extLst>
                  <a:ext uri="{FF2B5EF4-FFF2-40B4-BE49-F238E27FC236}">
                    <a16:creationId xmlns:a16="http://schemas.microsoft.com/office/drawing/2014/main" id="{898A6E41-2995-6E34-B782-F9E7483BF9DA}"/>
                  </a:ext>
                </a:extLst>
              </p:cNvPr>
              <p:cNvSpPr/>
              <p:nvPr/>
            </p:nvSpPr>
            <p:spPr>
              <a:xfrm>
                <a:off x="9347255" y="3105025"/>
                <a:ext cx="224777" cy="249082"/>
              </a:xfrm>
              <a:custGeom>
                <a:avLst/>
                <a:gdLst>
                  <a:gd name="connsiteX0" fmla="*/ 224749 w 224777"/>
                  <a:gd name="connsiteY0" fmla="*/ 87568 h 249082"/>
                  <a:gd name="connsiteX1" fmla="*/ 136416 w 224777"/>
                  <a:gd name="connsiteY1" fmla="*/ 6 h 249082"/>
                  <a:gd name="connsiteX2" fmla="*/ 68894 w 224777"/>
                  <a:gd name="connsiteY2" fmla="*/ 36540 h 249082"/>
                  <a:gd name="connsiteX3" fmla="*/ 68894 w 224777"/>
                  <a:gd name="connsiteY3" fmla="*/ 11670 h 249082"/>
                  <a:gd name="connsiteX4" fmla="*/ 62405 w 224777"/>
                  <a:gd name="connsiteY4" fmla="*/ 5181 h 249082"/>
                  <a:gd name="connsiteX5" fmla="*/ 6489 w 224777"/>
                  <a:gd name="connsiteY5" fmla="*/ 5181 h 249082"/>
                  <a:gd name="connsiteX6" fmla="*/ 0 w 224777"/>
                  <a:gd name="connsiteY6" fmla="*/ 11670 h 249082"/>
                  <a:gd name="connsiteX7" fmla="*/ 0 w 224777"/>
                  <a:gd name="connsiteY7" fmla="*/ 242565 h 249082"/>
                  <a:gd name="connsiteX8" fmla="*/ 6489 w 224777"/>
                  <a:gd name="connsiteY8" fmla="*/ 249054 h 249082"/>
                  <a:gd name="connsiteX9" fmla="*/ 62405 w 224777"/>
                  <a:gd name="connsiteY9" fmla="*/ 249054 h 249082"/>
                  <a:gd name="connsiteX10" fmla="*/ 68894 w 224777"/>
                  <a:gd name="connsiteY10" fmla="*/ 242565 h 249082"/>
                  <a:gd name="connsiteX11" fmla="*/ 68894 w 224777"/>
                  <a:gd name="connsiteY11" fmla="*/ 108293 h 249082"/>
                  <a:gd name="connsiteX12" fmla="*/ 112375 w 224777"/>
                  <a:gd name="connsiteY12" fmla="*/ 66385 h 249082"/>
                  <a:gd name="connsiteX13" fmla="*/ 155884 w 224777"/>
                  <a:gd name="connsiteY13" fmla="*/ 111266 h 249082"/>
                  <a:gd name="connsiteX14" fmla="*/ 155884 w 224777"/>
                  <a:gd name="connsiteY14" fmla="*/ 242593 h 249082"/>
                  <a:gd name="connsiteX15" fmla="*/ 162373 w 224777"/>
                  <a:gd name="connsiteY15" fmla="*/ 249083 h 249082"/>
                  <a:gd name="connsiteX16" fmla="*/ 218289 w 224777"/>
                  <a:gd name="connsiteY16" fmla="*/ 249083 h 249082"/>
                  <a:gd name="connsiteX17" fmla="*/ 224778 w 224777"/>
                  <a:gd name="connsiteY17" fmla="*/ 242593 h 249082"/>
                  <a:gd name="connsiteX18" fmla="*/ 224778 w 224777"/>
                  <a:gd name="connsiteY18" fmla="*/ 87596 h 249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4777" h="249082">
                    <a:moveTo>
                      <a:pt x="224749" y="87568"/>
                    </a:moveTo>
                    <a:cubicBezTo>
                      <a:pt x="224749" y="40257"/>
                      <a:pt x="185671" y="578"/>
                      <a:pt x="136416" y="6"/>
                    </a:cubicBezTo>
                    <a:cubicBezTo>
                      <a:pt x="104370" y="-365"/>
                      <a:pt x="82730" y="15329"/>
                      <a:pt x="68894" y="36540"/>
                    </a:cubicBezTo>
                    <a:lnTo>
                      <a:pt x="68894" y="11670"/>
                    </a:lnTo>
                    <a:cubicBezTo>
                      <a:pt x="68894" y="8097"/>
                      <a:pt x="65978" y="5181"/>
                      <a:pt x="62405" y="5181"/>
                    </a:cubicBezTo>
                    <a:lnTo>
                      <a:pt x="6489" y="5181"/>
                    </a:lnTo>
                    <a:cubicBezTo>
                      <a:pt x="2916" y="5181"/>
                      <a:pt x="0" y="8097"/>
                      <a:pt x="0" y="11670"/>
                    </a:cubicBezTo>
                    <a:lnTo>
                      <a:pt x="0" y="242565"/>
                    </a:lnTo>
                    <a:cubicBezTo>
                      <a:pt x="0" y="246138"/>
                      <a:pt x="2916" y="249054"/>
                      <a:pt x="6489" y="249054"/>
                    </a:cubicBezTo>
                    <a:lnTo>
                      <a:pt x="62405" y="249054"/>
                    </a:lnTo>
                    <a:cubicBezTo>
                      <a:pt x="65978" y="249054"/>
                      <a:pt x="68894" y="246138"/>
                      <a:pt x="68894" y="242565"/>
                    </a:cubicBezTo>
                    <a:lnTo>
                      <a:pt x="68894" y="108293"/>
                    </a:lnTo>
                    <a:cubicBezTo>
                      <a:pt x="70438" y="82451"/>
                      <a:pt x="86818" y="66385"/>
                      <a:pt x="112375" y="66385"/>
                    </a:cubicBezTo>
                    <a:cubicBezTo>
                      <a:pt x="137931" y="66385"/>
                      <a:pt x="155884" y="84423"/>
                      <a:pt x="155884" y="111266"/>
                    </a:cubicBezTo>
                    <a:lnTo>
                      <a:pt x="155884" y="242593"/>
                    </a:lnTo>
                    <a:cubicBezTo>
                      <a:pt x="155884" y="246167"/>
                      <a:pt x="158800" y="249083"/>
                      <a:pt x="162373" y="249083"/>
                    </a:cubicBezTo>
                    <a:lnTo>
                      <a:pt x="218289" y="249083"/>
                    </a:lnTo>
                    <a:cubicBezTo>
                      <a:pt x="221862" y="249083"/>
                      <a:pt x="224778" y="246167"/>
                      <a:pt x="224778" y="242593"/>
                    </a:cubicBezTo>
                    <a:lnTo>
                      <a:pt x="224778" y="87596"/>
                    </a:ln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50487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7A5C3F5F-FBD6-DDB2-224B-204A1B161C7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-3506" y="0"/>
            <a:ext cx="12192000" cy="6858000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4CA82CC5-6CDF-48F5-2252-6A984CCA5B7F}"/>
              </a:ext>
            </a:extLst>
          </p:cNvPr>
          <p:cNvGrpSpPr/>
          <p:nvPr userDrawn="1"/>
        </p:nvGrpSpPr>
        <p:grpSpPr>
          <a:xfrm>
            <a:off x="733434" y="544604"/>
            <a:ext cx="2455606" cy="510077"/>
            <a:chOff x="9242171" y="3011696"/>
            <a:chExt cx="1672097" cy="347327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37D6362F-C0E0-5A0D-212E-789BFAD6A452}"/>
                </a:ext>
              </a:extLst>
            </p:cNvPr>
            <p:cNvSpPr/>
            <p:nvPr/>
          </p:nvSpPr>
          <p:spPr>
            <a:xfrm rot="18900000">
              <a:off x="9267550" y="3013811"/>
              <a:ext cx="73496" cy="73496"/>
            </a:xfrm>
            <a:custGeom>
              <a:avLst/>
              <a:gdLst>
                <a:gd name="connsiteX0" fmla="*/ 67007 w 73496"/>
                <a:gd name="connsiteY0" fmla="*/ 0 h 73496"/>
                <a:gd name="connsiteX1" fmla="*/ 73497 w 73496"/>
                <a:gd name="connsiteY1" fmla="*/ 6489 h 73496"/>
                <a:gd name="connsiteX2" fmla="*/ 73497 w 73496"/>
                <a:gd name="connsiteY2" fmla="*/ 67007 h 73496"/>
                <a:gd name="connsiteX3" fmla="*/ 67007 w 73496"/>
                <a:gd name="connsiteY3" fmla="*/ 73496 h 73496"/>
                <a:gd name="connsiteX4" fmla="*/ 6489 w 73496"/>
                <a:gd name="connsiteY4" fmla="*/ 73496 h 73496"/>
                <a:gd name="connsiteX5" fmla="*/ 0 w 73496"/>
                <a:gd name="connsiteY5" fmla="*/ 67007 h 73496"/>
                <a:gd name="connsiteX6" fmla="*/ 0 w 73496"/>
                <a:gd name="connsiteY6" fmla="*/ 6489 h 73496"/>
                <a:gd name="connsiteX7" fmla="*/ 6489 w 73496"/>
                <a:gd name="connsiteY7" fmla="*/ 0 h 73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496" h="73496">
                  <a:moveTo>
                    <a:pt x="67007" y="0"/>
                  </a:moveTo>
                  <a:cubicBezTo>
                    <a:pt x="70591" y="0"/>
                    <a:pt x="73497" y="2905"/>
                    <a:pt x="73497" y="6489"/>
                  </a:cubicBezTo>
                  <a:lnTo>
                    <a:pt x="73497" y="67007"/>
                  </a:lnTo>
                  <a:cubicBezTo>
                    <a:pt x="73497" y="70591"/>
                    <a:pt x="70591" y="73496"/>
                    <a:pt x="67007" y="73496"/>
                  </a:cubicBezTo>
                  <a:lnTo>
                    <a:pt x="6489" y="73496"/>
                  </a:lnTo>
                  <a:cubicBezTo>
                    <a:pt x="2905" y="73496"/>
                    <a:pt x="0" y="70591"/>
                    <a:pt x="0" y="67007"/>
                  </a:cubicBezTo>
                  <a:lnTo>
                    <a:pt x="0" y="6489"/>
                  </a:lnTo>
                  <a:cubicBezTo>
                    <a:pt x="0" y="2905"/>
                    <a:pt x="2905" y="0"/>
                    <a:pt x="6489" y="0"/>
                  </a:cubicBezTo>
                  <a:close/>
                </a:path>
              </a:pathLst>
            </a:custGeom>
            <a:solidFill>
              <a:srgbClr val="00BD4D"/>
            </a:solidFill>
            <a:ln w="284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="0" i="0">
                <a:latin typeface="Lato" panose="020F0502020204030203" pitchFamily="34" charset="77"/>
              </a:endParaRP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BD769220-B256-3808-A89B-3057F63A0870}"/>
                </a:ext>
              </a:extLst>
            </p:cNvPr>
            <p:cNvGrpSpPr/>
            <p:nvPr/>
          </p:nvGrpSpPr>
          <p:grpSpPr>
            <a:xfrm>
              <a:off x="9242171" y="3011696"/>
              <a:ext cx="1672097" cy="347327"/>
              <a:chOff x="9242171" y="3011696"/>
              <a:chExt cx="1672097" cy="347327"/>
            </a:xfrm>
            <a:solidFill>
              <a:schemeClr val="bg1"/>
            </a:solidFill>
          </p:grpSpPr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5E42B49B-9A4D-9851-9C82-4ABDA31CB79B}"/>
                  </a:ext>
                </a:extLst>
              </p:cNvPr>
              <p:cNvSpPr/>
              <p:nvPr/>
            </p:nvSpPr>
            <p:spPr>
              <a:xfrm>
                <a:off x="10604432" y="3110234"/>
                <a:ext cx="249644" cy="243844"/>
              </a:xfrm>
              <a:custGeom>
                <a:avLst/>
                <a:gdLst>
                  <a:gd name="connsiteX0" fmla="*/ 172562 w 249644"/>
                  <a:gd name="connsiteY0" fmla="*/ 121922 h 243844"/>
                  <a:gd name="connsiteX1" fmla="*/ 248603 w 249644"/>
                  <a:gd name="connsiteY1" fmla="*/ 234754 h 243844"/>
                  <a:gd name="connsiteX2" fmla="*/ 243372 w 249644"/>
                  <a:gd name="connsiteY2" fmla="*/ 243845 h 243844"/>
                  <a:gd name="connsiteX3" fmla="*/ 179480 w 249644"/>
                  <a:gd name="connsiteY3" fmla="*/ 243845 h 243844"/>
                  <a:gd name="connsiteX4" fmla="*/ 168789 w 249644"/>
                  <a:gd name="connsiteY4" fmla="*/ 238213 h 243844"/>
                  <a:gd name="connsiteX5" fmla="*/ 124822 w 249644"/>
                  <a:gd name="connsiteY5" fmla="*/ 170949 h 243844"/>
                  <a:gd name="connsiteX6" fmla="*/ 80856 w 249644"/>
                  <a:gd name="connsiteY6" fmla="*/ 238213 h 243844"/>
                  <a:gd name="connsiteX7" fmla="*/ 70164 w 249644"/>
                  <a:gd name="connsiteY7" fmla="*/ 243845 h 243844"/>
                  <a:gd name="connsiteX8" fmla="*/ 6273 w 249644"/>
                  <a:gd name="connsiteY8" fmla="*/ 243845 h 243844"/>
                  <a:gd name="connsiteX9" fmla="*/ 1042 w 249644"/>
                  <a:gd name="connsiteY9" fmla="*/ 234754 h 243844"/>
                  <a:gd name="connsiteX10" fmla="*/ 76854 w 249644"/>
                  <a:gd name="connsiteY10" fmla="*/ 121922 h 243844"/>
                  <a:gd name="connsiteX11" fmla="*/ 1042 w 249644"/>
                  <a:gd name="connsiteY11" fmla="*/ 9091 h 243844"/>
                  <a:gd name="connsiteX12" fmla="*/ 6273 w 249644"/>
                  <a:gd name="connsiteY12" fmla="*/ 0 h 243844"/>
                  <a:gd name="connsiteX13" fmla="*/ 72880 w 249644"/>
                  <a:gd name="connsiteY13" fmla="*/ 0 h 243844"/>
                  <a:gd name="connsiteX14" fmla="*/ 78998 w 249644"/>
                  <a:gd name="connsiteY14" fmla="*/ 3030 h 243844"/>
                  <a:gd name="connsiteX15" fmla="*/ 124794 w 249644"/>
                  <a:gd name="connsiteY15" fmla="*/ 72782 h 243844"/>
                  <a:gd name="connsiteX16" fmla="*/ 167788 w 249644"/>
                  <a:gd name="connsiteY16" fmla="*/ 3059 h 243844"/>
                  <a:gd name="connsiteX17" fmla="*/ 173906 w 249644"/>
                  <a:gd name="connsiteY17" fmla="*/ 0 h 243844"/>
                  <a:gd name="connsiteX18" fmla="*/ 241171 w 249644"/>
                  <a:gd name="connsiteY18" fmla="*/ 0 h 243844"/>
                  <a:gd name="connsiteX19" fmla="*/ 246402 w 249644"/>
                  <a:gd name="connsiteY19" fmla="*/ 9062 h 243844"/>
                  <a:gd name="connsiteX20" fmla="*/ 172505 w 249644"/>
                  <a:gd name="connsiteY20" fmla="*/ 121922 h 243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49644" h="243844">
                    <a:moveTo>
                      <a:pt x="172562" y="121922"/>
                    </a:moveTo>
                    <a:lnTo>
                      <a:pt x="248603" y="234754"/>
                    </a:lnTo>
                    <a:cubicBezTo>
                      <a:pt x="251347" y="238642"/>
                      <a:pt x="248346" y="243845"/>
                      <a:pt x="243372" y="243845"/>
                    </a:cubicBezTo>
                    <a:lnTo>
                      <a:pt x="179480" y="243845"/>
                    </a:lnTo>
                    <a:cubicBezTo>
                      <a:pt x="175221" y="243845"/>
                      <a:pt x="171219" y="241729"/>
                      <a:pt x="168789" y="238213"/>
                    </a:cubicBezTo>
                    <a:lnTo>
                      <a:pt x="124822" y="170949"/>
                    </a:lnTo>
                    <a:lnTo>
                      <a:pt x="80856" y="238213"/>
                    </a:lnTo>
                    <a:cubicBezTo>
                      <a:pt x="78426" y="241729"/>
                      <a:pt x="74452" y="243845"/>
                      <a:pt x="70164" y="243845"/>
                    </a:cubicBezTo>
                    <a:lnTo>
                      <a:pt x="6273" y="243845"/>
                    </a:lnTo>
                    <a:cubicBezTo>
                      <a:pt x="1299" y="243845"/>
                      <a:pt x="-1703" y="238671"/>
                      <a:pt x="1042" y="234754"/>
                    </a:cubicBezTo>
                    <a:lnTo>
                      <a:pt x="76854" y="121922"/>
                    </a:lnTo>
                    <a:lnTo>
                      <a:pt x="1042" y="9091"/>
                    </a:lnTo>
                    <a:cubicBezTo>
                      <a:pt x="-1703" y="5203"/>
                      <a:pt x="1299" y="0"/>
                      <a:pt x="6273" y="0"/>
                    </a:cubicBezTo>
                    <a:lnTo>
                      <a:pt x="72880" y="0"/>
                    </a:lnTo>
                    <a:cubicBezTo>
                      <a:pt x="75367" y="0"/>
                      <a:pt x="77683" y="1143"/>
                      <a:pt x="78998" y="3030"/>
                    </a:cubicBezTo>
                    <a:lnTo>
                      <a:pt x="124794" y="72782"/>
                    </a:lnTo>
                    <a:lnTo>
                      <a:pt x="167788" y="3059"/>
                    </a:lnTo>
                    <a:cubicBezTo>
                      <a:pt x="169075" y="1172"/>
                      <a:pt x="171419" y="0"/>
                      <a:pt x="173906" y="0"/>
                    </a:cubicBezTo>
                    <a:lnTo>
                      <a:pt x="241171" y="0"/>
                    </a:lnTo>
                    <a:cubicBezTo>
                      <a:pt x="246145" y="0"/>
                      <a:pt x="249118" y="5174"/>
                      <a:pt x="246402" y="9062"/>
                    </a:cubicBezTo>
                    <a:lnTo>
                      <a:pt x="172505" y="121922"/>
                    </a:ln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BCB8EDF2-FC0E-8B6D-51E8-FFE28D4ACF5C}"/>
                  </a:ext>
                </a:extLst>
              </p:cNvPr>
              <p:cNvSpPr/>
              <p:nvPr/>
            </p:nvSpPr>
            <p:spPr>
              <a:xfrm>
                <a:off x="9581152" y="3011696"/>
                <a:ext cx="164831" cy="342440"/>
              </a:xfrm>
              <a:custGeom>
                <a:avLst/>
                <a:gdLst>
                  <a:gd name="connsiteX0" fmla="*/ 158342 w 164831"/>
                  <a:gd name="connsiteY0" fmla="*/ 29 h 342440"/>
                  <a:gd name="connsiteX1" fmla="*/ 105342 w 164831"/>
                  <a:gd name="connsiteY1" fmla="*/ 29 h 342440"/>
                  <a:gd name="connsiteX2" fmla="*/ 91592 w 164831"/>
                  <a:gd name="connsiteY2" fmla="*/ 5717 h 342440"/>
                  <a:gd name="connsiteX3" fmla="*/ 41794 w 164831"/>
                  <a:gd name="connsiteY3" fmla="*/ 55515 h 342440"/>
                  <a:gd name="connsiteX4" fmla="*/ 36105 w 164831"/>
                  <a:gd name="connsiteY4" fmla="*/ 69266 h 342440"/>
                  <a:gd name="connsiteX5" fmla="*/ 36105 w 164831"/>
                  <a:gd name="connsiteY5" fmla="*/ 108458 h 342440"/>
                  <a:gd name="connsiteX6" fmla="*/ 6375 w 164831"/>
                  <a:gd name="connsiteY6" fmla="*/ 108458 h 342440"/>
                  <a:gd name="connsiteX7" fmla="*/ 0 w 164831"/>
                  <a:gd name="connsiteY7" fmla="*/ 114833 h 342440"/>
                  <a:gd name="connsiteX8" fmla="*/ 0 w 164831"/>
                  <a:gd name="connsiteY8" fmla="*/ 158828 h 342440"/>
                  <a:gd name="connsiteX9" fmla="*/ 6375 w 164831"/>
                  <a:gd name="connsiteY9" fmla="*/ 165203 h 342440"/>
                  <a:gd name="connsiteX10" fmla="*/ 36105 w 164831"/>
                  <a:gd name="connsiteY10" fmla="*/ 165203 h 342440"/>
                  <a:gd name="connsiteX11" fmla="*/ 36105 w 164831"/>
                  <a:gd name="connsiteY11" fmla="*/ 335951 h 342440"/>
                  <a:gd name="connsiteX12" fmla="*/ 42594 w 164831"/>
                  <a:gd name="connsiteY12" fmla="*/ 342440 h 342440"/>
                  <a:gd name="connsiteX13" fmla="*/ 98510 w 164831"/>
                  <a:gd name="connsiteY13" fmla="*/ 342440 h 342440"/>
                  <a:gd name="connsiteX14" fmla="*/ 104999 w 164831"/>
                  <a:gd name="connsiteY14" fmla="*/ 335951 h 342440"/>
                  <a:gd name="connsiteX15" fmla="*/ 104999 w 164831"/>
                  <a:gd name="connsiteY15" fmla="*/ 165174 h 342440"/>
                  <a:gd name="connsiteX16" fmla="*/ 149394 w 164831"/>
                  <a:gd name="connsiteY16" fmla="*/ 165174 h 342440"/>
                  <a:gd name="connsiteX17" fmla="*/ 155769 w 164831"/>
                  <a:gd name="connsiteY17" fmla="*/ 158799 h 342440"/>
                  <a:gd name="connsiteX18" fmla="*/ 155769 w 164831"/>
                  <a:gd name="connsiteY18" fmla="*/ 114804 h 342440"/>
                  <a:gd name="connsiteX19" fmla="*/ 149394 w 164831"/>
                  <a:gd name="connsiteY19" fmla="*/ 108429 h 342440"/>
                  <a:gd name="connsiteX20" fmla="*/ 104999 w 164831"/>
                  <a:gd name="connsiteY20" fmla="*/ 108429 h 342440"/>
                  <a:gd name="connsiteX21" fmla="*/ 104999 w 164831"/>
                  <a:gd name="connsiteY21" fmla="*/ 80643 h 342440"/>
                  <a:gd name="connsiteX22" fmla="*/ 124438 w 164831"/>
                  <a:gd name="connsiteY22" fmla="*/ 61204 h 342440"/>
                  <a:gd name="connsiteX23" fmla="*/ 158342 w 164831"/>
                  <a:gd name="connsiteY23" fmla="*/ 61204 h 342440"/>
                  <a:gd name="connsiteX24" fmla="*/ 164831 w 164831"/>
                  <a:gd name="connsiteY24" fmla="*/ 54715 h 342440"/>
                  <a:gd name="connsiteX25" fmla="*/ 164831 w 164831"/>
                  <a:gd name="connsiteY25" fmla="*/ 6489 h 342440"/>
                  <a:gd name="connsiteX26" fmla="*/ 158342 w 164831"/>
                  <a:gd name="connsiteY26" fmla="*/ 0 h 342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64831" h="342440">
                    <a:moveTo>
                      <a:pt x="158342" y="29"/>
                    </a:moveTo>
                    <a:lnTo>
                      <a:pt x="105342" y="29"/>
                    </a:lnTo>
                    <a:cubicBezTo>
                      <a:pt x="100197" y="29"/>
                      <a:pt x="95251" y="2087"/>
                      <a:pt x="91592" y="5717"/>
                    </a:cubicBezTo>
                    <a:lnTo>
                      <a:pt x="41794" y="55515"/>
                    </a:lnTo>
                    <a:cubicBezTo>
                      <a:pt x="38135" y="59175"/>
                      <a:pt x="36105" y="64120"/>
                      <a:pt x="36105" y="69266"/>
                    </a:cubicBezTo>
                    <a:lnTo>
                      <a:pt x="36105" y="108458"/>
                    </a:lnTo>
                    <a:lnTo>
                      <a:pt x="6375" y="108458"/>
                    </a:lnTo>
                    <a:cubicBezTo>
                      <a:pt x="2859" y="108458"/>
                      <a:pt x="0" y="111317"/>
                      <a:pt x="0" y="114833"/>
                    </a:cubicBezTo>
                    <a:lnTo>
                      <a:pt x="0" y="158828"/>
                    </a:lnTo>
                    <a:cubicBezTo>
                      <a:pt x="0" y="162344"/>
                      <a:pt x="2859" y="165203"/>
                      <a:pt x="6375" y="165203"/>
                    </a:cubicBezTo>
                    <a:lnTo>
                      <a:pt x="36105" y="165203"/>
                    </a:lnTo>
                    <a:lnTo>
                      <a:pt x="36105" y="335951"/>
                    </a:lnTo>
                    <a:cubicBezTo>
                      <a:pt x="36105" y="339524"/>
                      <a:pt x="39021" y="342440"/>
                      <a:pt x="42594" y="342440"/>
                    </a:cubicBezTo>
                    <a:lnTo>
                      <a:pt x="98510" y="342440"/>
                    </a:lnTo>
                    <a:cubicBezTo>
                      <a:pt x="102083" y="342440"/>
                      <a:pt x="104999" y="339524"/>
                      <a:pt x="104999" y="335951"/>
                    </a:cubicBezTo>
                    <a:lnTo>
                      <a:pt x="104999" y="165174"/>
                    </a:lnTo>
                    <a:lnTo>
                      <a:pt x="149394" y="165174"/>
                    </a:lnTo>
                    <a:cubicBezTo>
                      <a:pt x="152911" y="165174"/>
                      <a:pt x="155769" y="162315"/>
                      <a:pt x="155769" y="158799"/>
                    </a:cubicBezTo>
                    <a:lnTo>
                      <a:pt x="155769" y="114804"/>
                    </a:lnTo>
                    <a:cubicBezTo>
                      <a:pt x="155769" y="111288"/>
                      <a:pt x="152911" y="108429"/>
                      <a:pt x="149394" y="108429"/>
                    </a:cubicBezTo>
                    <a:lnTo>
                      <a:pt x="104999" y="108429"/>
                    </a:lnTo>
                    <a:lnTo>
                      <a:pt x="104999" y="80643"/>
                    </a:lnTo>
                    <a:cubicBezTo>
                      <a:pt x="104999" y="69895"/>
                      <a:pt x="113718" y="61204"/>
                      <a:pt x="124438" y="61204"/>
                    </a:cubicBezTo>
                    <a:lnTo>
                      <a:pt x="158342" y="61204"/>
                    </a:lnTo>
                    <a:cubicBezTo>
                      <a:pt x="161915" y="61204"/>
                      <a:pt x="164831" y="58288"/>
                      <a:pt x="164831" y="54715"/>
                    </a:cubicBezTo>
                    <a:lnTo>
                      <a:pt x="164831" y="6489"/>
                    </a:lnTo>
                    <a:cubicBezTo>
                      <a:pt x="164831" y="2916"/>
                      <a:pt x="161915" y="0"/>
                      <a:pt x="158342" y="0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4ECF721C-8695-AAFF-F3BA-0A4139353E11}"/>
                  </a:ext>
                </a:extLst>
              </p:cNvPr>
              <p:cNvSpPr/>
              <p:nvPr/>
            </p:nvSpPr>
            <p:spPr>
              <a:xfrm>
                <a:off x="10860611" y="3304224"/>
                <a:ext cx="53657" cy="53657"/>
              </a:xfrm>
              <a:custGeom>
                <a:avLst/>
                <a:gdLst>
                  <a:gd name="connsiteX0" fmla="*/ 53657 w 53657"/>
                  <a:gd name="connsiteY0" fmla="*/ 26786 h 53657"/>
                  <a:gd name="connsiteX1" fmla="*/ 26729 w 53657"/>
                  <a:gd name="connsiteY1" fmla="*/ 53657 h 53657"/>
                  <a:gd name="connsiteX2" fmla="*/ 0 w 53657"/>
                  <a:gd name="connsiteY2" fmla="*/ 26786 h 53657"/>
                  <a:gd name="connsiteX3" fmla="*/ 26814 w 53657"/>
                  <a:gd name="connsiteY3" fmla="*/ 0 h 53657"/>
                  <a:gd name="connsiteX4" fmla="*/ 53629 w 53657"/>
                  <a:gd name="connsiteY4" fmla="*/ 26786 h 53657"/>
                  <a:gd name="connsiteX5" fmla="*/ 49541 w 53657"/>
                  <a:gd name="connsiteY5" fmla="*/ 26900 h 53657"/>
                  <a:gd name="connsiteX6" fmla="*/ 26843 w 53657"/>
                  <a:gd name="connsiteY6" fmla="*/ 3831 h 53657"/>
                  <a:gd name="connsiteX7" fmla="*/ 4145 w 53657"/>
                  <a:gd name="connsiteY7" fmla="*/ 26872 h 53657"/>
                  <a:gd name="connsiteX8" fmla="*/ 26729 w 53657"/>
                  <a:gd name="connsiteY8" fmla="*/ 49884 h 53657"/>
                  <a:gd name="connsiteX9" fmla="*/ 49541 w 53657"/>
                  <a:gd name="connsiteY9" fmla="*/ 26900 h 53657"/>
                  <a:gd name="connsiteX10" fmla="*/ 32589 w 53657"/>
                  <a:gd name="connsiteY10" fmla="*/ 31131 h 53657"/>
                  <a:gd name="connsiteX11" fmla="*/ 39335 w 53657"/>
                  <a:gd name="connsiteY11" fmla="*/ 41622 h 53657"/>
                  <a:gd name="connsiteX12" fmla="*/ 34876 w 53657"/>
                  <a:gd name="connsiteY12" fmla="*/ 41622 h 53657"/>
                  <a:gd name="connsiteX13" fmla="*/ 27386 w 53657"/>
                  <a:gd name="connsiteY13" fmla="*/ 29730 h 53657"/>
                  <a:gd name="connsiteX14" fmla="*/ 20554 w 53657"/>
                  <a:gd name="connsiteY14" fmla="*/ 29730 h 53657"/>
                  <a:gd name="connsiteX15" fmla="*/ 20554 w 53657"/>
                  <a:gd name="connsiteY15" fmla="*/ 41622 h 53657"/>
                  <a:gd name="connsiteX16" fmla="*/ 16809 w 53657"/>
                  <a:gd name="connsiteY16" fmla="*/ 41622 h 53657"/>
                  <a:gd name="connsiteX17" fmla="*/ 16809 w 53657"/>
                  <a:gd name="connsiteY17" fmla="*/ 11549 h 53657"/>
                  <a:gd name="connsiteX18" fmla="*/ 28472 w 53657"/>
                  <a:gd name="connsiteY18" fmla="*/ 11549 h 53657"/>
                  <a:gd name="connsiteX19" fmla="*/ 37963 w 53657"/>
                  <a:gd name="connsiteY19" fmla="*/ 20411 h 53657"/>
                  <a:gd name="connsiteX20" fmla="*/ 31131 w 53657"/>
                  <a:gd name="connsiteY20" fmla="*/ 29101 h 53657"/>
                  <a:gd name="connsiteX21" fmla="*/ 32589 w 53657"/>
                  <a:gd name="connsiteY21" fmla="*/ 31160 h 53657"/>
                  <a:gd name="connsiteX22" fmla="*/ 27214 w 53657"/>
                  <a:gd name="connsiteY22" fmla="*/ 26185 h 53657"/>
                  <a:gd name="connsiteX23" fmla="*/ 34047 w 53657"/>
                  <a:gd name="connsiteY23" fmla="*/ 20640 h 53657"/>
                  <a:gd name="connsiteX24" fmla="*/ 28558 w 53657"/>
                  <a:gd name="connsiteY24" fmla="*/ 15037 h 53657"/>
                  <a:gd name="connsiteX25" fmla="*/ 20525 w 53657"/>
                  <a:gd name="connsiteY25" fmla="*/ 15037 h 53657"/>
                  <a:gd name="connsiteX26" fmla="*/ 20525 w 53657"/>
                  <a:gd name="connsiteY26" fmla="*/ 26157 h 53657"/>
                  <a:gd name="connsiteX27" fmla="*/ 27214 w 53657"/>
                  <a:gd name="connsiteY27" fmla="*/ 26157 h 53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53657" h="53657">
                    <a:moveTo>
                      <a:pt x="53657" y="26786"/>
                    </a:moveTo>
                    <a:cubicBezTo>
                      <a:pt x="53657" y="41708"/>
                      <a:pt x="41708" y="53657"/>
                      <a:pt x="26729" y="53657"/>
                    </a:cubicBezTo>
                    <a:cubicBezTo>
                      <a:pt x="11749" y="53657"/>
                      <a:pt x="0" y="41594"/>
                      <a:pt x="0" y="26786"/>
                    </a:cubicBezTo>
                    <a:cubicBezTo>
                      <a:pt x="0" y="11978"/>
                      <a:pt x="11949" y="0"/>
                      <a:pt x="26814" y="0"/>
                    </a:cubicBezTo>
                    <a:cubicBezTo>
                      <a:pt x="41679" y="0"/>
                      <a:pt x="53629" y="11892"/>
                      <a:pt x="53629" y="26786"/>
                    </a:cubicBezTo>
                    <a:close/>
                    <a:moveTo>
                      <a:pt x="49541" y="26900"/>
                    </a:moveTo>
                    <a:cubicBezTo>
                      <a:pt x="49541" y="14036"/>
                      <a:pt x="39392" y="3831"/>
                      <a:pt x="26843" y="3831"/>
                    </a:cubicBezTo>
                    <a:cubicBezTo>
                      <a:pt x="14293" y="3831"/>
                      <a:pt x="4145" y="13922"/>
                      <a:pt x="4145" y="26872"/>
                    </a:cubicBezTo>
                    <a:cubicBezTo>
                      <a:pt x="4145" y="39821"/>
                      <a:pt x="14408" y="49884"/>
                      <a:pt x="26729" y="49884"/>
                    </a:cubicBezTo>
                    <a:cubicBezTo>
                      <a:pt x="39049" y="49884"/>
                      <a:pt x="49541" y="39736"/>
                      <a:pt x="49541" y="26900"/>
                    </a:cubicBezTo>
                    <a:close/>
                    <a:moveTo>
                      <a:pt x="32589" y="31131"/>
                    </a:moveTo>
                    <a:lnTo>
                      <a:pt x="39335" y="41622"/>
                    </a:lnTo>
                    <a:lnTo>
                      <a:pt x="34876" y="41622"/>
                    </a:lnTo>
                    <a:lnTo>
                      <a:pt x="27386" y="29730"/>
                    </a:lnTo>
                    <a:lnTo>
                      <a:pt x="20554" y="29730"/>
                    </a:lnTo>
                    <a:lnTo>
                      <a:pt x="20554" y="41622"/>
                    </a:lnTo>
                    <a:lnTo>
                      <a:pt x="16809" y="41622"/>
                    </a:lnTo>
                    <a:lnTo>
                      <a:pt x="16809" y="11549"/>
                    </a:lnTo>
                    <a:lnTo>
                      <a:pt x="28472" y="11549"/>
                    </a:lnTo>
                    <a:cubicBezTo>
                      <a:pt x="34218" y="11549"/>
                      <a:pt x="37963" y="14636"/>
                      <a:pt x="37963" y="20411"/>
                    </a:cubicBezTo>
                    <a:cubicBezTo>
                      <a:pt x="37963" y="25071"/>
                      <a:pt x="35133" y="27958"/>
                      <a:pt x="31131" y="29101"/>
                    </a:cubicBezTo>
                    <a:cubicBezTo>
                      <a:pt x="31674" y="29702"/>
                      <a:pt x="32217" y="30445"/>
                      <a:pt x="32589" y="31160"/>
                    </a:cubicBezTo>
                    <a:close/>
                    <a:moveTo>
                      <a:pt x="27214" y="26185"/>
                    </a:moveTo>
                    <a:cubicBezTo>
                      <a:pt x="31445" y="26185"/>
                      <a:pt x="34047" y="24184"/>
                      <a:pt x="34047" y="20640"/>
                    </a:cubicBezTo>
                    <a:cubicBezTo>
                      <a:pt x="34047" y="17095"/>
                      <a:pt x="32246" y="15037"/>
                      <a:pt x="28558" y="15037"/>
                    </a:cubicBezTo>
                    <a:lnTo>
                      <a:pt x="20525" y="15037"/>
                    </a:lnTo>
                    <a:lnTo>
                      <a:pt x="20525" y="26157"/>
                    </a:lnTo>
                    <a:lnTo>
                      <a:pt x="27214" y="26157"/>
                    </a:ln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3E660A99-F0B2-5007-98C9-3F482CE6C959}"/>
                  </a:ext>
                </a:extLst>
              </p:cNvPr>
              <p:cNvSpPr/>
              <p:nvPr/>
            </p:nvSpPr>
            <p:spPr>
              <a:xfrm>
                <a:off x="10283815" y="3011724"/>
                <a:ext cx="68865" cy="342354"/>
              </a:xfrm>
              <a:custGeom>
                <a:avLst/>
                <a:gdLst>
                  <a:gd name="connsiteX0" fmla="*/ 62376 w 68865"/>
                  <a:gd name="connsiteY0" fmla="*/ 0 h 342354"/>
                  <a:gd name="connsiteX1" fmla="*/ 68866 w 68865"/>
                  <a:gd name="connsiteY1" fmla="*/ 6489 h 342354"/>
                  <a:gd name="connsiteX2" fmla="*/ 68866 w 68865"/>
                  <a:gd name="connsiteY2" fmla="*/ 335865 h 342354"/>
                  <a:gd name="connsiteX3" fmla="*/ 62376 w 68865"/>
                  <a:gd name="connsiteY3" fmla="*/ 342355 h 342354"/>
                  <a:gd name="connsiteX4" fmla="*/ 6489 w 68865"/>
                  <a:gd name="connsiteY4" fmla="*/ 342355 h 342354"/>
                  <a:gd name="connsiteX5" fmla="*/ 0 w 68865"/>
                  <a:gd name="connsiteY5" fmla="*/ 335865 h 342354"/>
                  <a:gd name="connsiteX6" fmla="*/ 0 w 68865"/>
                  <a:gd name="connsiteY6" fmla="*/ 6489 h 342354"/>
                  <a:gd name="connsiteX7" fmla="*/ 6489 w 68865"/>
                  <a:gd name="connsiteY7" fmla="*/ 0 h 3423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8865" h="342354">
                    <a:moveTo>
                      <a:pt x="62376" y="0"/>
                    </a:moveTo>
                    <a:cubicBezTo>
                      <a:pt x="65960" y="0"/>
                      <a:pt x="68866" y="2905"/>
                      <a:pt x="68866" y="6489"/>
                    </a:cubicBezTo>
                    <a:lnTo>
                      <a:pt x="68866" y="335865"/>
                    </a:lnTo>
                    <a:cubicBezTo>
                      <a:pt x="68866" y="339449"/>
                      <a:pt x="65960" y="342355"/>
                      <a:pt x="62376" y="342355"/>
                    </a:cubicBezTo>
                    <a:lnTo>
                      <a:pt x="6489" y="342355"/>
                    </a:lnTo>
                    <a:cubicBezTo>
                      <a:pt x="2905" y="342355"/>
                      <a:pt x="0" y="339449"/>
                      <a:pt x="0" y="335865"/>
                    </a:cubicBezTo>
                    <a:lnTo>
                      <a:pt x="0" y="6489"/>
                    </a:lnTo>
                    <a:cubicBezTo>
                      <a:pt x="0" y="2905"/>
                      <a:pt x="2905" y="0"/>
                      <a:pt x="6489" y="0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B8FB2F8B-6AB9-4450-DD6B-1D67DAC47C0C}"/>
                  </a:ext>
                </a:extLst>
              </p:cNvPr>
              <p:cNvSpPr/>
              <p:nvPr/>
            </p:nvSpPr>
            <p:spPr>
              <a:xfrm>
                <a:off x="10006809" y="3011696"/>
                <a:ext cx="258538" cy="347300"/>
              </a:xfrm>
              <a:custGeom>
                <a:avLst/>
                <a:gdLst>
                  <a:gd name="connsiteX0" fmla="*/ 143734 w 258538"/>
                  <a:gd name="connsiteY0" fmla="*/ 93393 h 347300"/>
                  <a:gd name="connsiteX1" fmla="*/ 68894 w 258538"/>
                  <a:gd name="connsiteY1" fmla="*/ 129755 h 347300"/>
                  <a:gd name="connsiteX2" fmla="*/ 68894 w 258538"/>
                  <a:gd name="connsiteY2" fmla="*/ 6489 h 347300"/>
                  <a:gd name="connsiteX3" fmla="*/ 62405 w 258538"/>
                  <a:gd name="connsiteY3" fmla="*/ 0 h 347300"/>
                  <a:gd name="connsiteX4" fmla="*/ 6489 w 258538"/>
                  <a:gd name="connsiteY4" fmla="*/ 0 h 347300"/>
                  <a:gd name="connsiteX5" fmla="*/ 0 w 258538"/>
                  <a:gd name="connsiteY5" fmla="*/ 6489 h 347300"/>
                  <a:gd name="connsiteX6" fmla="*/ 0 w 258538"/>
                  <a:gd name="connsiteY6" fmla="*/ 335894 h 347300"/>
                  <a:gd name="connsiteX7" fmla="*/ 6489 w 258538"/>
                  <a:gd name="connsiteY7" fmla="*/ 342383 h 347300"/>
                  <a:gd name="connsiteX8" fmla="*/ 62405 w 258538"/>
                  <a:gd name="connsiteY8" fmla="*/ 342383 h 347300"/>
                  <a:gd name="connsiteX9" fmla="*/ 68894 w 258538"/>
                  <a:gd name="connsiteY9" fmla="*/ 335894 h 347300"/>
                  <a:gd name="connsiteX10" fmla="*/ 68894 w 258538"/>
                  <a:gd name="connsiteY10" fmla="*/ 311624 h 347300"/>
                  <a:gd name="connsiteX11" fmla="*/ 144249 w 258538"/>
                  <a:gd name="connsiteY11" fmla="*/ 347300 h 347300"/>
                  <a:gd name="connsiteX12" fmla="*/ 258539 w 258538"/>
                  <a:gd name="connsiteY12" fmla="*/ 220689 h 347300"/>
                  <a:gd name="connsiteX13" fmla="*/ 143763 w 258538"/>
                  <a:gd name="connsiteY13" fmla="*/ 93393 h 347300"/>
                  <a:gd name="connsiteX14" fmla="*/ 130041 w 258538"/>
                  <a:gd name="connsiteY14" fmla="*/ 282637 h 347300"/>
                  <a:gd name="connsiteX15" fmla="*/ 68894 w 258538"/>
                  <a:gd name="connsiteY15" fmla="*/ 220718 h 347300"/>
                  <a:gd name="connsiteX16" fmla="*/ 130041 w 258538"/>
                  <a:gd name="connsiteY16" fmla="*/ 159285 h 347300"/>
                  <a:gd name="connsiteX17" fmla="*/ 190216 w 258538"/>
                  <a:gd name="connsiteY17" fmla="*/ 220718 h 347300"/>
                  <a:gd name="connsiteX18" fmla="*/ 130041 w 258538"/>
                  <a:gd name="connsiteY18" fmla="*/ 282637 h 347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8538" h="347300">
                    <a:moveTo>
                      <a:pt x="143734" y="93393"/>
                    </a:moveTo>
                    <a:cubicBezTo>
                      <a:pt x="111946" y="93393"/>
                      <a:pt x="85503" y="107172"/>
                      <a:pt x="68894" y="129755"/>
                    </a:cubicBezTo>
                    <a:lnTo>
                      <a:pt x="68894" y="6489"/>
                    </a:lnTo>
                    <a:cubicBezTo>
                      <a:pt x="68894" y="2916"/>
                      <a:pt x="65978" y="0"/>
                      <a:pt x="62405" y="0"/>
                    </a:cubicBezTo>
                    <a:lnTo>
                      <a:pt x="6489" y="0"/>
                    </a:lnTo>
                    <a:cubicBezTo>
                      <a:pt x="2916" y="0"/>
                      <a:pt x="0" y="2916"/>
                      <a:pt x="0" y="6489"/>
                    </a:cubicBezTo>
                    <a:lnTo>
                      <a:pt x="0" y="335894"/>
                    </a:lnTo>
                    <a:cubicBezTo>
                      <a:pt x="0" y="339467"/>
                      <a:pt x="2916" y="342383"/>
                      <a:pt x="6489" y="342383"/>
                    </a:cubicBezTo>
                    <a:lnTo>
                      <a:pt x="62405" y="342383"/>
                    </a:lnTo>
                    <a:cubicBezTo>
                      <a:pt x="65978" y="342383"/>
                      <a:pt x="68894" y="339467"/>
                      <a:pt x="68894" y="335894"/>
                    </a:cubicBezTo>
                    <a:lnTo>
                      <a:pt x="68894" y="311624"/>
                    </a:lnTo>
                    <a:cubicBezTo>
                      <a:pt x="85532" y="334236"/>
                      <a:pt x="111946" y="347300"/>
                      <a:pt x="144249" y="347300"/>
                    </a:cubicBezTo>
                    <a:cubicBezTo>
                      <a:pt x="212257" y="347300"/>
                      <a:pt x="258539" y="292442"/>
                      <a:pt x="258539" y="220689"/>
                    </a:cubicBezTo>
                    <a:cubicBezTo>
                      <a:pt x="258539" y="148937"/>
                      <a:pt x="212257" y="93393"/>
                      <a:pt x="143763" y="93393"/>
                    </a:cubicBezTo>
                    <a:close/>
                    <a:moveTo>
                      <a:pt x="130041" y="282637"/>
                    </a:moveTo>
                    <a:cubicBezTo>
                      <a:pt x="94822" y="282637"/>
                      <a:pt x="68894" y="254136"/>
                      <a:pt x="68894" y="220718"/>
                    </a:cubicBezTo>
                    <a:cubicBezTo>
                      <a:pt x="68894" y="187300"/>
                      <a:pt x="94822" y="159285"/>
                      <a:pt x="130041" y="159285"/>
                    </a:cubicBezTo>
                    <a:cubicBezTo>
                      <a:pt x="165260" y="159285"/>
                      <a:pt x="190216" y="187300"/>
                      <a:pt x="190216" y="220718"/>
                    </a:cubicBezTo>
                    <a:cubicBezTo>
                      <a:pt x="190216" y="254136"/>
                      <a:pt x="164774" y="282637"/>
                      <a:pt x="130041" y="282637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07BE9964-9487-28F0-45B5-BFF7EDFEAB72}"/>
                  </a:ext>
                </a:extLst>
              </p:cNvPr>
              <p:cNvSpPr/>
              <p:nvPr/>
            </p:nvSpPr>
            <p:spPr>
              <a:xfrm>
                <a:off x="9736922" y="3105088"/>
                <a:ext cx="251792" cy="253935"/>
              </a:xfrm>
              <a:custGeom>
                <a:avLst/>
                <a:gdLst>
                  <a:gd name="connsiteX0" fmla="*/ 125896 w 251792"/>
                  <a:gd name="connsiteY0" fmla="*/ 0 h 253935"/>
                  <a:gd name="connsiteX1" fmla="*/ 0 w 251792"/>
                  <a:gd name="connsiteY1" fmla="*/ 126725 h 253935"/>
                  <a:gd name="connsiteX2" fmla="*/ 125896 w 251792"/>
                  <a:gd name="connsiteY2" fmla="*/ 253936 h 253935"/>
                  <a:gd name="connsiteX3" fmla="*/ 251792 w 251792"/>
                  <a:gd name="connsiteY3" fmla="*/ 126725 h 253935"/>
                  <a:gd name="connsiteX4" fmla="*/ 125896 w 251792"/>
                  <a:gd name="connsiteY4" fmla="*/ 0 h 253935"/>
                  <a:gd name="connsiteX5" fmla="*/ 126153 w 251792"/>
                  <a:gd name="connsiteY5" fmla="*/ 188558 h 253935"/>
                  <a:gd name="connsiteX6" fmla="*/ 65378 w 251792"/>
                  <a:gd name="connsiteY6" fmla="*/ 126725 h 253935"/>
                  <a:gd name="connsiteX7" fmla="*/ 126153 w 251792"/>
                  <a:gd name="connsiteY7" fmla="*/ 65378 h 253935"/>
                  <a:gd name="connsiteX8" fmla="*/ 186443 w 251792"/>
                  <a:gd name="connsiteY8" fmla="*/ 126725 h 253935"/>
                  <a:gd name="connsiteX9" fmla="*/ 126153 w 251792"/>
                  <a:gd name="connsiteY9" fmla="*/ 188558 h 253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1792" h="253935">
                    <a:moveTo>
                      <a:pt x="125896" y="0"/>
                    </a:moveTo>
                    <a:cubicBezTo>
                      <a:pt x="54944" y="0"/>
                      <a:pt x="0" y="55287"/>
                      <a:pt x="0" y="126725"/>
                    </a:cubicBezTo>
                    <a:cubicBezTo>
                      <a:pt x="0" y="198163"/>
                      <a:pt x="54915" y="253936"/>
                      <a:pt x="125896" y="253936"/>
                    </a:cubicBezTo>
                    <a:cubicBezTo>
                      <a:pt x="196877" y="253936"/>
                      <a:pt x="251792" y="198163"/>
                      <a:pt x="251792" y="126725"/>
                    </a:cubicBezTo>
                    <a:cubicBezTo>
                      <a:pt x="251792" y="55287"/>
                      <a:pt x="196877" y="0"/>
                      <a:pt x="125896" y="0"/>
                    </a:cubicBezTo>
                    <a:close/>
                    <a:moveTo>
                      <a:pt x="126153" y="188558"/>
                    </a:moveTo>
                    <a:cubicBezTo>
                      <a:pt x="91506" y="188558"/>
                      <a:pt x="65378" y="160314"/>
                      <a:pt x="65378" y="126725"/>
                    </a:cubicBezTo>
                    <a:cubicBezTo>
                      <a:pt x="65378" y="93136"/>
                      <a:pt x="91506" y="65378"/>
                      <a:pt x="126153" y="65378"/>
                    </a:cubicBezTo>
                    <a:cubicBezTo>
                      <a:pt x="160801" y="65378"/>
                      <a:pt x="186443" y="93136"/>
                      <a:pt x="186443" y="126725"/>
                    </a:cubicBezTo>
                    <a:cubicBezTo>
                      <a:pt x="186443" y="160314"/>
                      <a:pt x="161315" y="188558"/>
                      <a:pt x="126153" y="188558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C7D30DCD-1485-7F9E-EBAC-645359438BF7}"/>
                  </a:ext>
                </a:extLst>
              </p:cNvPr>
              <p:cNvSpPr/>
              <p:nvPr/>
            </p:nvSpPr>
            <p:spPr>
              <a:xfrm>
                <a:off x="10370776" y="3105088"/>
                <a:ext cx="251792" cy="253935"/>
              </a:xfrm>
              <a:custGeom>
                <a:avLst/>
                <a:gdLst>
                  <a:gd name="connsiteX0" fmla="*/ 125896 w 251792"/>
                  <a:gd name="connsiteY0" fmla="*/ 0 h 253935"/>
                  <a:gd name="connsiteX1" fmla="*/ 0 w 251792"/>
                  <a:gd name="connsiteY1" fmla="*/ 126725 h 253935"/>
                  <a:gd name="connsiteX2" fmla="*/ 125896 w 251792"/>
                  <a:gd name="connsiteY2" fmla="*/ 253936 h 253935"/>
                  <a:gd name="connsiteX3" fmla="*/ 251792 w 251792"/>
                  <a:gd name="connsiteY3" fmla="*/ 126725 h 253935"/>
                  <a:gd name="connsiteX4" fmla="*/ 125896 w 251792"/>
                  <a:gd name="connsiteY4" fmla="*/ 0 h 253935"/>
                  <a:gd name="connsiteX5" fmla="*/ 126153 w 251792"/>
                  <a:gd name="connsiteY5" fmla="*/ 188558 h 253935"/>
                  <a:gd name="connsiteX6" fmla="*/ 65378 w 251792"/>
                  <a:gd name="connsiteY6" fmla="*/ 126725 h 253935"/>
                  <a:gd name="connsiteX7" fmla="*/ 126153 w 251792"/>
                  <a:gd name="connsiteY7" fmla="*/ 65378 h 253935"/>
                  <a:gd name="connsiteX8" fmla="*/ 186443 w 251792"/>
                  <a:gd name="connsiteY8" fmla="*/ 126725 h 253935"/>
                  <a:gd name="connsiteX9" fmla="*/ 126153 w 251792"/>
                  <a:gd name="connsiteY9" fmla="*/ 188558 h 253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1792" h="253935">
                    <a:moveTo>
                      <a:pt x="125896" y="0"/>
                    </a:moveTo>
                    <a:cubicBezTo>
                      <a:pt x="54944" y="0"/>
                      <a:pt x="0" y="55287"/>
                      <a:pt x="0" y="126725"/>
                    </a:cubicBezTo>
                    <a:cubicBezTo>
                      <a:pt x="0" y="198163"/>
                      <a:pt x="54915" y="253936"/>
                      <a:pt x="125896" y="253936"/>
                    </a:cubicBezTo>
                    <a:cubicBezTo>
                      <a:pt x="196877" y="253936"/>
                      <a:pt x="251792" y="198163"/>
                      <a:pt x="251792" y="126725"/>
                    </a:cubicBezTo>
                    <a:cubicBezTo>
                      <a:pt x="251792" y="55287"/>
                      <a:pt x="196877" y="0"/>
                      <a:pt x="125896" y="0"/>
                    </a:cubicBezTo>
                    <a:close/>
                    <a:moveTo>
                      <a:pt x="126153" y="188558"/>
                    </a:moveTo>
                    <a:cubicBezTo>
                      <a:pt x="91506" y="188558"/>
                      <a:pt x="65378" y="160314"/>
                      <a:pt x="65378" y="126725"/>
                    </a:cubicBezTo>
                    <a:cubicBezTo>
                      <a:pt x="65378" y="93136"/>
                      <a:pt x="91506" y="65378"/>
                      <a:pt x="126153" y="65378"/>
                    </a:cubicBezTo>
                    <a:cubicBezTo>
                      <a:pt x="160801" y="65378"/>
                      <a:pt x="186443" y="93136"/>
                      <a:pt x="186443" y="126725"/>
                    </a:cubicBezTo>
                    <a:cubicBezTo>
                      <a:pt x="186443" y="160314"/>
                      <a:pt x="161315" y="188558"/>
                      <a:pt x="126153" y="188558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1E30582E-26B3-57E3-D7EF-6CEE8FFA2368}"/>
                  </a:ext>
                </a:extLst>
              </p:cNvPr>
              <p:cNvSpPr/>
              <p:nvPr/>
            </p:nvSpPr>
            <p:spPr>
              <a:xfrm>
                <a:off x="9242171" y="3110092"/>
                <a:ext cx="68865" cy="243987"/>
              </a:xfrm>
              <a:custGeom>
                <a:avLst/>
                <a:gdLst>
                  <a:gd name="connsiteX0" fmla="*/ 62405 w 68865"/>
                  <a:gd name="connsiteY0" fmla="*/ 243987 h 243987"/>
                  <a:gd name="connsiteX1" fmla="*/ 6489 w 68865"/>
                  <a:gd name="connsiteY1" fmla="*/ 243987 h 243987"/>
                  <a:gd name="connsiteX2" fmla="*/ 0 w 68865"/>
                  <a:gd name="connsiteY2" fmla="*/ 237498 h 243987"/>
                  <a:gd name="connsiteX3" fmla="*/ 0 w 68865"/>
                  <a:gd name="connsiteY3" fmla="*/ 63891 h 243987"/>
                  <a:gd name="connsiteX4" fmla="*/ 3888 w 68865"/>
                  <a:gd name="connsiteY4" fmla="*/ 54629 h 243987"/>
                  <a:gd name="connsiteX5" fmla="*/ 57860 w 68865"/>
                  <a:gd name="connsiteY5" fmla="*/ 1858 h 243987"/>
                  <a:gd name="connsiteX6" fmla="*/ 68866 w 68865"/>
                  <a:gd name="connsiteY6" fmla="*/ 6489 h 243987"/>
                  <a:gd name="connsiteX7" fmla="*/ 68866 w 68865"/>
                  <a:gd name="connsiteY7" fmla="*/ 237498 h 243987"/>
                  <a:gd name="connsiteX8" fmla="*/ 62376 w 68865"/>
                  <a:gd name="connsiteY8" fmla="*/ 243987 h 243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8865" h="243987">
                    <a:moveTo>
                      <a:pt x="62405" y="243987"/>
                    </a:moveTo>
                    <a:lnTo>
                      <a:pt x="6489" y="243987"/>
                    </a:lnTo>
                    <a:cubicBezTo>
                      <a:pt x="2916" y="243987"/>
                      <a:pt x="0" y="241071"/>
                      <a:pt x="0" y="237498"/>
                    </a:cubicBezTo>
                    <a:lnTo>
                      <a:pt x="0" y="63891"/>
                    </a:lnTo>
                    <a:cubicBezTo>
                      <a:pt x="0" y="60403"/>
                      <a:pt x="1401" y="57059"/>
                      <a:pt x="3888" y="54629"/>
                    </a:cubicBezTo>
                    <a:lnTo>
                      <a:pt x="57860" y="1858"/>
                    </a:lnTo>
                    <a:cubicBezTo>
                      <a:pt x="61976" y="-2144"/>
                      <a:pt x="68866" y="743"/>
                      <a:pt x="68866" y="6489"/>
                    </a:cubicBezTo>
                    <a:lnTo>
                      <a:pt x="68866" y="237498"/>
                    </a:lnTo>
                    <a:cubicBezTo>
                      <a:pt x="68866" y="241071"/>
                      <a:pt x="65950" y="243987"/>
                      <a:pt x="62376" y="243987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751BBF1F-6731-030C-5CCE-910478D3A3A1}"/>
                  </a:ext>
                </a:extLst>
              </p:cNvPr>
              <p:cNvSpPr/>
              <p:nvPr/>
            </p:nvSpPr>
            <p:spPr>
              <a:xfrm>
                <a:off x="9347255" y="3105025"/>
                <a:ext cx="224777" cy="249082"/>
              </a:xfrm>
              <a:custGeom>
                <a:avLst/>
                <a:gdLst>
                  <a:gd name="connsiteX0" fmla="*/ 224749 w 224777"/>
                  <a:gd name="connsiteY0" fmla="*/ 87568 h 249082"/>
                  <a:gd name="connsiteX1" fmla="*/ 136416 w 224777"/>
                  <a:gd name="connsiteY1" fmla="*/ 6 h 249082"/>
                  <a:gd name="connsiteX2" fmla="*/ 68894 w 224777"/>
                  <a:gd name="connsiteY2" fmla="*/ 36540 h 249082"/>
                  <a:gd name="connsiteX3" fmla="*/ 68894 w 224777"/>
                  <a:gd name="connsiteY3" fmla="*/ 11670 h 249082"/>
                  <a:gd name="connsiteX4" fmla="*/ 62405 w 224777"/>
                  <a:gd name="connsiteY4" fmla="*/ 5181 h 249082"/>
                  <a:gd name="connsiteX5" fmla="*/ 6489 w 224777"/>
                  <a:gd name="connsiteY5" fmla="*/ 5181 h 249082"/>
                  <a:gd name="connsiteX6" fmla="*/ 0 w 224777"/>
                  <a:gd name="connsiteY6" fmla="*/ 11670 h 249082"/>
                  <a:gd name="connsiteX7" fmla="*/ 0 w 224777"/>
                  <a:gd name="connsiteY7" fmla="*/ 242565 h 249082"/>
                  <a:gd name="connsiteX8" fmla="*/ 6489 w 224777"/>
                  <a:gd name="connsiteY8" fmla="*/ 249054 h 249082"/>
                  <a:gd name="connsiteX9" fmla="*/ 62405 w 224777"/>
                  <a:gd name="connsiteY9" fmla="*/ 249054 h 249082"/>
                  <a:gd name="connsiteX10" fmla="*/ 68894 w 224777"/>
                  <a:gd name="connsiteY10" fmla="*/ 242565 h 249082"/>
                  <a:gd name="connsiteX11" fmla="*/ 68894 w 224777"/>
                  <a:gd name="connsiteY11" fmla="*/ 108293 h 249082"/>
                  <a:gd name="connsiteX12" fmla="*/ 112375 w 224777"/>
                  <a:gd name="connsiteY12" fmla="*/ 66385 h 249082"/>
                  <a:gd name="connsiteX13" fmla="*/ 155884 w 224777"/>
                  <a:gd name="connsiteY13" fmla="*/ 111266 h 249082"/>
                  <a:gd name="connsiteX14" fmla="*/ 155884 w 224777"/>
                  <a:gd name="connsiteY14" fmla="*/ 242593 h 249082"/>
                  <a:gd name="connsiteX15" fmla="*/ 162373 w 224777"/>
                  <a:gd name="connsiteY15" fmla="*/ 249083 h 249082"/>
                  <a:gd name="connsiteX16" fmla="*/ 218289 w 224777"/>
                  <a:gd name="connsiteY16" fmla="*/ 249083 h 249082"/>
                  <a:gd name="connsiteX17" fmla="*/ 224778 w 224777"/>
                  <a:gd name="connsiteY17" fmla="*/ 242593 h 249082"/>
                  <a:gd name="connsiteX18" fmla="*/ 224778 w 224777"/>
                  <a:gd name="connsiteY18" fmla="*/ 87596 h 249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4777" h="249082">
                    <a:moveTo>
                      <a:pt x="224749" y="87568"/>
                    </a:moveTo>
                    <a:cubicBezTo>
                      <a:pt x="224749" y="40257"/>
                      <a:pt x="185671" y="578"/>
                      <a:pt x="136416" y="6"/>
                    </a:cubicBezTo>
                    <a:cubicBezTo>
                      <a:pt x="104370" y="-365"/>
                      <a:pt x="82730" y="15329"/>
                      <a:pt x="68894" y="36540"/>
                    </a:cubicBezTo>
                    <a:lnTo>
                      <a:pt x="68894" y="11670"/>
                    </a:lnTo>
                    <a:cubicBezTo>
                      <a:pt x="68894" y="8097"/>
                      <a:pt x="65978" y="5181"/>
                      <a:pt x="62405" y="5181"/>
                    </a:cubicBezTo>
                    <a:lnTo>
                      <a:pt x="6489" y="5181"/>
                    </a:lnTo>
                    <a:cubicBezTo>
                      <a:pt x="2916" y="5181"/>
                      <a:pt x="0" y="8097"/>
                      <a:pt x="0" y="11670"/>
                    </a:cubicBezTo>
                    <a:lnTo>
                      <a:pt x="0" y="242565"/>
                    </a:lnTo>
                    <a:cubicBezTo>
                      <a:pt x="0" y="246138"/>
                      <a:pt x="2916" y="249054"/>
                      <a:pt x="6489" y="249054"/>
                    </a:cubicBezTo>
                    <a:lnTo>
                      <a:pt x="62405" y="249054"/>
                    </a:lnTo>
                    <a:cubicBezTo>
                      <a:pt x="65978" y="249054"/>
                      <a:pt x="68894" y="246138"/>
                      <a:pt x="68894" y="242565"/>
                    </a:cubicBezTo>
                    <a:lnTo>
                      <a:pt x="68894" y="108293"/>
                    </a:lnTo>
                    <a:cubicBezTo>
                      <a:pt x="70438" y="82451"/>
                      <a:pt x="86818" y="66385"/>
                      <a:pt x="112375" y="66385"/>
                    </a:cubicBezTo>
                    <a:cubicBezTo>
                      <a:pt x="137931" y="66385"/>
                      <a:pt x="155884" y="84423"/>
                      <a:pt x="155884" y="111266"/>
                    </a:cubicBezTo>
                    <a:lnTo>
                      <a:pt x="155884" y="242593"/>
                    </a:lnTo>
                    <a:cubicBezTo>
                      <a:pt x="155884" y="246167"/>
                      <a:pt x="158800" y="249083"/>
                      <a:pt x="162373" y="249083"/>
                    </a:cubicBezTo>
                    <a:lnTo>
                      <a:pt x="218289" y="249083"/>
                    </a:lnTo>
                    <a:cubicBezTo>
                      <a:pt x="221862" y="249083"/>
                      <a:pt x="224778" y="246167"/>
                      <a:pt x="224778" y="242593"/>
                    </a:cubicBezTo>
                    <a:lnTo>
                      <a:pt x="224778" y="87596"/>
                    </a:ln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58CD8E0-C4FA-BEDC-5938-36BDD273715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2497248"/>
            <a:ext cx="5393313" cy="1297512"/>
          </a:xfrm>
          <a:prstGeom prst="rect">
            <a:avLst/>
          </a:prstGeom>
        </p:spPr>
        <p:txBody>
          <a:bodyPr anchor="b" anchorCtr="0"/>
          <a:lstStyle>
            <a:lvl1pPr algn="l">
              <a:defRPr sz="3800" b="1" i="0" cap="all" baseline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r>
              <a:rPr lang="en-US" noProof="0"/>
              <a:t>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F514931-92B9-1384-0FE7-44734F85020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3896633"/>
            <a:ext cx="5393313" cy="1406620"/>
          </a:xfrm>
          <a:prstGeom prst="rect">
            <a:avLst/>
          </a:prstGeom>
        </p:spPr>
        <p:txBody>
          <a:bodyPr anchor="t" anchorCtr="0"/>
          <a:lstStyle>
            <a:lvl1pPr marL="0" indent="0" algn="l">
              <a:buNone/>
              <a:defRPr sz="2200" b="0" i="0" cap="all" baseline="0">
                <a:solidFill>
                  <a:srgbClr val="00BD4D"/>
                </a:solidFill>
                <a:latin typeface="Lato" panose="020F0502020204030203" pitchFamily="34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266174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8CD8E0-C4FA-BEDC-5938-36BDD273715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2694396"/>
            <a:ext cx="6005789" cy="1103202"/>
          </a:xfrm>
          <a:prstGeom prst="rect">
            <a:avLst/>
          </a:prstGeom>
        </p:spPr>
        <p:txBody>
          <a:bodyPr anchor="b" anchorCtr="0"/>
          <a:lstStyle>
            <a:lvl1pPr algn="l">
              <a:defRPr sz="3800" b="1" i="0" cap="all" baseline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r>
              <a:rPr lang="en-US"/>
              <a:t>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F514931-92B9-1384-0FE7-44734F85020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3905827"/>
            <a:ext cx="5999522" cy="1406620"/>
          </a:xfrm>
          <a:prstGeom prst="rect">
            <a:avLst/>
          </a:prstGeom>
        </p:spPr>
        <p:txBody>
          <a:bodyPr anchor="t" anchorCtr="0"/>
          <a:lstStyle>
            <a:lvl1pPr marL="0" indent="0" algn="l">
              <a:buNone/>
              <a:defRPr sz="2200" b="0" i="0" cap="all" baseline="0">
                <a:solidFill>
                  <a:srgbClr val="00BD4D"/>
                </a:solidFill>
                <a:latin typeface="Lato" panose="020F0502020204030203" pitchFamily="34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BC7C58F-D263-4339-8CC9-B11C63D633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0791" r="16873"/>
          <a:stretch/>
        </p:blipFill>
        <p:spPr>
          <a:xfrm>
            <a:off x="6192479" y="0"/>
            <a:ext cx="5999522" cy="4994979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AE8960A0-D4DC-A8A7-B5D6-7C49E516AACA}"/>
              </a:ext>
            </a:extLst>
          </p:cNvPr>
          <p:cNvGrpSpPr/>
          <p:nvPr userDrawn="1"/>
        </p:nvGrpSpPr>
        <p:grpSpPr>
          <a:xfrm>
            <a:off x="733434" y="544604"/>
            <a:ext cx="2455606" cy="510077"/>
            <a:chOff x="9242171" y="3011696"/>
            <a:chExt cx="1672097" cy="347327"/>
          </a:xfrm>
        </p:grpSpPr>
        <p:sp>
          <p:nvSpPr>
            <p:cNvPr id="6" name="Freeform: Shape 8">
              <a:extLst>
                <a:ext uri="{FF2B5EF4-FFF2-40B4-BE49-F238E27FC236}">
                  <a16:creationId xmlns:a16="http://schemas.microsoft.com/office/drawing/2014/main" id="{808A75ED-A29E-E32C-8B4A-E3D69AE9371D}"/>
                </a:ext>
              </a:extLst>
            </p:cNvPr>
            <p:cNvSpPr/>
            <p:nvPr/>
          </p:nvSpPr>
          <p:spPr>
            <a:xfrm rot="18900000">
              <a:off x="9267550" y="3013811"/>
              <a:ext cx="73496" cy="73496"/>
            </a:xfrm>
            <a:custGeom>
              <a:avLst/>
              <a:gdLst>
                <a:gd name="connsiteX0" fmla="*/ 67007 w 73496"/>
                <a:gd name="connsiteY0" fmla="*/ 0 h 73496"/>
                <a:gd name="connsiteX1" fmla="*/ 73497 w 73496"/>
                <a:gd name="connsiteY1" fmla="*/ 6489 h 73496"/>
                <a:gd name="connsiteX2" fmla="*/ 73497 w 73496"/>
                <a:gd name="connsiteY2" fmla="*/ 67007 h 73496"/>
                <a:gd name="connsiteX3" fmla="*/ 67007 w 73496"/>
                <a:gd name="connsiteY3" fmla="*/ 73496 h 73496"/>
                <a:gd name="connsiteX4" fmla="*/ 6489 w 73496"/>
                <a:gd name="connsiteY4" fmla="*/ 73496 h 73496"/>
                <a:gd name="connsiteX5" fmla="*/ 0 w 73496"/>
                <a:gd name="connsiteY5" fmla="*/ 67007 h 73496"/>
                <a:gd name="connsiteX6" fmla="*/ 0 w 73496"/>
                <a:gd name="connsiteY6" fmla="*/ 6489 h 73496"/>
                <a:gd name="connsiteX7" fmla="*/ 6489 w 73496"/>
                <a:gd name="connsiteY7" fmla="*/ 0 h 73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496" h="73496">
                  <a:moveTo>
                    <a:pt x="67007" y="0"/>
                  </a:moveTo>
                  <a:cubicBezTo>
                    <a:pt x="70591" y="0"/>
                    <a:pt x="73497" y="2905"/>
                    <a:pt x="73497" y="6489"/>
                  </a:cubicBezTo>
                  <a:lnTo>
                    <a:pt x="73497" y="67007"/>
                  </a:lnTo>
                  <a:cubicBezTo>
                    <a:pt x="73497" y="70591"/>
                    <a:pt x="70591" y="73496"/>
                    <a:pt x="67007" y="73496"/>
                  </a:cubicBezTo>
                  <a:lnTo>
                    <a:pt x="6489" y="73496"/>
                  </a:lnTo>
                  <a:cubicBezTo>
                    <a:pt x="2905" y="73496"/>
                    <a:pt x="0" y="70591"/>
                    <a:pt x="0" y="67007"/>
                  </a:cubicBezTo>
                  <a:lnTo>
                    <a:pt x="0" y="6489"/>
                  </a:lnTo>
                  <a:cubicBezTo>
                    <a:pt x="0" y="2905"/>
                    <a:pt x="2905" y="0"/>
                    <a:pt x="6489" y="0"/>
                  </a:cubicBezTo>
                  <a:close/>
                </a:path>
              </a:pathLst>
            </a:custGeom>
            <a:solidFill>
              <a:srgbClr val="00BD4D"/>
            </a:solidFill>
            <a:ln w="284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="0" i="0">
                <a:latin typeface="Lato" panose="020F0502020204030203" pitchFamily="34" charset="77"/>
              </a:endParaRP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19AFFCB0-8062-8F50-D559-AFA15DD31AE7}"/>
                </a:ext>
              </a:extLst>
            </p:cNvPr>
            <p:cNvGrpSpPr/>
            <p:nvPr/>
          </p:nvGrpSpPr>
          <p:grpSpPr>
            <a:xfrm>
              <a:off x="9242171" y="3011696"/>
              <a:ext cx="1672097" cy="347327"/>
              <a:chOff x="9242171" y="3011696"/>
              <a:chExt cx="1672097" cy="347327"/>
            </a:xfrm>
            <a:solidFill>
              <a:schemeClr val="bg1"/>
            </a:solidFill>
          </p:grpSpPr>
          <p:sp>
            <p:nvSpPr>
              <p:cNvPr id="20" name="Freeform: Shape 10">
                <a:extLst>
                  <a:ext uri="{FF2B5EF4-FFF2-40B4-BE49-F238E27FC236}">
                    <a16:creationId xmlns:a16="http://schemas.microsoft.com/office/drawing/2014/main" id="{45E98E95-6BB3-AD38-9B54-CC4606B4D086}"/>
                  </a:ext>
                </a:extLst>
              </p:cNvPr>
              <p:cNvSpPr/>
              <p:nvPr/>
            </p:nvSpPr>
            <p:spPr>
              <a:xfrm>
                <a:off x="10604432" y="3110234"/>
                <a:ext cx="249644" cy="243844"/>
              </a:xfrm>
              <a:custGeom>
                <a:avLst/>
                <a:gdLst>
                  <a:gd name="connsiteX0" fmla="*/ 172562 w 249644"/>
                  <a:gd name="connsiteY0" fmla="*/ 121922 h 243844"/>
                  <a:gd name="connsiteX1" fmla="*/ 248603 w 249644"/>
                  <a:gd name="connsiteY1" fmla="*/ 234754 h 243844"/>
                  <a:gd name="connsiteX2" fmla="*/ 243372 w 249644"/>
                  <a:gd name="connsiteY2" fmla="*/ 243845 h 243844"/>
                  <a:gd name="connsiteX3" fmla="*/ 179480 w 249644"/>
                  <a:gd name="connsiteY3" fmla="*/ 243845 h 243844"/>
                  <a:gd name="connsiteX4" fmla="*/ 168789 w 249644"/>
                  <a:gd name="connsiteY4" fmla="*/ 238213 h 243844"/>
                  <a:gd name="connsiteX5" fmla="*/ 124822 w 249644"/>
                  <a:gd name="connsiteY5" fmla="*/ 170949 h 243844"/>
                  <a:gd name="connsiteX6" fmla="*/ 80856 w 249644"/>
                  <a:gd name="connsiteY6" fmla="*/ 238213 h 243844"/>
                  <a:gd name="connsiteX7" fmla="*/ 70164 w 249644"/>
                  <a:gd name="connsiteY7" fmla="*/ 243845 h 243844"/>
                  <a:gd name="connsiteX8" fmla="*/ 6273 w 249644"/>
                  <a:gd name="connsiteY8" fmla="*/ 243845 h 243844"/>
                  <a:gd name="connsiteX9" fmla="*/ 1042 w 249644"/>
                  <a:gd name="connsiteY9" fmla="*/ 234754 h 243844"/>
                  <a:gd name="connsiteX10" fmla="*/ 76854 w 249644"/>
                  <a:gd name="connsiteY10" fmla="*/ 121922 h 243844"/>
                  <a:gd name="connsiteX11" fmla="*/ 1042 w 249644"/>
                  <a:gd name="connsiteY11" fmla="*/ 9091 h 243844"/>
                  <a:gd name="connsiteX12" fmla="*/ 6273 w 249644"/>
                  <a:gd name="connsiteY12" fmla="*/ 0 h 243844"/>
                  <a:gd name="connsiteX13" fmla="*/ 72880 w 249644"/>
                  <a:gd name="connsiteY13" fmla="*/ 0 h 243844"/>
                  <a:gd name="connsiteX14" fmla="*/ 78998 w 249644"/>
                  <a:gd name="connsiteY14" fmla="*/ 3030 h 243844"/>
                  <a:gd name="connsiteX15" fmla="*/ 124794 w 249644"/>
                  <a:gd name="connsiteY15" fmla="*/ 72782 h 243844"/>
                  <a:gd name="connsiteX16" fmla="*/ 167788 w 249644"/>
                  <a:gd name="connsiteY16" fmla="*/ 3059 h 243844"/>
                  <a:gd name="connsiteX17" fmla="*/ 173906 w 249644"/>
                  <a:gd name="connsiteY17" fmla="*/ 0 h 243844"/>
                  <a:gd name="connsiteX18" fmla="*/ 241171 w 249644"/>
                  <a:gd name="connsiteY18" fmla="*/ 0 h 243844"/>
                  <a:gd name="connsiteX19" fmla="*/ 246402 w 249644"/>
                  <a:gd name="connsiteY19" fmla="*/ 9062 h 243844"/>
                  <a:gd name="connsiteX20" fmla="*/ 172505 w 249644"/>
                  <a:gd name="connsiteY20" fmla="*/ 121922 h 243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49644" h="243844">
                    <a:moveTo>
                      <a:pt x="172562" y="121922"/>
                    </a:moveTo>
                    <a:lnTo>
                      <a:pt x="248603" y="234754"/>
                    </a:lnTo>
                    <a:cubicBezTo>
                      <a:pt x="251347" y="238642"/>
                      <a:pt x="248346" y="243845"/>
                      <a:pt x="243372" y="243845"/>
                    </a:cubicBezTo>
                    <a:lnTo>
                      <a:pt x="179480" y="243845"/>
                    </a:lnTo>
                    <a:cubicBezTo>
                      <a:pt x="175221" y="243845"/>
                      <a:pt x="171219" y="241729"/>
                      <a:pt x="168789" y="238213"/>
                    </a:cubicBezTo>
                    <a:lnTo>
                      <a:pt x="124822" y="170949"/>
                    </a:lnTo>
                    <a:lnTo>
                      <a:pt x="80856" y="238213"/>
                    </a:lnTo>
                    <a:cubicBezTo>
                      <a:pt x="78426" y="241729"/>
                      <a:pt x="74452" y="243845"/>
                      <a:pt x="70164" y="243845"/>
                    </a:cubicBezTo>
                    <a:lnTo>
                      <a:pt x="6273" y="243845"/>
                    </a:lnTo>
                    <a:cubicBezTo>
                      <a:pt x="1299" y="243845"/>
                      <a:pt x="-1703" y="238671"/>
                      <a:pt x="1042" y="234754"/>
                    </a:cubicBezTo>
                    <a:lnTo>
                      <a:pt x="76854" y="121922"/>
                    </a:lnTo>
                    <a:lnTo>
                      <a:pt x="1042" y="9091"/>
                    </a:lnTo>
                    <a:cubicBezTo>
                      <a:pt x="-1703" y="5203"/>
                      <a:pt x="1299" y="0"/>
                      <a:pt x="6273" y="0"/>
                    </a:cubicBezTo>
                    <a:lnTo>
                      <a:pt x="72880" y="0"/>
                    </a:lnTo>
                    <a:cubicBezTo>
                      <a:pt x="75367" y="0"/>
                      <a:pt x="77683" y="1143"/>
                      <a:pt x="78998" y="3030"/>
                    </a:cubicBezTo>
                    <a:lnTo>
                      <a:pt x="124794" y="72782"/>
                    </a:lnTo>
                    <a:lnTo>
                      <a:pt x="167788" y="3059"/>
                    </a:lnTo>
                    <a:cubicBezTo>
                      <a:pt x="169075" y="1172"/>
                      <a:pt x="171419" y="0"/>
                      <a:pt x="173906" y="0"/>
                    </a:cubicBezTo>
                    <a:lnTo>
                      <a:pt x="241171" y="0"/>
                    </a:lnTo>
                    <a:cubicBezTo>
                      <a:pt x="246145" y="0"/>
                      <a:pt x="249118" y="5174"/>
                      <a:pt x="246402" y="9062"/>
                    </a:cubicBezTo>
                    <a:lnTo>
                      <a:pt x="172505" y="121922"/>
                    </a:ln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1" name="Freeform: Shape 11">
                <a:extLst>
                  <a:ext uri="{FF2B5EF4-FFF2-40B4-BE49-F238E27FC236}">
                    <a16:creationId xmlns:a16="http://schemas.microsoft.com/office/drawing/2014/main" id="{51598B3F-30DC-0D45-D5D6-E1195126E573}"/>
                  </a:ext>
                </a:extLst>
              </p:cNvPr>
              <p:cNvSpPr/>
              <p:nvPr/>
            </p:nvSpPr>
            <p:spPr>
              <a:xfrm>
                <a:off x="9581152" y="3011696"/>
                <a:ext cx="164831" cy="342440"/>
              </a:xfrm>
              <a:custGeom>
                <a:avLst/>
                <a:gdLst>
                  <a:gd name="connsiteX0" fmla="*/ 158342 w 164831"/>
                  <a:gd name="connsiteY0" fmla="*/ 29 h 342440"/>
                  <a:gd name="connsiteX1" fmla="*/ 105342 w 164831"/>
                  <a:gd name="connsiteY1" fmla="*/ 29 h 342440"/>
                  <a:gd name="connsiteX2" fmla="*/ 91592 w 164831"/>
                  <a:gd name="connsiteY2" fmla="*/ 5717 h 342440"/>
                  <a:gd name="connsiteX3" fmla="*/ 41794 w 164831"/>
                  <a:gd name="connsiteY3" fmla="*/ 55515 h 342440"/>
                  <a:gd name="connsiteX4" fmla="*/ 36105 w 164831"/>
                  <a:gd name="connsiteY4" fmla="*/ 69266 h 342440"/>
                  <a:gd name="connsiteX5" fmla="*/ 36105 w 164831"/>
                  <a:gd name="connsiteY5" fmla="*/ 108458 h 342440"/>
                  <a:gd name="connsiteX6" fmla="*/ 6375 w 164831"/>
                  <a:gd name="connsiteY6" fmla="*/ 108458 h 342440"/>
                  <a:gd name="connsiteX7" fmla="*/ 0 w 164831"/>
                  <a:gd name="connsiteY7" fmla="*/ 114833 h 342440"/>
                  <a:gd name="connsiteX8" fmla="*/ 0 w 164831"/>
                  <a:gd name="connsiteY8" fmla="*/ 158828 h 342440"/>
                  <a:gd name="connsiteX9" fmla="*/ 6375 w 164831"/>
                  <a:gd name="connsiteY9" fmla="*/ 165203 h 342440"/>
                  <a:gd name="connsiteX10" fmla="*/ 36105 w 164831"/>
                  <a:gd name="connsiteY10" fmla="*/ 165203 h 342440"/>
                  <a:gd name="connsiteX11" fmla="*/ 36105 w 164831"/>
                  <a:gd name="connsiteY11" fmla="*/ 335951 h 342440"/>
                  <a:gd name="connsiteX12" fmla="*/ 42594 w 164831"/>
                  <a:gd name="connsiteY12" fmla="*/ 342440 h 342440"/>
                  <a:gd name="connsiteX13" fmla="*/ 98510 w 164831"/>
                  <a:gd name="connsiteY13" fmla="*/ 342440 h 342440"/>
                  <a:gd name="connsiteX14" fmla="*/ 104999 w 164831"/>
                  <a:gd name="connsiteY14" fmla="*/ 335951 h 342440"/>
                  <a:gd name="connsiteX15" fmla="*/ 104999 w 164831"/>
                  <a:gd name="connsiteY15" fmla="*/ 165174 h 342440"/>
                  <a:gd name="connsiteX16" fmla="*/ 149394 w 164831"/>
                  <a:gd name="connsiteY16" fmla="*/ 165174 h 342440"/>
                  <a:gd name="connsiteX17" fmla="*/ 155769 w 164831"/>
                  <a:gd name="connsiteY17" fmla="*/ 158799 h 342440"/>
                  <a:gd name="connsiteX18" fmla="*/ 155769 w 164831"/>
                  <a:gd name="connsiteY18" fmla="*/ 114804 h 342440"/>
                  <a:gd name="connsiteX19" fmla="*/ 149394 w 164831"/>
                  <a:gd name="connsiteY19" fmla="*/ 108429 h 342440"/>
                  <a:gd name="connsiteX20" fmla="*/ 104999 w 164831"/>
                  <a:gd name="connsiteY20" fmla="*/ 108429 h 342440"/>
                  <a:gd name="connsiteX21" fmla="*/ 104999 w 164831"/>
                  <a:gd name="connsiteY21" fmla="*/ 80643 h 342440"/>
                  <a:gd name="connsiteX22" fmla="*/ 124438 w 164831"/>
                  <a:gd name="connsiteY22" fmla="*/ 61204 h 342440"/>
                  <a:gd name="connsiteX23" fmla="*/ 158342 w 164831"/>
                  <a:gd name="connsiteY23" fmla="*/ 61204 h 342440"/>
                  <a:gd name="connsiteX24" fmla="*/ 164831 w 164831"/>
                  <a:gd name="connsiteY24" fmla="*/ 54715 h 342440"/>
                  <a:gd name="connsiteX25" fmla="*/ 164831 w 164831"/>
                  <a:gd name="connsiteY25" fmla="*/ 6489 h 342440"/>
                  <a:gd name="connsiteX26" fmla="*/ 158342 w 164831"/>
                  <a:gd name="connsiteY26" fmla="*/ 0 h 342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64831" h="342440">
                    <a:moveTo>
                      <a:pt x="158342" y="29"/>
                    </a:moveTo>
                    <a:lnTo>
                      <a:pt x="105342" y="29"/>
                    </a:lnTo>
                    <a:cubicBezTo>
                      <a:pt x="100197" y="29"/>
                      <a:pt x="95251" y="2087"/>
                      <a:pt x="91592" y="5717"/>
                    </a:cubicBezTo>
                    <a:lnTo>
                      <a:pt x="41794" y="55515"/>
                    </a:lnTo>
                    <a:cubicBezTo>
                      <a:pt x="38135" y="59175"/>
                      <a:pt x="36105" y="64120"/>
                      <a:pt x="36105" y="69266"/>
                    </a:cubicBezTo>
                    <a:lnTo>
                      <a:pt x="36105" y="108458"/>
                    </a:lnTo>
                    <a:lnTo>
                      <a:pt x="6375" y="108458"/>
                    </a:lnTo>
                    <a:cubicBezTo>
                      <a:pt x="2859" y="108458"/>
                      <a:pt x="0" y="111317"/>
                      <a:pt x="0" y="114833"/>
                    </a:cubicBezTo>
                    <a:lnTo>
                      <a:pt x="0" y="158828"/>
                    </a:lnTo>
                    <a:cubicBezTo>
                      <a:pt x="0" y="162344"/>
                      <a:pt x="2859" y="165203"/>
                      <a:pt x="6375" y="165203"/>
                    </a:cubicBezTo>
                    <a:lnTo>
                      <a:pt x="36105" y="165203"/>
                    </a:lnTo>
                    <a:lnTo>
                      <a:pt x="36105" y="335951"/>
                    </a:lnTo>
                    <a:cubicBezTo>
                      <a:pt x="36105" y="339524"/>
                      <a:pt x="39021" y="342440"/>
                      <a:pt x="42594" y="342440"/>
                    </a:cubicBezTo>
                    <a:lnTo>
                      <a:pt x="98510" y="342440"/>
                    </a:lnTo>
                    <a:cubicBezTo>
                      <a:pt x="102083" y="342440"/>
                      <a:pt x="104999" y="339524"/>
                      <a:pt x="104999" y="335951"/>
                    </a:cubicBezTo>
                    <a:lnTo>
                      <a:pt x="104999" y="165174"/>
                    </a:lnTo>
                    <a:lnTo>
                      <a:pt x="149394" y="165174"/>
                    </a:lnTo>
                    <a:cubicBezTo>
                      <a:pt x="152911" y="165174"/>
                      <a:pt x="155769" y="162315"/>
                      <a:pt x="155769" y="158799"/>
                    </a:cubicBezTo>
                    <a:lnTo>
                      <a:pt x="155769" y="114804"/>
                    </a:lnTo>
                    <a:cubicBezTo>
                      <a:pt x="155769" y="111288"/>
                      <a:pt x="152911" y="108429"/>
                      <a:pt x="149394" y="108429"/>
                    </a:cubicBezTo>
                    <a:lnTo>
                      <a:pt x="104999" y="108429"/>
                    </a:lnTo>
                    <a:lnTo>
                      <a:pt x="104999" y="80643"/>
                    </a:lnTo>
                    <a:cubicBezTo>
                      <a:pt x="104999" y="69895"/>
                      <a:pt x="113718" y="61204"/>
                      <a:pt x="124438" y="61204"/>
                    </a:cubicBezTo>
                    <a:lnTo>
                      <a:pt x="158342" y="61204"/>
                    </a:lnTo>
                    <a:cubicBezTo>
                      <a:pt x="161915" y="61204"/>
                      <a:pt x="164831" y="58288"/>
                      <a:pt x="164831" y="54715"/>
                    </a:cubicBezTo>
                    <a:lnTo>
                      <a:pt x="164831" y="6489"/>
                    </a:lnTo>
                    <a:cubicBezTo>
                      <a:pt x="164831" y="2916"/>
                      <a:pt x="161915" y="0"/>
                      <a:pt x="158342" y="0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2" name="Freeform: Shape 12">
                <a:extLst>
                  <a:ext uri="{FF2B5EF4-FFF2-40B4-BE49-F238E27FC236}">
                    <a16:creationId xmlns:a16="http://schemas.microsoft.com/office/drawing/2014/main" id="{2EE89E4B-30B9-FD11-4B7E-BB2E4D0F1CC3}"/>
                  </a:ext>
                </a:extLst>
              </p:cNvPr>
              <p:cNvSpPr/>
              <p:nvPr/>
            </p:nvSpPr>
            <p:spPr>
              <a:xfrm>
                <a:off x="10860611" y="3304224"/>
                <a:ext cx="53657" cy="53657"/>
              </a:xfrm>
              <a:custGeom>
                <a:avLst/>
                <a:gdLst>
                  <a:gd name="connsiteX0" fmla="*/ 53657 w 53657"/>
                  <a:gd name="connsiteY0" fmla="*/ 26786 h 53657"/>
                  <a:gd name="connsiteX1" fmla="*/ 26729 w 53657"/>
                  <a:gd name="connsiteY1" fmla="*/ 53657 h 53657"/>
                  <a:gd name="connsiteX2" fmla="*/ 0 w 53657"/>
                  <a:gd name="connsiteY2" fmla="*/ 26786 h 53657"/>
                  <a:gd name="connsiteX3" fmla="*/ 26814 w 53657"/>
                  <a:gd name="connsiteY3" fmla="*/ 0 h 53657"/>
                  <a:gd name="connsiteX4" fmla="*/ 53629 w 53657"/>
                  <a:gd name="connsiteY4" fmla="*/ 26786 h 53657"/>
                  <a:gd name="connsiteX5" fmla="*/ 49541 w 53657"/>
                  <a:gd name="connsiteY5" fmla="*/ 26900 h 53657"/>
                  <a:gd name="connsiteX6" fmla="*/ 26843 w 53657"/>
                  <a:gd name="connsiteY6" fmla="*/ 3831 h 53657"/>
                  <a:gd name="connsiteX7" fmla="*/ 4145 w 53657"/>
                  <a:gd name="connsiteY7" fmla="*/ 26872 h 53657"/>
                  <a:gd name="connsiteX8" fmla="*/ 26729 w 53657"/>
                  <a:gd name="connsiteY8" fmla="*/ 49884 h 53657"/>
                  <a:gd name="connsiteX9" fmla="*/ 49541 w 53657"/>
                  <a:gd name="connsiteY9" fmla="*/ 26900 h 53657"/>
                  <a:gd name="connsiteX10" fmla="*/ 32589 w 53657"/>
                  <a:gd name="connsiteY10" fmla="*/ 31131 h 53657"/>
                  <a:gd name="connsiteX11" fmla="*/ 39335 w 53657"/>
                  <a:gd name="connsiteY11" fmla="*/ 41622 h 53657"/>
                  <a:gd name="connsiteX12" fmla="*/ 34876 w 53657"/>
                  <a:gd name="connsiteY12" fmla="*/ 41622 h 53657"/>
                  <a:gd name="connsiteX13" fmla="*/ 27386 w 53657"/>
                  <a:gd name="connsiteY13" fmla="*/ 29730 h 53657"/>
                  <a:gd name="connsiteX14" fmla="*/ 20554 w 53657"/>
                  <a:gd name="connsiteY14" fmla="*/ 29730 h 53657"/>
                  <a:gd name="connsiteX15" fmla="*/ 20554 w 53657"/>
                  <a:gd name="connsiteY15" fmla="*/ 41622 h 53657"/>
                  <a:gd name="connsiteX16" fmla="*/ 16809 w 53657"/>
                  <a:gd name="connsiteY16" fmla="*/ 41622 h 53657"/>
                  <a:gd name="connsiteX17" fmla="*/ 16809 w 53657"/>
                  <a:gd name="connsiteY17" fmla="*/ 11549 h 53657"/>
                  <a:gd name="connsiteX18" fmla="*/ 28472 w 53657"/>
                  <a:gd name="connsiteY18" fmla="*/ 11549 h 53657"/>
                  <a:gd name="connsiteX19" fmla="*/ 37963 w 53657"/>
                  <a:gd name="connsiteY19" fmla="*/ 20411 h 53657"/>
                  <a:gd name="connsiteX20" fmla="*/ 31131 w 53657"/>
                  <a:gd name="connsiteY20" fmla="*/ 29101 h 53657"/>
                  <a:gd name="connsiteX21" fmla="*/ 32589 w 53657"/>
                  <a:gd name="connsiteY21" fmla="*/ 31160 h 53657"/>
                  <a:gd name="connsiteX22" fmla="*/ 27214 w 53657"/>
                  <a:gd name="connsiteY22" fmla="*/ 26185 h 53657"/>
                  <a:gd name="connsiteX23" fmla="*/ 34047 w 53657"/>
                  <a:gd name="connsiteY23" fmla="*/ 20640 h 53657"/>
                  <a:gd name="connsiteX24" fmla="*/ 28558 w 53657"/>
                  <a:gd name="connsiteY24" fmla="*/ 15037 h 53657"/>
                  <a:gd name="connsiteX25" fmla="*/ 20525 w 53657"/>
                  <a:gd name="connsiteY25" fmla="*/ 15037 h 53657"/>
                  <a:gd name="connsiteX26" fmla="*/ 20525 w 53657"/>
                  <a:gd name="connsiteY26" fmla="*/ 26157 h 53657"/>
                  <a:gd name="connsiteX27" fmla="*/ 27214 w 53657"/>
                  <a:gd name="connsiteY27" fmla="*/ 26157 h 53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53657" h="53657">
                    <a:moveTo>
                      <a:pt x="53657" y="26786"/>
                    </a:moveTo>
                    <a:cubicBezTo>
                      <a:pt x="53657" y="41708"/>
                      <a:pt x="41708" y="53657"/>
                      <a:pt x="26729" y="53657"/>
                    </a:cubicBezTo>
                    <a:cubicBezTo>
                      <a:pt x="11749" y="53657"/>
                      <a:pt x="0" y="41594"/>
                      <a:pt x="0" y="26786"/>
                    </a:cubicBezTo>
                    <a:cubicBezTo>
                      <a:pt x="0" y="11978"/>
                      <a:pt x="11949" y="0"/>
                      <a:pt x="26814" y="0"/>
                    </a:cubicBezTo>
                    <a:cubicBezTo>
                      <a:pt x="41679" y="0"/>
                      <a:pt x="53629" y="11892"/>
                      <a:pt x="53629" y="26786"/>
                    </a:cubicBezTo>
                    <a:close/>
                    <a:moveTo>
                      <a:pt x="49541" y="26900"/>
                    </a:moveTo>
                    <a:cubicBezTo>
                      <a:pt x="49541" y="14036"/>
                      <a:pt x="39392" y="3831"/>
                      <a:pt x="26843" y="3831"/>
                    </a:cubicBezTo>
                    <a:cubicBezTo>
                      <a:pt x="14293" y="3831"/>
                      <a:pt x="4145" y="13922"/>
                      <a:pt x="4145" y="26872"/>
                    </a:cubicBezTo>
                    <a:cubicBezTo>
                      <a:pt x="4145" y="39821"/>
                      <a:pt x="14408" y="49884"/>
                      <a:pt x="26729" y="49884"/>
                    </a:cubicBezTo>
                    <a:cubicBezTo>
                      <a:pt x="39049" y="49884"/>
                      <a:pt x="49541" y="39736"/>
                      <a:pt x="49541" y="26900"/>
                    </a:cubicBezTo>
                    <a:close/>
                    <a:moveTo>
                      <a:pt x="32589" y="31131"/>
                    </a:moveTo>
                    <a:lnTo>
                      <a:pt x="39335" y="41622"/>
                    </a:lnTo>
                    <a:lnTo>
                      <a:pt x="34876" y="41622"/>
                    </a:lnTo>
                    <a:lnTo>
                      <a:pt x="27386" y="29730"/>
                    </a:lnTo>
                    <a:lnTo>
                      <a:pt x="20554" y="29730"/>
                    </a:lnTo>
                    <a:lnTo>
                      <a:pt x="20554" y="41622"/>
                    </a:lnTo>
                    <a:lnTo>
                      <a:pt x="16809" y="41622"/>
                    </a:lnTo>
                    <a:lnTo>
                      <a:pt x="16809" y="11549"/>
                    </a:lnTo>
                    <a:lnTo>
                      <a:pt x="28472" y="11549"/>
                    </a:lnTo>
                    <a:cubicBezTo>
                      <a:pt x="34218" y="11549"/>
                      <a:pt x="37963" y="14636"/>
                      <a:pt x="37963" y="20411"/>
                    </a:cubicBezTo>
                    <a:cubicBezTo>
                      <a:pt x="37963" y="25071"/>
                      <a:pt x="35133" y="27958"/>
                      <a:pt x="31131" y="29101"/>
                    </a:cubicBezTo>
                    <a:cubicBezTo>
                      <a:pt x="31674" y="29702"/>
                      <a:pt x="32217" y="30445"/>
                      <a:pt x="32589" y="31160"/>
                    </a:cubicBezTo>
                    <a:close/>
                    <a:moveTo>
                      <a:pt x="27214" y="26185"/>
                    </a:moveTo>
                    <a:cubicBezTo>
                      <a:pt x="31445" y="26185"/>
                      <a:pt x="34047" y="24184"/>
                      <a:pt x="34047" y="20640"/>
                    </a:cubicBezTo>
                    <a:cubicBezTo>
                      <a:pt x="34047" y="17095"/>
                      <a:pt x="32246" y="15037"/>
                      <a:pt x="28558" y="15037"/>
                    </a:cubicBezTo>
                    <a:lnTo>
                      <a:pt x="20525" y="15037"/>
                    </a:lnTo>
                    <a:lnTo>
                      <a:pt x="20525" y="26157"/>
                    </a:lnTo>
                    <a:lnTo>
                      <a:pt x="27214" y="26157"/>
                    </a:ln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3" name="Freeform: Shape 13">
                <a:extLst>
                  <a:ext uri="{FF2B5EF4-FFF2-40B4-BE49-F238E27FC236}">
                    <a16:creationId xmlns:a16="http://schemas.microsoft.com/office/drawing/2014/main" id="{591FC6EB-AC62-B4D6-99D8-EA4F46F1CA55}"/>
                  </a:ext>
                </a:extLst>
              </p:cNvPr>
              <p:cNvSpPr/>
              <p:nvPr/>
            </p:nvSpPr>
            <p:spPr>
              <a:xfrm>
                <a:off x="10283815" y="3011724"/>
                <a:ext cx="68865" cy="342354"/>
              </a:xfrm>
              <a:custGeom>
                <a:avLst/>
                <a:gdLst>
                  <a:gd name="connsiteX0" fmla="*/ 62376 w 68865"/>
                  <a:gd name="connsiteY0" fmla="*/ 0 h 342354"/>
                  <a:gd name="connsiteX1" fmla="*/ 68866 w 68865"/>
                  <a:gd name="connsiteY1" fmla="*/ 6489 h 342354"/>
                  <a:gd name="connsiteX2" fmla="*/ 68866 w 68865"/>
                  <a:gd name="connsiteY2" fmla="*/ 335865 h 342354"/>
                  <a:gd name="connsiteX3" fmla="*/ 62376 w 68865"/>
                  <a:gd name="connsiteY3" fmla="*/ 342355 h 342354"/>
                  <a:gd name="connsiteX4" fmla="*/ 6489 w 68865"/>
                  <a:gd name="connsiteY4" fmla="*/ 342355 h 342354"/>
                  <a:gd name="connsiteX5" fmla="*/ 0 w 68865"/>
                  <a:gd name="connsiteY5" fmla="*/ 335865 h 342354"/>
                  <a:gd name="connsiteX6" fmla="*/ 0 w 68865"/>
                  <a:gd name="connsiteY6" fmla="*/ 6489 h 342354"/>
                  <a:gd name="connsiteX7" fmla="*/ 6489 w 68865"/>
                  <a:gd name="connsiteY7" fmla="*/ 0 h 3423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8865" h="342354">
                    <a:moveTo>
                      <a:pt x="62376" y="0"/>
                    </a:moveTo>
                    <a:cubicBezTo>
                      <a:pt x="65960" y="0"/>
                      <a:pt x="68866" y="2905"/>
                      <a:pt x="68866" y="6489"/>
                    </a:cubicBezTo>
                    <a:lnTo>
                      <a:pt x="68866" y="335865"/>
                    </a:lnTo>
                    <a:cubicBezTo>
                      <a:pt x="68866" y="339449"/>
                      <a:pt x="65960" y="342355"/>
                      <a:pt x="62376" y="342355"/>
                    </a:cubicBezTo>
                    <a:lnTo>
                      <a:pt x="6489" y="342355"/>
                    </a:lnTo>
                    <a:cubicBezTo>
                      <a:pt x="2905" y="342355"/>
                      <a:pt x="0" y="339449"/>
                      <a:pt x="0" y="335865"/>
                    </a:cubicBezTo>
                    <a:lnTo>
                      <a:pt x="0" y="6489"/>
                    </a:lnTo>
                    <a:cubicBezTo>
                      <a:pt x="0" y="2905"/>
                      <a:pt x="2905" y="0"/>
                      <a:pt x="6489" y="0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4" name="Freeform: Shape 14">
                <a:extLst>
                  <a:ext uri="{FF2B5EF4-FFF2-40B4-BE49-F238E27FC236}">
                    <a16:creationId xmlns:a16="http://schemas.microsoft.com/office/drawing/2014/main" id="{37B1E999-DE8C-127A-9B43-2065247C4DDA}"/>
                  </a:ext>
                </a:extLst>
              </p:cNvPr>
              <p:cNvSpPr/>
              <p:nvPr/>
            </p:nvSpPr>
            <p:spPr>
              <a:xfrm>
                <a:off x="10006809" y="3011696"/>
                <a:ext cx="258538" cy="347300"/>
              </a:xfrm>
              <a:custGeom>
                <a:avLst/>
                <a:gdLst>
                  <a:gd name="connsiteX0" fmla="*/ 143734 w 258538"/>
                  <a:gd name="connsiteY0" fmla="*/ 93393 h 347300"/>
                  <a:gd name="connsiteX1" fmla="*/ 68894 w 258538"/>
                  <a:gd name="connsiteY1" fmla="*/ 129755 h 347300"/>
                  <a:gd name="connsiteX2" fmla="*/ 68894 w 258538"/>
                  <a:gd name="connsiteY2" fmla="*/ 6489 h 347300"/>
                  <a:gd name="connsiteX3" fmla="*/ 62405 w 258538"/>
                  <a:gd name="connsiteY3" fmla="*/ 0 h 347300"/>
                  <a:gd name="connsiteX4" fmla="*/ 6489 w 258538"/>
                  <a:gd name="connsiteY4" fmla="*/ 0 h 347300"/>
                  <a:gd name="connsiteX5" fmla="*/ 0 w 258538"/>
                  <a:gd name="connsiteY5" fmla="*/ 6489 h 347300"/>
                  <a:gd name="connsiteX6" fmla="*/ 0 w 258538"/>
                  <a:gd name="connsiteY6" fmla="*/ 335894 h 347300"/>
                  <a:gd name="connsiteX7" fmla="*/ 6489 w 258538"/>
                  <a:gd name="connsiteY7" fmla="*/ 342383 h 347300"/>
                  <a:gd name="connsiteX8" fmla="*/ 62405 w 258538"/>
                  <a:gd name="connsiteY8" fmla="*/ 342383 h 347300"/>
                  <a:gd name="connsiteX9" fmla="*/ 68894 w 258538"/>
                  <a:gd name="connsiteY9" fmla="*/ 335894 h 347300"/>
                  <a:gd name="connsiteX10" fmla="*/ 68894 w 258538"/>
                  <a:gd name="connsiteY10" fmla="*/ 311624 h 347300"/>
                  <a:gd name="connsiteX11" fmla="*/ 144249 w 258538"/>
                  <a:gd name="connsiteY11" fmla="*/ 347300 h 347300"/>
                  <a:gd name="connsiteX12" fmla="*/ 258539 w 258538"/>
                  <a:gd name="connsiteY12" fmla="*/ 220689 h 347300"/>
                  <a:gd name="connsiteX13" fmla="*/ 143763 w 258538"/>
                  <a:gd name="connsiteY13" fmla="*/ 93393 h 347300"/>
                  <a:gd name="connsiteX14" fmla="*/ 130041 w 258538"/>
                  <a:gd name="connsiteY14" fmla="*/ 282637 h 347300"/>
                  <a:gd name="connsiteX15" fmla="*/ 68894 w 258538"/>
                  <a:gd name="connsiteY15" fmla="*/ 220718 h 347300"/>
                  <a:gd name="connsiteX16" fmla="*/ 130041 w 258538"/>
                  <a:gd name="connsiteY16" fmla="*/ 159285 h 347300"/>
                  <a:gd name="connsiteX17" fmla="*/ 190216 w 258538"/>
                  <a:gd name="connsiteY17" fmla="*/ 220718 h 347300"/>
                  <a:gd name="connsiteX18" fmla="*/ 130041 w 258538"/>
                  <a:gd name="connsiteY18" fmla="*/ 282637 h 347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8538" h="347300">
                    <a:moveTo>
                      <a:pt x="143734" y="93393"/>
                    </a:moveTo>
                    <a:cubicBezTo>
                      <a:pt x="111946" y="93393"/>
                      <a:pt x="85503" y="107172"/>
                      <a:pt x="68894" y="129755"/>
                    </a:cubicBezTo>
                    <a:lnTo>
                      <a:pt x="68894" y="6489"/>
                    </a:lnTo>
                    <a:cubicBezTo>
                      <a:pt x="68894" y="2916"/>
                      <a:pt x="65978" y="0"/>
                      <a:pt x="62405" y="0"/>
                    </a:cubicBezTo>
                    <a:lnTo>
                      <a:pt x="6489" y="0"/>
                    </a:lnTo>
                    <a:cubicBezTo>
                      <a:pt x="2916" y="0"/>
                      <a:pt x="0" y="2916"/>
                      <a:pt x="0" y="6489"/>
                    </a:cubicBezTo>
                    <a:lnTo>
                      <a:pt x="0" y="335894"/>
                    </a:lnTo>
                    <a:cubicBezTo>
                      <a:pt x="0" y="339467"/>
                      <a:pt x="2916" y="342383"/>
                      <a:pt x="6489" y="342383"/>
                    </a:cubicBezTo>
                    <a:lnTo>
                      <a:pt x="62405" y="342383"/>
                    </a:lnTo>
                    <a:cubicBezTo>
                      <a:pt x="65978" y="342383"/>
                      <a:pt x="68894" y="339467"/>
                      <a:pt x="68894" y="335894"/>
                    </a:cubicBezTo>
                    <a:lnTo>
                      <a:pt x="68894" y="311624"/>
                    </a:lnTo>
                    <a:cubicBezTo>
                      <a:pt x="85532" y="334236"/>
                      <a:pt x="111946" y="347300"/>
                      <a:pt x="144249" y="347300"/>
                    </a:cubicBezTo>
                    <a:cubicBezTo>
                      <a:pt x="212257" y="347300"/>
                      <a:pt x="258539" y="292442"/>
                      <a:pt x="258539" y="220689"/>
                    </a:cubicBezTo>
                    <a:cubicBezTo>
                      <a:pt x="258539" y="148937"/>
                      <a:pt x="212257" y="93393"/>
                      <a:pt x="143763" y="93393"/>
                    </a:cubicBezTo>
                    <a:close/>
                    <a:moveTo>
                      <a:pt x="130041" y="282637"/>
                    </a:moveTo>
                    <a:cubicBezTo>
                      <a:pt x="94822" y="282637"/>
                      <a:pt x="68894" y="254136"/>
                      <a:pt x="68894" y="220718"/>
                    </a:cubicBezTo>
                    <a:cubicBezTo>
                      <a:pt x="68894" y="187300"/>
                      <a:pt x="94822" y="159285"/>
                      <a:pt x="130041" y="159285"/>
                    </a:cubicBezTo>
                    <a:cubicBezTo>
                      <a:pt x="165260" y="159285"/>
                      <a:pt x="190216" y="187300"/>
                      <a:pt x="190216" y="220718"/>
                    </a:cubicBezTo>
                    <a:cubicBezTo>
                      <a:pt x="190216" y="254136"/>
                      <a:pt x="164774" y="282637"/>
                      <a:pt x="130041" y="282637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5" name="Freeform: Shape 15">
                <a:extLst>
                  <a:ext uri="{FF2B5EF4-FFF2-40B4-BE49-F238E27FC236}">
                    <a16:creationId xmlns:a16="http://schemas.microsoft.com/office/drawing/2014/main" id="{2DF5297D-DE80-0DED-A7D1-3AA6DB979F5E}"/>
                  </a:ext>
                </a:extLst>
              </p:cNvPr>
              <p:cNvSpPr/>
              <p:nvPr/>
            </p:nvSpPr>
            <p:spPr>
              <a:xfrm>
                <a:off x="9736922" y="3105088"/>
                <a:ext cx="251792" cy="253935"/>
              </a:xfrm>
              <a:custGeom>
                <a:avLst/>
                <a:gdLst>
                  <a:gd name="connsiteX0" fmla="*/ 125896 w 251792"/>
                  <a:gd name="connsiteY0" fmla="*/ 0 h 253935"/>
                  <a:gd name="connsiteX1" fmla="*/ 0 w 251792"/>
                  <a:gd name="connsiteY1" fmla="*/ 126725 h 253935"/>
                  <a:gd name="connsiteX2" fmla="*/ 125896 w 251792"/>
                  <a:gd name="connsiteY2" fmla="*/ 253936 h 253935"/>
                  <a:gd name="connsiteX3" fmla="*/ 251792 w 251792"/>
                  <a:gd name="connsiteY3" fmla="*/ 126725 h 253935"/>
                  <a:gd name="connsiteX4" fmla="*/ 125896 w 251792"/>
                  <a:gd name="connsiteY4" fmla="*/ 0 h 253935"/>
                  <a:gd name="connsiteX5" fmla="*/ 126153 w 251792"/>
                  <a:gd name="connsiteY5" fmla="*/ 188558 h 253935"/>
                  <a:gd name="connsiteX6" fmla="*/ 65378 w 251792"/>
                  <a:gd name="connsiteY6" fmla="*/ 126725 h 253935"/>
                  <a:gd name="connsiteX7" fmla="*/ 126153 w 251792"/>
                  <a:gd name="connsiteY7" fmla="*/ 65378 h 253935"/>
                  <a:gd name="connsiteX8" fmla="*/ 186443 w 251792"/>
                  <a:gd name="connsiteY8" fmla="*/ 126725 h 253935"/>
                  <a:gd name="connsiteX9" fmla="*/ 126153 w 251792"/>
                  <a:gd name="connsiteY9" fmla="*/ 188558 h 253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1792" h="253935">
                    <a:moveTo>
                      <a:pt x="125896" y="0"/>
                    </a:moveTo>
                    <a:cubicBezTo>
                      <a:pt x="54944" y="0"/>
                      <a:pt x="0" y="55287"/>
                      <a:pt x="0" y="126725"/>
                    </a:cubicBezTo>
                    <a:cubicBezTo>
                      <a:pt x="0" y="198163"/>
                      <a:pt x="54915" y="253936"/>
                      <a:pt x="125896" y="253936"/>
                    </a:cubicBezTo>
                    <a:cubicBezTo>
                      <a:pt x="196877" y="253936"/>
                      <a:pt x="251792" y="198163"/>
                      <a:pt x="251792" y="126725"/>
                    </a:cubicBezTo>
                    <a:cubicBezTo>
                      <a:pt x="251792" y="55287"/>
                      <a:pt x="196877" y="0"/>
                      <a:pt x="125896" y="0"/>
                    </a:cubicBezTo>
                    <a:close/>
                    <a:moveTo>
                      <a:pt x="126153" y="188558"/>
                    </a:moveTo>
                    <a:cubicBezTo>
                      <a:pt x="91506" y="188558"/>
                      <a:pt x="65378" y="160314"/>
                      <a:pt x="65378" y="126725"/>
                    </a:cubicBezTo>
                    <a:cubicBezTo>
                      <a:pt x="65378" y="93136"/>
                      <a:pt x="91506" y="65378"/>
                      <a:pt x="126153" y="65378"/>
                    </a:cubicBezTo>
                    <a:cubicBezTo>
                      <a:pt x="160801" y="65378"/>
                      <a:pt x="186443" y="93136"/>
                      <a:pt x="186443" y="126725"/>
                    </a:cubicBezTo>
                    <a:cubicBezTo>
                      <a:pt x="186443" y="160314"/>
                      <a:pt x="161315" y="188558"/>
                      <a:pt x="126153" y="188558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6" name="Freeform: Shape 16">
                <a:extLst>
                  <a:ext uri="{FF2B5EF4-FFF2-40B4-BE49-F238E27FC236}">
                    <a16:creationId xmlns:a16="http://schemas.microsoft.com/office/drawing/2014/main" id="{652F87F9-5529-8370-3F9B-30296694EA06}"/>
                  </a:ext>
                </a:extLst>
              </p:cNvPr>
              <p:cNvSpPr/>
              <p:nvPr/>
            </p:nvSpPr>
            <p:spPr>
              <a:xfrm>
                <a:off x="10370776" y="3105088"/>
                <a:ext cx="251792" cy="253935"/>
              </a:xfrm>
              <a:custGeom>
                <a:avLst/>
                <a:gdLst>
                  <a:gd name="connsiteX0" fmla="*/ 125896 w 251792"/>
                  <a:gd name="connsiteY0" fmla="*/ 0 h 253935"/>
                  <a:gd name="connsiteX1" fmla="*/ 0 w 251792"/>
                  <a:gd name="connsiteY1" fmla="*/ 126725 h 253935"/>
                  <a:gd name="connsiteX2" fmla="*/ 125896 w 251792"/>
                  <a:gd name="connsiteY2" fmla="*/ 253936 h 253935"/>
                  <a:gd name="connsiteX3" fmla="*/ 251792 w 251792"/>
                  <a:gd name="connsiteY3" fmla="*/ 126725 h 253935"/>
                  <a:gd name="connsiteX4" fmla="*/ 125896 w 251792"/>
                  <a:gd name="connsiteY4" fmla="*/ 0 h 253935"/>
                  <a:gd name="connsiteX5" fmla="*/ 126153 w 251792"/>
                  <a:gd name="connsiteY5" fmla="*/ 188558 h 253935"/>
                  <a:gd name="connsiteX6" fmla="*/ 65378 w 251792"/>
                  <a:gd name="connsiteY6" fmla="*/ 126725 h 253935"/>
                  <a:gd name="connsiteX7" fmla="*/ 126153 w 251792"/>
                  <a:gd name="connsiteY7" fmla="*/ 65378 h 253935"/>
                  <a:gd name="connsiteX8" fmla="*/ 186443 w 251792"/>
                  <a:gd name="connsiteY8" fmla="*/ 126725 h 253935"/>
                  <a:gd name="connsiteX9" fmla="*/ 126153 w 251792"/>
                  <a:gd name="connsiteY9" fmla="*/ 188558 h 253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1792" h="253935">
                    <a:moveTo>
                      <a:pt x="125896" y="0"/>
                    </a:moveTo>
                    <a:cubicBezTo>
                      <a:pt x="54944" y="0"/>
                      <a:pt x="0" y="55287"/>
                      <a:pt x="0" y="126725"/>
                    </a:cubicBezTo>
                    <a:cubicBezTo>
                      <a:pt x="0" y="198163"/>
                      <a:pt x="54915" y="253936"/>
                      <a:pt x="125896" y="253936"/>
                    </a:cubicBezTo>
                    <a:cubicBezTo>
                      <a:pt x="196877" y="253936"/>
                      <a:pt x="251792" y="198163"/>
                      <a:pt x="251792" y="126725"/>
                    </a:cubicBezTo>
                    <a:cubicBezTo>
                      <a:pt x="251792" y="55287"/>
                      <a:pt x="196877" y="0"/>
                      <a:pt x="125896" y="0"/>
                    </a:cubicBezTo>
                    <a:close/>
                    <a:moveTo>
                      <a:pt x="126153" y="188558"/>
                    </a:moveTo>
                    <a:cubicBezTo>
                      <a:pt x="91506" y="188558"/>
                      <a:pt x="65378" y="160314"/>
                      <a:pt x="65378" y="126725"/>
                    </a:cubicBezTo>
                    <a:cubicBezTo>
                      <a:pt x="65378" y="93136"/>
                      <a:pt x="91506" y="65378"/>
                      <a:pt x="126153" y="65378"/>
                    </a:cubicBezTo>
                    <a:cubicBezTo>
                      <a:pt x="160801" y="65378"/>
                      <a:pt x="186443" y="93136"/>
                      <a:pt x="186443" y="126725"/>
                    </a:cubicBezTo>
                    <a:cubicBezTo>
                      <a:pt x="186443" y="160314"/>
                      <a:pt x="161315" y="188558"/>
                      <a:pt x="126153" y="188558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7" name="Freeform: Shape 17">
                <a:extLst>
                  <a:ext uri="{FF2B5EF4-FFF2-40B4-BE49-F238E27FC236}">
                    <a16:creationId xmlns:a16="http://schemas.microsoft.com/office/drawing/2014/main" id="{B6E9A114-8B23-7F72-E74D-B4DB69879897}"/>
                  </a:ext>
                </a:extLst>
              </p:cNvPr>
              <p:cNvSpPr/>
              <p:nvPr/>
            </p:nvSpPr>
            <p:spPr>
              <a:xfrm>
                <a:off x="9242171" y="3110092"/>
                <a:ext cx="68865" cy="243987"/>
              </a:xfrm>
              <a:custGeom>
                <a:avLst/>
                <a:gdLst>
                  <a:gd name="connsiteX0" fmla="*/ 62405 w 68865"/>
                  <a:gd name="connsiteY0" fmla="*/ 243987 h 243987"/>
                  <a:gd name="connsiteX1" fmla="*/ 6489 w 68865"/>
                  <a:gd name="connsiteY1" fmla="*/ 243987 h 243987"/>
                  <a:gd name="connsiteX2" fmla="*/ 0 w 68865"/>
                  <a:gd name="connsiteY2" fmla="*/ 237498 h 243987"/>
                  <a:gd name="connsiteX3" fmla="*/ 0 w 68865"/>
                  <a:gd name="connsiteY3" fmla="*/ 63891 h 243987"/>
                  <a:gd name="connsiteX4" fmla="*/ 3888 w 68865"/>
                  <a:gd name="connsiteY4" fmla="*/ 54629 h 243987"/>
                  <a:gd name="connsiteX5" fmla="*/ 57860 w 68865"/>
                  <a:gd name="connsiteY5" fmla="*/ 1858 h 243987"/>
                  <a:gd name="connsiteX6" fmla="*/ 68866 w 68865"/>
                  <a:gd name="connsiteY6" fmla="*/ 6489 h 243987"/>
                  <a:gd name="connsiteX7" fmla="*/ 68866 w 68865"/>
                  <a:gd name="connsiteY7" fmla="*/ 237498 h 243987"/>
                  <a:gd name="connsiteX8" fmla="*/ 62376 w 68865"/>
                  <a:gd name="connsiteY8" fmla="*/ 243987 h 243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8865" h="243987">
                    <a:moveTo>
                      <a:pt x="62405" y="243987"/>
                    </a:moveTo>
                    <a:lnTo>
                      <a:pt x="6489" y="243987"/>
                    </a:lnTo>
                    <a:cubicBezTo>
                      <a:pt x="2916" y="243987"/>
                      <a:pt x="0" y="241071"/>
                      <a:pt x="0" y="237498"/>
                    </a:cubicBezTo>
                    <a:lnTo>
                      <a:pt x="0" y="63891"/>
                    </a:lnTo>
                    <a:cubicBezTo>
                      <a:pt x="0" y="60403"/>
                      <a:pt x="1401" y="57059"/>
                      <a:pt x="3888" y="54629"/>
                    </a:cubicBezTo>
                    <a:lnTo>
                      <a:pt x="57860" y="1858"/>
                    </a:lnTo>
                    <a:cubicBezTo>
                      <a:pt x="61976" y="-2144"/>
                      <a:pt x="68866" y="743"/>
                      <a:pt x="68866" y="6489"/>
                    </a:cubicBezTo>
                    <a:lnTo>
                      <a:pt x="68866" y="237498"/>
                    </a:lnTo>
                    <a:cubicBezTo>
                      <a:pt x="68866" y="241071"/>
                      <a:pt x="65950" y="243987"/>
                      <a:pt x="62376" y="243987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8" name="Freeform: Shape 18">
                <a:extLst>
                  <a:ext uri="{FF2B5EF4-FFF2-40B4-BE49-F238E27FC236}">
                    <a16:creationId xmlns:a16="http://schemas.microsoft.com/office/drawing/2014/main" id="{ED4260C2-C866-C058-198C-E9CBA1FF1290}"/>
                  </a:ext>
                </a:extLst>
              </p:cNvPr>
              <p:cNvSpPr/>
              <p:nvPr/>
            </p:nvSpPr>
            <p:spPr>
              <a:xfrm>
                <a:off x="9347255" y="3105025"/>
                <a:ext cx="224777" cy="249082"/>
              </a:xfrm>
              <a:custGeom>
                <a:avLst/>
                <a:gdLst>
                  <a:gd name="connsiteX0" fmla="*/ 224749 w 224777"/>
                  <a:gd name="connsiteY0" fmla="*/ 87568 h 249082"/>
                  <a:gd name="connsiteX1" fmla="*/ 136416 w 224777"/>
                  <a:gd name="connsiteY1" fmla="*/ 6 h 249082"/>
                  <a:gd name="connsiteX2" fmla="*/ 68894 w 224777"/>
                  <a:gd name="connsiteY2" fmla="*/ 36540 h 249082"/>
                  <a:gd name="connsiteX3" fmla="*/ 68894 w 224777"/>
                  <a:gd name="connsiteY3" fmla="*/ 11670 h 249082"/>
                  <a:gd name="connsiteX4" fmla="*/ 62405 w 224777"/>
                  <a:gd name="connsiteY4" fmla="*/ 5181 h 249082"/>
                  <a:gd name="connsiteX5" fmla="*/ 6489 w 224777"/>
                  <a:gd name="connsiteY5" fmla="*/ 5181 h 249082"/>
                  <a:gd name="connsiteX6" fmla="*/ 0 w 224777"/>
                  <a:gd name="connsiteY6" fmla="*/ 11670 h 249082"/>
                  <a:gd name="connsiteX7" fmla="*/ 0 w 224777"/>
                  <a:gd name="connsiteY7" fmla="*/ 242565 h 249082"/>
                  <a:gd name="connsiteX8" fmla="*/ 6489 w 224777"/>
                  <a:gd name="connsiteY8" fmla="*/ 249054 h 249082"/>
                  <a:gd name="connsiteX9" fmla="*/ 62405 w 224777"/>
                  <a:gd name="connsiteY9" fmla="*/ 249054 h 249082"/>
                  <a:gd name="connsiteX10" fmla="*/ 68894 w 224777"/>
                  <a:gd name="connsiteY10" fmla="*/ 242565 h 249082"/>
                  <a:gd name="connsiteX11" fmla="*/ 68894 w 224777"/>
                  <a:gd name="connsiteY11" fmla="*/ 108293 h 249082"/>
                  <a:gd name="connsiteX12" fmla="*/ 112375 w 224777"/>
                  <a:gd name="connsiteY12" fmla="*/ 66385 h 249082"/>
                  <a:gd name="connsiteX13" fmla="*/ 155884 w 224777"/>
                  <a:gd name="connsiteY13" fmla="*/ 111266 h 249082"/>
                  <a:gd name="connsiteX14" fmla="*/ 155884 w 224777"/>
                  <a:gd name="connsiteY14" fmla="*/ 242593 h 249082"/>
                  <a:gd name="connsiteX15" fmla="*/ 162373 w 224777"/>
                  <a:gd name="connsiteY15" fmla="*/ 249083 h 249082"/>
                  <a:gd name="connsiteX16" fmla="*/ 218289 w 224777"/>
                  <a:gd name="connsiteY16" fmla="*/ 249083 h 249082"/>
                  <a:gd name="connsiteX17" fmla="*/ 224778 w 224777"/>
                  <a:gd name="connsiteY17" fmla="*/ 242593 h 249082"/>
                  <a:gd name="connsiteX18" fmla="*/ 224778 w 224777"/>
                  <a:gd name="connsiteY18" fmla="*/ 87596 h 249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4777" h="249082">
                    <a:moveTo>
                      <a:pt x="224749" y="87568"/>
                    </a:moveTo>
                    <a:cubicBezTo>
                      <a:pt x="224749" y="40257"/>
                      <a:pt x="185671" y="578"/>
                      <a:pt x="136416" y="6"/>
                    </a:cubicBezTo>
                    <a:cubicBezTo>
                      <a:pt x="104370" y="-365"/>
                      <a:pt x="82730" y="15329"/>
                      <a:pt x="68894" y="36540"/>
                    </a:cubicBezTo>
                    <a:lnTo>
                      <a:pt x="68894" y="11670"/>
                    </a:lnTo>
                    <a:cubicBezTo>
                      <a:pt x="68894" y="8097"/>
                      <a:pt x="65978" y="5181"/>
                      <a:pt x="62405" y="5181"/>
                    </a:cubicBezTo>
                    <a:lnTo>
                      <a:pt x="6489" y="5181"/>
                    </a:lnTo>
                    <a:cubicBezTo>
                      <a:pt x="2916" y="5181"/>
                      <a:pt x="0" y="8097"/>
                      <a:pt x="0" y="11670"/>
                    </a:cubicBezTo>
                    <a:lnTo>
                      <a:pt x="0" y="242565"/>
                    </a:lnTo>
                    <a:cubicBezTo>
                      <a:pt x="0" y="246138"/>
                      <a:pt x="2916" y="249054"/>
                      <a:pt x="6489" y="249054"/>
                    </a:cubicBezTo>
                    <a:lnTo>
                      <a:pt x="62405" y="249054"/>
                    </a:lnTo>
                    <a:cubicBezTo>
                      <a:pt x="65978" y="249054"/>
                      <a:pt x="68894" y="246138"/>
                      <a:pt x="68894" y="242565"/>
                    </a:cubicBezTo>
                    <a:lnTo>
                      <a:pt x="68894" y="108293"/>
                    </a:lnTo>
                    <a:cubicBezTo>
                      <a:pt x="70438" y="82451"/>
                      <a:pt x="86818" y="66385"/>
                      <a:pt x="112375" y="66385"/>
                    </a:cubicBezTo>
                    <a:cubicBezTo>
                      <a:pt x="137931" y="66385"/>
                      <a:pt x="155884" y="84423"/>
                      <a:pt x="155884" y="111266"/>
                    </a:cubicBezTo>
                    <a:lnTo>
                      <a:pt x="155884" y="242593"/>
                    </a:lnTo>
                    <a:cubicBezTo>
                      <a:pt x="155884" y="246167"/>
                      <a:pt x="158800" y="249083"/>
                      <a:pt x="162373" y="249083"/>
                    </a:cubicBezTo>
                    <a:lnTo>
                      <a:pt x="218289" y="249083"/>
                    </a:lnTo>
                    <a:cubicBezTo>
                      <a:pt x="221862" y="249083"/>
                      <a:pt x="224778" y="246167"/>
                      <a:pt x="224778" y="242593"/>
                    </a:cubicBezTo>
                    <a:lnTo>
                      <a:pt x="224778" y="87596"/>
                    </a:ln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66818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FF514931-92B9-1384-0FE7-44734F85020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3902437"/>
            <a:ext cx="6005789" cy="1406620"/>
          </a:xfrm>
          <a:prstGeom prst="rect">
            <a:avLst/>
          </a:prstGeom>
        </p:spPr>
        <p:txBody>
          <a:bodyPr anchor="t" anchorCtr="0"/>
          <a:lstStyle>
            <a:lvl1pPr marL="0" indent="0" algn="l">
              <a:buNone/>
              <a:defRPr sz="2200" b="0" i="0" cap="all" baseline="0">
                <a:solidFill>
                  <a:srgbClr val="00BD4D"/>
                </a:solidFill>
                <a:latin typeface="Lato" panose="020F0502020204030203" pitchFamily="34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1F8F7501-B946-7F62-7828-497A6D6E2258}"/>
              </a:ext>
            </a:extLst>
          </p:cNvPr>
          <p:cNvPicPr>
            <a:picLocks noChangeAspect="1"/>
          </p:cNvPicPr>
          <p:nvPr userDrawn="1"/>
        </p:nvPicPr>
        <p:blipFill rotWithShape="1">
          <a:blip cstate="email">
            <a:alphaModFix amt="1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 l="4477" r="5042"/>
          <a:stretch/>
        </p:blipFill>
        <p:spPr>
          <a:xfrm>
            <a:off x="7048480" y="739529"/>
            <a:ext cx="6963201" cy="5293856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524D224A-6F66-098B-0D8E-9A53653384E4}"/>
              </a:ext>
            </a:extLst>
          </p:cNvPr>
          <p:cNvGrpSpPr/>
          <p:nvPr userDrawn="1"/>
        </p:nvGrpSpPr>
        <p:grpSpPr>
          <a:xfrm>
            <a:off x="7620892" y="3061975"/>
            <a:ext cx="3169097" cy="658283"/>
            <a:chOff x="9242171" y="3011696"/>
            <a:chExt cx="1672097" cy="347327"/>
          </a:xfrm>
        </p:grpSpPr>
        <p:sp>
          <p:nvSpPr>
            <p:cNvPr id="7" name="Freeform: Shape 8">
              <a:extLst>
                <a:ext uri="{FF2B5EF4-FFF2-40B4-BE49-F238E27FC236}">
                  <a16:creationId xmlns:a16="http://schemas.microsoft.com/office/drawing/2014/main" id="{00043407-A582-B403-E4F8-324FF967790D}"/>
                </a:ext>
              </a:extLst>
            </p:cNvPr>
            <p:cNvSpPr/>
            <p:nvPr/>
          </p:nvSpPr>
          <p:spPr>
            <a:xfrm rot="18900000">
              <a:off x="9267550" y="3013811"/>
              <a:ext cx="73496" cy="73496"/>
            </a:xfrm>
            <a:custGeom>
              <a:avLst/>
              <a:gdLst>
                <a:gd name="connsiteX0" fmla="*/ 67007 w 73496"/>
                <a:gd name="connsiteY0" fmla="*/ 0 h 73496"/>
                <a:gd name="connsiteX1" fmla="*/ 73497 w 73496"/>
                <a:gd name="connsiteY1" fmla="*/ 6489 h 73496"/>
                <a:gd name="connsiteX2" fmla="*/ 73497 w 73496"/>
                <a:gd name="connsiteY2" fmla="*/ 67007 h 73496"/>
                <a:gd name="connsiteX3" fmla="*/ 67007 w 73496"/>
                <a:gd name="connsiteY3" fmla="*/ 73496 h 73496"/>
                <a:gd name="connsiteX4" fmla="*/ 6489 w 73496"/>
                <a:gd name="connsiteY4" fmla="*/ 73496 h 73496"/>
                <a:gd name="connsiteX5" fmla="*/ 0 w 73496"/>
                <a:gd name="connsiteY5" fmla="*/ 67007 h 73496"/>
                <a:gd name="connsiteX6" fmla="*/ 0 w 73496"/>
                <a:gd name="connsiteY6" fmla="*/ 6489 h 73496"/>
                <a:gd name="connsiteX7" fmla="*/ 6489 w 73496"/>
                <a:gd name="connsiteY7" fmla="*/ 0 h 73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496" h="73496">
                  <a:moveTo>
                    <a:pt x="67007" y="0"/>
                  </a:moveTo>
                  <a:cubicBezTo>
                    <a:pt x="70591" y="0"/>
                    <a:pt x="73497" y="2905"/>
                    <a:pt x="73497" y="6489"/>
                  </a:cubicBezTo>
                  <a:lnTo>
                    <a:pt x="73497" y="67007"/>
                  </a:lnTo>
                  <a:cubicBezTo>
                    <a:pt x="73497" y="70591"/>
                    <a:pt x="70591" y="73496"/>
                    <a:pt x="67007" y="73496"/>
                  </a:cubicBezTo>
                  <a:lnTo>
                    <a:pt x="6489" y="73496"/>
                  </a:lnTo>
                  <a:cubicBezTo>
                    <a:pt x="2905" y="73496"/>
                    <a:pt x="0" y="70591"/>
                    <a:pt x="0" y="67007"/>
                  </a:cubicBezTo>
                  <a:lnTo>
                    <a:pt x="0" y="6489"/>
                  </a:lnTo>
                  <a:cubicBezTo>
                    <a:pt x="0" y="2905"/>
                    <a:pt x="2905" y="0"/>
                    <a:pt x="6489" y="0"/>
                  </a:cubicBezTo>
                  <a:close/>
                </a:path>
              </a:pathLst>
            </a:custGeom>
            <a:solidFill>
              <a:srgbClr val="00BD4D"/>
            </a:solidFill>
            <a:ln w="284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="0" i="0">
                <a:latin typeface="Lato" panose="020F0502020204030203" pitchFamily="34" charset="77"/>
              </a:endParaRP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30E032CD-5B2C-1E6E-E88B-50E145B87CEB}"/>
                </a:ext>
              </a:extLst>
            </p:cNvPr>
            <p:cNvGrpSpPr/>
            <p:nvPr/>
          </p:nvGrpSpPr>
          <p:grpSpPr>
            <a:xfrm>
              <a:off x="9242171" y="3011696"/>
              <a:ext cx="1672097" cy="347327"/>
              <a:chOff x="9242171" y="3011696"/>
              <a:chExt cx="1672097" cy="347327"/>
            </a:xfrm>
            <a:solidFill>
              <a:schemeClr val="bg1"/>
            </a:solidFill>
          </p:grpSpPr>
          <p:sp>
            <p:nvSpPr>
              <p:cNvPr id="21" name="Freeform: Shape 10">
                <a:extLst>
                  <a:ext uri="{FF2B5EF4-FFF2-40B4-BE49-F238E27FC236}">
                    <a16:creationId xmlns:a16="http://schemas.microsoft.com/office/drawing/2014/main" id="{64A59299-4F7C-951B-CBF3-BD2B38ABCAE0}"/>
                  </a:ext>
                </a:extLst>
              </p:cNvPr>
              <p:cNvSpPr/>
              <p:nvPr/>
            </p:nvSpPr>
            <p:spPr>
              <a:xfrm>
                <a:off x="10604432" y="3110234"/>
                <a:ext cx="249644" cy="243844"/>
              </a:xfrm>
              <a:custGeom>
                <a:avLst/>
                <a:gdLst>
                  <a:gd name="connsiteX0" fmla="*/ 172562 w 249644"/>
                  <a:gd name="connsiteY0" fmla="*/ 121922 h 243844"/>
                  <a:gd name="connsiteX1" fmla="*/ 248603 w 249644"/>
                  <a:gd name="connsiteY1" fmla="*/ 234754 h 243844"/>
                  <a:gd name="connsiteX2" fmla="*/ 243372 w 249644"/>
                  <a:gd name="connsiteY2" fmla="*/ 243845 h 243844"/>
                  <a:gd name="connsiteX3" fmla="*/ 179480 w 249644"/>
                  <a:gd name="connsiteY3" fmla="*/ 243845 h 243844"/>
                  <a:gd name="connsiteX4" fmla="*/ 168789 w 249644"/>
                  <a:gd name="connsiteY4" fmla="*/ 238213 h 243844"/>
                  <a:gd name="connsiteX5" fmla="*/ 124822 w 249644"/>
                  <a:gd name="connsiteY5" fmla="*/ 170949 h 243844"/>
                  <a:gd name="connsiteX6" fmla="*/ 80856 w 249644"/>
                  <a:gd name="connsiteY6" fmla="*/ 238213 h 243844"/>
                  <a:gd name="connsiteX7" fmla="*/ 70164 w 249644"/>
                  <a:gd name="connsiteY7" fmla="*/ 243845 h 243844"/>
                  <a:gd name="connsiteX8" fmla="*/ 6273 w 249644"/>
                  <a:gd name="connsiteY8" fmla="*/ 243845 h 243844"/>
                  <a:gd name="connsiteX9" fmla="*/ 1042 w 249644"/>
                  <a:gd name="connsiteY9" fmla="*/ 234754 h 243844"/>
                  <a:gd name="connsiteX10" fmla="*/ 76854 w 249644"/>
                  <a:gd name="connsiteY10" fmla="*/ 121922 h 243844"/>
                  <a:gd name="connsiteX11" fmla="*/ 1042 w 249644"/>
                  <a:gd name="connsiteY11" fmla="*/ 9091 h 243844"/>
                  <a:gd name="connsiteX12" fmla="*/ 6273 w 249644"/>
                  <a:gd name="connsiteY12" fmla="*/ 0 h 243844"/>
                  <a:gd name="connsiteX13" fmla="*/ 72880 w 249644"/>
                  <a:gd name="connsiteY13" fmla="*/ 0 h 243844"/>
                  <a:gd name="connsiteX14" fmla="*/ 78998 w 249644"/>
                  <a:gd name="connsiteY14" fmla="*/ 3030 h 243844"/>
                  <a:gd name="connsiteX15" fmla="*/ 124794 w 249644"/>
                  <a:gd name="connsiteY15" fmla="*/ 72782 h 243844"/>
                  <a:gd name="connsiteX16" fmla="*/ 167788 w 249644"/>
                  <a:gd name="connsiteY16" fmla="*/ 3059 h 243844"/>
                  <a:gd name="connsiteX17" fmla="*/ 173906 w 249644"/>
                  <a:gd name="connsiteY17" fmla="*/ 0 h 243844"/>
                  <a:gd name="connsiteX18" fmla="*/ 241171 w 249644"/>
                  <a:gd name="connsiteY18" fmla="*/ 0 h 243844"/>
                  <a:gd name="connsiteX19" fmla="*/ 246402 w 249644"/>
                  <a:gd name="connsiteY19" fmla="*/ 9062 h 243844"/>
                  <a:gd name="connsiteX20" fmla="*/ 172505 w 249644"/>
                  <a:gd name="connsiteY20" fmla="*/ 121922 h 243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49644" h="243844">
                    <a:moveTo>
                      <a:pt x="172562" y="121922"/>
                    </a:moveTo>
                    <a:lnTo>
                      <a:pt x="248603" y="234754"/>
                    </a:lnTo>
                    <a:cubicBezTo>
                      <a:pt x="251347" y="238642"/>
                      <a:pt x="248346" y="243845"/>
                      <a:pt x="243372" y="243845"/>
                    </a:cubicBezTo>
                    <a:lnTo>
                      <a:pt x="179480" y="243845"/>
                    </a:lnTo>
                    <a:cubicBezTo>
                      <a:pt x="175221" y="243845"/>
                      <a:pt x="171219" y="241729"/>
                      <a:pt x="168789" y="238213"/>
                    </a:cubicBezTo>
                    <a:lnTo>
                      <a:pt x="124822" y="170949"/>
                    </a:lnTo>
                    <a:lnTo>
                      <a:pt x="80856" y="238213"/>
                    </a:lnTo>
                    <a:cubicBezTo>
                      <a:pt x="78426" y="241729"/>
                      <a:pt x="74452" y="243845"/>
                      <a:pt x="70164" y="243845"/>
                    </a:cubicBezTo>
                    <a:lnTo>
                      <a:pt x="6273" y="243845"/>
                    </a:lnTo>
                    <a:cubicBezTo>
                      <a:pt x="1299" y="243845"/>
                      <a:pt x="-1703" y="238671"/>
                      <a:pt x="1042" y="234754"/>
                    </a:cubicBezTo>
                    <a:lnTo>
                      <a:pt x="76854" y="121922"/>
                    </a:lnTo>
                    <a:lnTo>
                      <a:pt x="1042" y="9091"/>
                    </a:lnTo>
                    <a:cubicBezTo>
                      <a:pt x="-1703" y="5203"/>
                      <a:pt x="1299" y="0"/>
                      <a:pt x="6273" y="0"/>
                    </a:cubicBezTo>
                    <a:lnTo>
                      <a:pt x="72880" y="0"/>
                    </a:lnTo>
                    <a:cubicBezTo>
                      <a:pt x="75367" y="0"/>
                      <a:pt x="77683" y="1143"/>
                      <a:pt x="78998" y="3030"/>
                    </a:cubicBezTo>
                    <a:lnTo>
                      <a:pt x="124794" y="72782"/>
                    </a:lnTo>
                    <a:lnTo>
                      <a:pt x="167788" y="3059"/>
                    </a:lnTo>
                    <a:cubicBezTo>
                      <a:pt x="169075" y="1172"/>
                      <a:pt x="171419" y="0"/>
                      <a:pt x="173906" y="0"/>
                    </a:cubicBezTo>
                    <a:lnTo>
                      <a:pt x="241171" y="0"/>
                    </a:lnTo>
                    <a:cubicBezTo>
                      <a:pt x="246145" y="0"/>
                      <a:pt x="249118" y="5174"/>
                      <a:pt x="246402" y="9062"/>
                    </a:cubicBezTo>
                    <a:lnTo>
                      <a:pt x="172505" y="121922"/>
                    </a:ln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2" name="Freeform: Shape 11">
                <a:extLst>
                  <a:ext uri="{FF2B5EF4-FFF2-40B4-BE49-F238E27FC236}">
                    <a16:creationId xmlns:a16="http://schemas.microsoft.com/office/drawing/2014/main" id="{BA23111C-014F-184B-B6AC-97F5E508AB99}"/>
                  </a:ext>
                </a:extLst>
              </p:cNvPr>
              <p:cNvSpPr/>
              <p:nvPr/>
            </p:nvSpPr>
            <p:spPr>
              <a:xfrm>
                <a:off x="9581152" y="3011696"/>
                <a:ext cx="164831" cy="342440"/>
              </a:xfrm>
              <a:custGeom>
                <a:avLst/>
                <a:gdLst>
                  <a:gd name="connsiteX0" fmla="*/ 158342 w 164831"/>
                  <a:gd name="connsiteY0" fmla="*/ 29 h 342440"/>
                  <a:gd name="connsiteX1" fmla="*/ 105342 w 164831"/>
                  <a:gd name="connsiteY1" fmla="*/ 29 h 342440"/>
                  <a:gd name="connsiteX2" fmla="*/ 91592 w 164831"/>
                  <a:gd name="connsiteY2" fmla="*/ 5717 h 342440"/>
                  <a:gd name="connsiteX3" fmla="*/ 41794 w 164831"/>
                  <a:gd name="connsiteY3" fmla="*/ 55515 h 342440"/>
                  <a:gd name="connsiteX4" fmla="*/ 36105 w 164831"/>
                  <a:gd name="connsiteY4" fmla="*/ 69266 h 342440"/>
                  <a:gd name="connsiteX5" fmla="*/ 36105 w 164831"/>
                  <a:gd name="connsiteY5" fmla="*/ 108458 h 342440"/>
                  <a:gd name="connsiteX6" fmla="*/ 6375 w 164831"/>
                  <a:gd name="connsiteY6" fmla="*/ 108458 h 342440"/>
                  <a:gd name="connsiteX7" fmla="*/ 0 w 164831"/>
                  <a:gd name="connsiteY7" fmla="*/ 114833 h 342440"/>
                  <a:gd name="connsiteX8" fmla="*/ 0 w 164831"/>
                  <a:gd name="connsiteY8" fmla="*/ 158828 h 342440"/>
                  <a:gd name="connsiteX9" fmla="*/ 6375 w 164831"/>
                  <a:gd name="connsiteY9" fmla="*/ 165203 h 342440"/>
                  <a:gd name="connsiteX10" fmla="*/ 36105 w 164831"/>
                  <a:gd name="connsiteY10" fmla="*/ 165203 h 342440"/>
                  <a:gd name="connsiteX11" fmla="*/ 36105 w 164831"/>
                  <a:gd name="connsiteY11" fmla="*/ 335951 h 342440"/>
                  <a:gd name="connsiteX12" fmla="*/ 42594 w 164831"/>
                  <a:gd name="connsiteY12" fmla="*/ 342440 h 342440"/>
                  <a:gd name="connsiteX13" fmla="*/ 98510 w 164831"/>
                  <a:gd name="connsiteY13" fmla="*/ 342440 h 342440"/>
                  <a:gd name="connsiteX14" fmla="*/ 104999 w 164831"/>
                  <a:gd name="connsiteY14" fmla="*/ 335951 h 342440"/>
                  <a:gd name="connsiteX15" fmla="*/ 104999 w 164831"/>
                  <a:gd name="connsiteY15" fmla="*/ 165174 h 342440"/>
                  <a:gd name="connsiteX16" fmla="*/ 149394 w 164831"/>
                  <a:gd name="connsiteY16" fmla="*/ 165174 h 342440"/>
                  <a:gd name="connsiteX17" fmla="*/ 155769 w 164831"/>
                  <a:gd name="connsiteY17" fmla="*/ 158799 h 342440"/>
                  <a:gd name="connsiteX18" fmla="*/ 155769 w 164831"/>
                  <a:gd name="connsiteY18" fmla="*/ 114804 h 342440"/>
                  <a:gd name="connsiteX19" fmla="*/ 149394 w 164831"/>
                  <a:gd name="connsiteY19" fmla="*/ 108429 h 342440"/>
                  <a:gd name="connsiteX20" fmla="*/ 104999 w 164831"/>
                  <a:gd name="connsiteY20" fmla="*/ 108429 h 342440"/>
                  <a:gd name="connsiteX21" fmla="*/ 104999 w 164831"/>
                  <a:gd name="connsiteY21" fmla="*/ 80643 h 342440"/>
                  <a:gd name="connsiteX22" fmla="*/ 124438 w 164831"/>
                  <a:gd name="connsiteY22" fmla="*/ 61204 h 342440"/>
                  <a:gd name="connsiteX23" fmla="*/ 158342 w 164831"/>
                  <a:gd name="connsiteY23" fmla="*/ 61204 h 342440"/>
                  <a:gd name="connsiteX24" fmla="*/ 164831 w 164831"/>
                  <a:gd name="connsiteY24" fmla="*/ 54715 h 342440"/>
                  <a:gd name="connsiteX25" fmla="*/ 164831 w 164831"/>
                  <a:gd name="connsiteY25" fmla="*/ 6489 h 342440"/>
                  <a:gd name="connsiteX26" fmla="*/ 158342 w 164831"/>
                  <a:gd name="connsiteY26" fmla="*/ 0 h 342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64831" h="342440">
                    <a:moveTo>
                      <a:pt x="158342" y="29"/>
                    </a:moveTo>
                    <a:lnTo>
                      <a:pt x="105342" y="29"/>
                    </a:lnTo>
                    <a:cubicBezTo>
                      <a:pt x="100197" y="29"/>
                      <a:pt x="95251" y="2087"/>
                      <a:pt x="91592" y="5717"/>
                    </a:cubicBezTo>
                    <a:lnTo>
                      <a:pt x="41794" y="55515"/>
                    </a:lnTo>
                    <a:cubicBezTo>
                      <a:pt x="38135" y="59175"/>
                      <a:pt x="36105" y="64120"/>
                      <a:pt x="36105" y="69266"/>
                    </a:cubicBezTo>
                    <a:lnTo>
                      <a:pt x="36105" y="108458"/>
                    </a:lnTo>
                    <a:lnTo>
                      <a:pt x="6375" y="108458"/>
                    </a:lnTo>
                    <a:cubicBezTo>
                      <a:pt x="2859" y="108458"/>
                      <a:pt x="0" y="111317"/>
                      <a:pt x="0" y="114833"/>
                    </a:cubicBezTo>
                    <a:lnTo>
                      <a:pt x="0" y="158828"/>
                    </a:lnTo>
                    <a:cubicBezTo>
                      <a:pt x="0" y="162344"/>
                      <a:pt x="2859" y="165203"/>
                      <a:pt x="6375" y="165203"/>
                    </a:cubicBezTo>
                    <a:lnTo>
                      <a:pt x="36105" y="165203"/>
                    </a:lnTo>
                    <a:lnTo>
                      <a:pt x="36105" y="335951"/>
                    </a:lnTo>
                    <a:cubicBezTo>
                      <a:pt x="36105" y="339524"/>
                      <a:pt x="39021" y="342440"/>
                      <a:pt x="42594" y="342440"/>
                    </a:cubicBezTo>
                    <a:lnTo>
                      <a:pt x="98510" y="342440"/>
                    </a:lnTo>
                    <a:cubicBezTo>
                      <a:pt x="102083" y="342440"/>
                      <a:pt x="104999" y="339524"/>
                      <a:pt x="104999" y="335951"/>
                    </a:cubicBezTo>
                    <a:lnTo>
                      <a:pt x="104999" y="165174"/>
                    </a:lnTo>
                    <a:lnTo>
                      <a:pt x="149394" y="165174"/>
                    </a:lnTo>
                    <a:cubicBezTo>
                      <a:pt x="152911" y="165174"/>
                      <a:pt x="155769" y="162315"/>
                      <a:pt x="155769" y="158799"/>
                    </a:cubicBezTo>
                    <a:lnTo>
                      <a:pt x="155769" y="114804"/>
                    </a:lnTo>
                    <a:cubicBezTo>
                      <a:pt x="155769" y="111288"/>
                      <a:pt x="152911" y="108429"/>
                      <a:pt x="149394" y="108429"/>
                    </a:cubicBezTo>
                    <a:lnTo>
                      <a:pt x="104999" y="108429"/>
                    </a:lnTo>
                    <a:lnTo>
                      <a:pt x="104999" y="80643"/>
                    </a:lnTo>
                    <a:cubicBezTo>
                      <a:pt x="104999" y="69895"/>
                      <a:pt x="113718" y="61204"/>
                      <a:pt x="124438" y="61204"/>
                    </a:cubicBezTo>
                    <a:lnTo>
                      <a:pt x="158342" y="61204"/>
                    </a:lnTo>
                    <a:cubicBezTo>
                      <a:pt x="161915" y="61204"/>
                      <a:pt x="164831" y="58288"/>
                      <a:pt x="164831" y="54715"/>
                    </a:cubicBezTo>
                    <a:lnTo>
                      <a:pt x="164831" y="6489"/>
                    </a:lnTo>
                    <a:cubicBezTo>
                      <a:pt x="164831" y="2916"/>
                      <a:pt x="161915" y="0"/>
                      <a:pt x="158342" y="0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3" name="Freeform: Shape 12">
                <a:extLst>
                  <a:ext uri="{FF2B5EF4-FFF2-40B4-BE49-F238E27FC236}">
                    <a16:creationId xmlns:a16="http://schemas.microsoft.com/office/drawing/2014/main" id="{0C38FC25-2064-5C9C-36D8-15C7CFE39D25}"/>
                  </a:ext>
                </a:extLst>
              </p:cNvPr>
              <p:cNvSpPr/>
              <p:nvPr/>
            </p:nvSpPr>
            <p:spPr>
              <a:xfrm>
                <a:off x="10860611" y="3304224"/>
                <a:ext cx="53657" cy="53657"/>
              </a:xfrm>
              <a:custGeom>
                <a:avLst/>
                <a:gdLst>
                  <a:gd name="connsiteX0" fmla="*/ 53657 w 53657"/>
                  <a:gd name="connsiteY0" fmla="*/ 26786 h 53657"/>
                  <a:gd name="connsiteX1" fmla="*/ 26729 w 53657"/>
                  <a:gd name="connsiteY1" fmla="*/ 53657 h 53657"/>
                  <a:gd name="connsiteX2" fmla="*/ 0 w 53657"/>
                  <a:gd name="connsiteY2" fmla="*/ 26786 h 53657"/>
                  <a:gd name="connsiteX3" fmla="*/ 26814 w 53657"/>
                  <a:gd name="connsiteY3" fmla="*/ 0 h 53657"/>
                  <a:gd name="connsiteX4" fmla="*/ 53629 w 53657"/>
                  <a:gd name="connsiteY4" fmla="*/ 26786 h 53657"/>
                  <a:gd name="connsiteX5" fmla="*/ 49541 w 53657"/>
                  <a:gd name="connsiteY5" fmla="*/ 26900 h 53657"/>
                  <a:gd name="connsiteX6" fmla="*/ 26843 w 53657"/>
                  <a:gd name="connsiteY6" fmla="*/ 3831 h 53657"/>
                  <a:gd name="connsiteX7" fmla="*/ 4145 w 53657"/>
                  <a:gd name="connsiteY7" fmla="*/ 26872 h 53657"/>
                  <a:gd name="connsiteX8" fmla="*/ 26729 w 53657"/>
                  <a:gd name="connsiteY8" fmla="*/ 49884 h 53657"/>
                  <a:gd name="connsiteX9" fmla="*/ 49541 w 53657"/>
                  <a:gd name="connsiteY9" fmla="*/ 26900 h 53657"/>
                  <a:gd name="connsiteX10" fmla="*/ 32589 w 53657"/>
                  <a:gd name="connsiteY10" fmla="*/ 31131 h 53657"/>
                  <a:gd name="connsiteX11" fmla="*/ 39335 w 53657"/>
                  <a:gd name="connsiteY11" fmla="*/ 41622 h 53657"/>
                  <a:gd name="connsiteX12" fmla="*/ 34876 w 53657"/>
                  <a:gd name="connsiteY12" fmla="*/ 41622 h 53657"/>
                  <a:gd name="connsiteX13" fmla="*/ 27386 w 53657"/>
                  <a:gd name="connsiteY13" fmla="*/ 29730 h 53657"/>
                  <a:gd name="connsiteX14" fmla="*/ 20554 w 53657"/>
                  <a:gd name="connsiteY14" fmla="*/ 29730 h 53657"/>
                  <a:gd name="connsiteX15" fmla="*/ 20554 w 53657"/>
                  <a:gd name="connsiteY15" fmla="*/ 41622 h 53657"/>
                  <a:gd name="connsiteX16" fmla="*/ 16809 w 53657"/>
                  <a:gd name="connsiteY16" fmla="*/ 41622 h 53657"/>
                  <a:gd name="connsiteX17" fmla="*/ 16809 w 53657"/>
                  <a:gd name="connsiteY17" fmla="*/ 11549 h 53657"/>
                  <a:gd name="connsiteX18" fmla="*/ 28472 w 53657"/>
                  <a:gd name="connsiteY18" fmla="*/ 11549 h 53657"/>
                  <a:gd name="connsiteX19" fmla="*/ 37963 w 53657"/>
                  <a:gd name="connsiteY19" fmla="*/ 20411 h 53657"/>
                  <a:gd name="connsiteX20" fmla="*/ 31131 w 53657"/>
                  <a:gd name="connsiteY20" fmla="*/ 29101 h 53657"/>
                  <a:gd name="connsiteX21" fmla="*/ 32589 w 53657"/>
                  <a:gd name="connsiteY21" fmla="*/ 31160 h 53657"/>
                  <a:gd name="connsiteX22" fmla="*/ 27214 w 53657"/>
                  <a:gd name="connsiteY22" fmla="*/ 26185 h 53657"/>
                  <a:gd name="connsiteX23" fmla="*/ 34047 w 53657"/>
                  <a:gd name="connsiteY23" fmla="*/ 20640 h 53657"/>
                  <a:gd name="connsiteX24" fmla="*/ 28558 w 53657"/>
                  <a:gd name="connsiteY24" fmla="*/ 15037 h 53657"/>
                  <a:gd name="connsiteX25" fmla="*/ 20525 w 53657"/>
                  <a:gd name="connsiteY25" fmla="*/ 15037 h 53657"/>
                  <a:gd name="connsiteX26" fmla="*/ 20525 w 53657"/>
                  <a:gd name="connsiteY26" fmla="*/ 26157 h 53657"/>
                  <a:gd name="connsiteX27" fmla="*/ 27214 w 53657"/>
                  <a:gd name="connsiteY27" fmla="*/ 26157 h 53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53657" h="53657">
                    <a:moveTo>
                      <a:pt x="53657" y="26786"/>
                    </a:moveTo>
                    <a:cubicBezTo>
                      <a:pt x="53657" y="41708"/>
                      <a:pt x="41708" y="53657"/>
                      <a:pt x="26729" y="53657"/>
                    </a:cubicBezTo>
                    <a:cubicBezTo>
                      <a:pt x="11749" y="53657"/>
                      <a:pt x="0" y="41594"/>
                      <a:pt x="0" y="26786"/>
                    </a:cubicBezTo>
                    <a:cubicBezTo>
                      <a:pt x="0" y="11978"/>
                      <a:pt x="11949" y="0"/>
                      <a:pt x="26814" y="0"/>
                    </a:cubicBezTo>
                    <a:cubicBezTo>
                      <a:pt x="41679" y="0"/>
                      <a:pt x="53629" y="11892"/>
                      <a:pt x="53629" y="26786"/>
                    </a:cubicBezTo>
                    <a:close/>
                    <a:moveTo>
                      <a:pt x="49541" y="26900"/>
                    </a:moveTo>
                    <a:cubicBezTo>
                      <a:pt x="49541" y="14036"/>
                      <a:pt x="39392" y="3831"/>
                      <a:pt x="26843" y="3831"/>
                    </a:cubicBezTo>
                    <a:cubicBezTo>
                      <a:pt x="14293" y="3831"/>
                      <a:pt x="4145" y="13922"/>
                      <a:pt x="4145" y="26872"/>
                    </a:cubicBezTo>
                    <a:cubicBezTo>
                      <a:pt x="4145" y="39821"/>
                      <a:pt x="14408" y="49884"/>
                      <a:pt x="26729" y="49884"/>
                    </a:cubicBezTo>
                    <a:cubicBezTo>
                      <a:pt x="39049" y="49884"/>
                      <a:pt x="49541" y="39736"/>
                      <a:pt x="49541" y="26900"/>
                    </a:cubicBezTo>
                    <a:close/>
                    <a:moveTo>
                      <a:pt x="32589" y="31131"/>
                    </a:moveTo>
                    <a:lnTo>
                      <a:pt x="39335" y="41622"/>
                    </a:lnTo>
                    <a:lnTo>
                      <a:pt x="34876" y="41622"/>
                    </a:lnTo>
                    <a:lnTo>
                      <a:pt x="27386" y="29730"/>
                    </a:lnTo>
                    <a:lnTo>
                      <a:pt x="20554" y="29730"/>
                    </a:lnTo>
                    <a:lnTo>
                      <a:pt x="20554" y="41622"/>
                    </a:lnTo>
                    <a:lnTo>
                      <a:pt x="16809" y="41622"/>
                    </a:lnTo>
                    <a:lnTo>
                      <a:pt x="16809" y="11549"/>
                    </a:lnTo>
                    <a:lnTo>
                      <a:pt x="28472" y="11549"/>
                    </a:lnTo>
                    <a:cubicBezTo>
                      <a:pt x="34218" y="11549"/>
                      <a:pt x="37963" y="14636"/>
                      <a:pt x="37963" y="20411"/>
                    </a:cubicBezTo>
                    <a:cubicBezTo>
                      <a:pt x="37963" y="25071"/>
                      <a:pt x="35133" y="27958"/>
                      <a:pt x="31131" y="29101"/>
                    </a:cubicBezTo>
                    <a:cubicBezTo>
                      <a:pt x="31674" y="29702"/>
                      <a:pt x="32217" y="30445"/>
                      <a:pt x="32589" y="31160"/>
                    </a:cubicBezTo>
                    <a:close/>
                    <a:moveTo>
                      <a:pt x="27214" y="26185"/>
                    </a:moveTo>
                    <a:cubicBezTo>
                      <a:pt x="31445" y="26185"/>
                      <a:pt x="34047" y="24184"/>
                      <a:pt x="34047" y="20640"/>
                    </a:cubicBezTo>
                    <a:cubicBezTo>
                      <a:pt x="34047" y="17095"/>
                      <a:pt x="32246" y="15037"/>
                      <a:pt x="28558" y="15037"/>
                    </a:cubicBezTo>
                    <a:lnTo>
                      <a:pt x="20525" y="15037"/>
                    </a:lnTo>
                    <a:lnTo>
                      <a:pt x="20525" y="26157"/>
                    </a:lnTo>
                    <a:lnTo>
                      <a:pt x="27214" y="26157"/>
                    </a:ln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4" name="Freeform: Shape 13">
                <a:extLst>
                  <a:ext uri="{FF2B5EF4-FFF2-40B4-BE49-F238E27FC236}">
                    <a16:creationId xmlns:a16="http://schemas.microsoft.com/office/drawing/2014/main" id="{CD13E2BA-A036-33FC-1BF9-8FF1D83E1A40}"/>
                  </a:ext>
                </a:extLst>
              </p:cNvPr>
              <p:cNvSpPr/>
              <p:nvPr/>
            </p:nvSpPr>
            <p:spPr>
              <a:xfrm>
                <a:off x="10283815" y="3011724"/>
                <a:ext cx="68865" cy="342354"/>
              </a:xfrm>
              <a:custGeom>
                <a:avLst/>
                <a:gdLst>
                  <a:gd name="connsiteX0" fmla="*/ 62376 w 68865"/>
                  <a:gd name="connsiteY0" fmla="*/ 0 h 342354"/>
                  <a:gd name="connsiteX1" fmla="*/ 68866 w 68865"/>
                  <a:gd name="connsiteY1" fmla="*/ 6489 h 342354"/>
                  <a:gd name="connsiteX2" fmla="*/ 68866 w 68865"/>
                  <a:gd name="connsiteY2" fmla="*/ 335865 h 342354"/>
                  <a:gd name="connsiteX3" fmla="*/ 62376 w 68865"/>
                  <a:gd name="connsiteY3" fmla="*/ 342355 h 342354"/>
                  <a:gd name="connsiteX4" fmla="*/ 6489 w 68865"/>
                  <a:gd name="connsiteY4" fmla="*/ 342355 h 342354"/>
                  <a:gd name="connsiteX5" fmla="*/ 0 w 68865"/>
                  <a:gd name="connsiteY5" fmla="*/ 335865 h 342354"/>
                  <a:gd name="connsiteX6" fmla="*/ 0 w 68865"/>
                  <a:gd name="connsiteY6" fmla="*/ 6489 h 342354"/>
                  <a:gd name="connsiteX7" fmla="*/ 6489 w 68865"/>
                  <a:gd name="connsiteY7" fmla="*/ 0 h 3423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8865" h="342354">
                    <a:moveTo>
                      <a:pt x="62376" y="0"/>
                    </a:moveTo>
                    <a:cubicBezTo>
                      <a:pt x="65960" y="0"/>
                      <a:pt x="68866" y="2905"/>
                      <a:pt x="68866" y="6489"/>
                    </a:cubicBezTo>
                    <a:lnTo>
                      <a:pt x="68866" y="335865"/>
                    </a:lnTo>
                    <a:cubicBezTo>
                      <a:pt x="68866" y="339449"/>
                      <a:pt x="65960" y="342355"/>
                      <a:pt x="62376" y="342355"/>
                    </a:cubicBezTo>
                    <a:lnTo>
                      <a:pt x="6489" y="342355"/>
                    </a:lnTo>
                    <a:cubicBezTo>
                      <a:pt x="2905" y="342355"/>
                      <a:pt x="0" y="339449"/>
                      <a:pt x="0" y="335865"/>
                    </a:cubicBezTo>
                    <a:lnTo>
                      <a:pt x="0" y="6489"/>
                    </a:lnTo>
                    <a:cubicBezTo>
                      <a:pt x="0" y="2905"/>
                      <a:pt x="2905" y="0"/>
                      <a:pt x="6489" y="0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5" name="Freeform: Shape 14">
                <a:extLst>
                  <a:ext uri="{FF2B5EF4-FFF2-40B4-BE49-F238E27FC236}">
                    <a16:creationId xmlns:a16="http://schemas.microsoft.com/office/drawing/2014/main" id="{4F4F4BFF-891F-AAA7-6033-A57F96B9B88B}"/>
                  </a:ext>
                </a:extLst>
              </p:cNvPr>
              <p:cNvSpPr/>
              <p:nvPr/>
            </p:nvSpPr>
            <p:spPr>
              <a:xfrm>
                <a:off x="10006809" y="3011696"/>
                <a:ext cx="258538" cy="347300"/>
              </a:xfrm>
              <a:custGeom>
                <a:avLst/>
                <a:gdLst>
                  <a:gd name="connsiteX0" fmla="*/ 143734 w 258538"/>
                  <a:gd name="connsiteY0" fmla="*/ 93393 h 347300"/>
                  <a:gd name="connsiteX1" fmla="*/ 68894 w 258538"/>
                  <a:gd name="connsiteY1" fmla="*/ 129755 h 347300"/>
                  <a:gd name="connsiteX2" fmla="*/ 68894 w 258538"/>
                  <a:gd name="connsiteY2" fmla="*/ 6489 h 347300"/>
                  <a:gd name="connsiteX3" fmla="*/ 62405 w 258538"/>
                  <a:gd name="connsiteY3" fmla="*/ 0 h 347300"/>
                  <a:gd name="connsiteX4" fmla="*/ 6489 w 258538"/>
                  <a:gd name="connsiteY4" fmla="*/ 0 h 347300"/>
                  <a:gd name="connsiteX5" fmla="*/ 0 w 258538"/>
                  <a:gd name="connsiteY5" fmla="*/ 6489 h 347300"/>
                  <a:gd name="connsiteX6" fmla="*/ 0 w 258538"/>
                  <a:gd name="connsiteY6" fmla="*/ 335894 h 347300"/>
                  <a:gd name="connsiteX7" fmla="*/ 6489 w 258538"/>
                  <a:gd name="connsiteY7" fmla="*/ 342383 h 347300"/>
                  <a:gd name="connsiteX8" fmla="*/ 62405 w 258538"/>
                  <a:gd name="connsiteY8" fmla="*/ 342383 h 347300"/>
                  <a:gd name="connsiteX9" fmla="*/ 68894 w 258538"/>
                  <a:gd name="connsiteY9" fmla="*/ 335894 h 347300"/>
                  <a:gd name="connsiteX10" fmla="*/ 68894 w 258538"/>
                  <a:gd name="connsiteY10" fmla="*/ 311624 h 347300"/>
                  <a:gd name="connsiteX11" fmla="*/ 144249 w 258538"/>
                  <a:gd name="connsiteY11" fmla="*/ 347300 h 347300"/>
                  <a:gd name="connsiteX12" fmla="*/ 258539 w 258538"/>
                  <a:gd name="connsiteY12" fmla="*/ 220689 h 347300"/>
                  <a:gd name="connsiteX13" fmla="*/ 143763 w 258538"/>
                  <a:gd name="connsiteY13" fmla="*/ 93393 h 347300"/>
                  <a:gd name="connsiteX14" fmla="*/ 130041 w 258538"/>
                  <a:gd name="connsiteY14" fmla="*/ 282637 h 347300"/>
                  <a:gd name="connsiteX15" fmla="*/ 68894 w 258538"/>
                  <a:gd name="connsiteY15" fmla="*/ 220718 h 347300"/>
                  <a:gd name="connsiteX16" fmla="*/ 130041 w 258538"/>
                  <a:gd name="connsiteY16" fmla="*/ 159285 h 347300"/>
                  <a:gd name="connsiteX17" fmla="*/ 190216 w 258538"/>
                  <a:gd name="connsiteY17" fmla="*/ 220718 h 347300"/>
                  <a:gd name="connsiteX18" fmla="*/ 130041 w 258538"/>
                  <a:gd name="connsiteY18" fmla="*/ 282637 h 347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8538" h="347300">
                    <a:moveTo>
                      <a:pt x="143734" y="93393"/>
                    </a:moveTo>
                    <a:cubicBezTo>
                      <a:pt x="111946" y="93393"/>
                      <a:pt x="85503" y="107172"/>
                      <a:pt x="68894" y="129755"/>
                    </a:cubicBezTo>
                    <a:lnTo>
                      <a:pt x="68894" y="6489"/>
                    </a:lnTo>
                    <a:cubicBezTo>
                      <a:pt x="68894" y="2916"/>
                      <a:pt x="65978" y="0"/>
                      <a:pt x="62405" y="0"/>
                    </a:cubicBezTo>
                    <a:lnTo>
                      <a:pt x="6489" y="0"/>
                    </a:lnTo>
                    <a:cubicBezTo>
                      <a:pt x="2916" y="0"/>
                      <a:pt x="0" y="2916"/>
                      <a:pt x="0" y="6489"/>
                    </a:cubicBezTo>
                    <a:lnTo>
                      <a:pt x="0" y="335894"/>
                    </a:lnTo>
                    <a:cubicBezTo>
                      <a:pt x="0" y="339467"/>
                      <a:pt x="2916" y="342383"/>
                      <a:pt x="6489" y="342383"/>
                    </a:cubicBezTo>
                    <a:lnTo>
                      <a:pt x="62405" y="342383"/>
                    </a:lnTo>
                    <a:cubicBezTo>
                      <a:pt x="65978" y="342383"/>
                      <a:pt x="68894" y="339467"/>
                      <a:pt x="68894" y="335894"/>
                    </a:cubicBezTo>
                    <a:lnTo>
                      <a:pt x="68894" y="311624"/>
                    </a:lnTo>
                    <a:cubicBezTo>
                      <a:pt x="85532" y="334236"/>
                      <a:pt x="111946" y="347300"/>
                      <a:pt x="144249" y="347300"/>
                    </a:cubicBezTo>
                    <a:cubicBezTo>
                      <a:pt x="212257" y="347300"/>
                      <a:pt x="258539" y="292442"/>
                      <a:pt x="258539" y="220689"/>
                    </a:cubicBezTo>
                    <a:cubicBezTo>
                      <a:pt x="258539" y="148937"/>
                      <a:pt x="212257" y="93393"/>
                      <a:pt x="143763" y="93393"/>
                    </a:cubicBezTo>
                    <a:close/>
                    <a:moveTo>
                      <a:pt x="130041" y="282637"/>
                    </a:moveTo>
                    <a:cubicBezTo>
                      <a:pt x="94822" y="282637"/>
                      <a:pt x="68894" y="254136"/>
                      <a:pt x="68894" y="220718"/>
                    </a:cubicBezTo>
                    <a:cubicBezTo>
                      <a:pt x="68894" y="187300"/>
                      <a:pt x="94822" y="159285"/>
                      <a:pt x="130041" y="159285"/>
                    </a:cubicBezTo>
                    <a:cubicBezTo>
                      <a:pt x="165260" y="159285"/>
                      <a:pt x="190216" y="187300"/>
                      <a:pt x="190216" y="220718"/>
                    </a:cubicBezTo>
                    <a:cubicBezTo>
                      <a:pt x="190216" y="254136"/>
                      <a:pt x="164774" y="282637"/>
                      <a:pt x="130041" y="282637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6" name="Freeform: Shape 15">
                <a:extLst>
                  <a:ext uri="{FF2B5EF4-FFF2-40B4-BE49-F238E27FC236}">
                    <a16:creationId xmlns:a16="http://schemas.microsoft.com/office/drawing/2014/main" id="{4B6FC2B8-27AE-9F68-7FD1-F238D212E693}"/>
                  </a:ext>
                </a:extLst>
              </p:cNvPr>
              <p:cNvSpPr/>
              <p:nvPr/>
            </p:nvSpPr>
            <p:spPr>
              <a:xfrm>
                <a:off x="9736922" y="3105088"/>
                <a:ext cx="251792" cy="253935"/>
              </a:xfrm>
              <a:custGeom>
                <a:avLst/>
                <a:gdLst>
                  <a:gd name="connsiteX0" fmla="*/ 125896 w 251792"/>
                  <a:gd name="connsiteY0" fmla="*/ 0 h 253935"/>
                  <a:gd name="connsiteX1" fmla="*/ 0 w 251792"/>
                  <a:gd name="connsiteY1" fmla="*/ 126725 h 253935"/>
                  <a:gd name="connsiteX2" fmla="*/ 125896 w 251792"/>
                  <a:gd name="connsiteY2" fmla="*/ 253936 h 253935"/>
                  <a:gd name="connsiteX3" fmla="*/ 251792 w 251792"/>
                  <a:gd name="connsiteY3" fmla="*/ 126725 h 253935"/>
                  <a:gd name="connsiteX4" fmla="*/ 125896 w 251792"/>
                  <a:gd name="connsiteY4" fmla="*/ 0 h 253935"/>
                  <a:gd name="connsiteX5" fmla="*/ 126153 w 251792"/>
                  <a:gd name="connsiteY5" fmla="*/ 188558 h 253935"/>
                  <a:gd name="connsiteX6" fmla="*/ 65378 w 251792"/>
                  <a:gd name="connsiteY6" fmla="*/ 126725 h 253935"/>
                  <a:gd name="connsiteX7" fmla="*/ 126153 w 251792"/>
                  <a:gd name="connsiteY7" fmla="*/ 65378 h 253935"/>
                  <a:gd name="connsiteX8" fmla="*/ 186443 w 251792"/>
                  <a:gd name="connsiteY8" fmla="*/ 126725 h 253935"/>
                  <a:gd name="connsiteX9" fmla="*/ 126153 w 251792"/>
                  <a:gd name="connsiteY9" fmla="*/ 188558 h 253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1792" h="253935">
                    <a:moveTo>
                      <a:pt x="125896" y="0"/>
                    </a:moveTo>
                    <a:cubicBezTo>
                      <a:pt x="54944" y="0"/>
                      <a:pt x="0" y="55287"/>
                      <a:pt x="0" y="126725"/>
                    </a:cubicBezTo>
                    <a:cubicBezTo>
                      <a:pt x="0" y="198163"/>
                      <a:pt x="54915" y="253936"/>
                      <a:pt x="125896" y="253936"/>
                    </a:cubicBezTo>
                    <a:cubicBezTo>
                      <a:pt x="196877" y="253936"/>
                      <a:pt x="251792" y="198163"/>
                      <a:pt x="251792" y="126725"/>
                    </a:cubicBezTo>
                    <a:cubicBezTo>
                      <a:pt x="251792" y="55287"/>
                      <a:pt x="196877" y="0"/>
                      <a:pt x="125896" y="0"/>
                    </a:cubicBezTo>
                    <a:close/>
                    <a:moveTo>
                      <a:pt x="126153" y="188558"/>
                    </a:moveTo>
                    <a:cubicBezTo>
                      <a:pt x="91506" y="188558"/>
                      <a:pt x="65378" y="160314"/>
                      <a:pt x="65378" y="126725"/>
                    </a:cubicBezTo>
                    <a:cubicBezTo>
                      <a:pt x="65378" y="93136"/>
                      <a:pt x="91506" y="65378"/>
                      <a:pt x="126153" y="65378"/>
                    </a:cubicBezTo>
                    <a:cubicBezTo>
                      <a:pt x="160801" y="65378"/>
                      <a:pt x="186443" y="93136"/>
                      <a:pt x="186443" y="126725"/>
                    </a:cubicBezTo>
                    <a:cubicBezTo>
                      <a:pt x="186443" y="160314"/>
                      <a:pt x="161315" y="188558"/>
                      <a:pt x="126153" y="188558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7" name="Freeform: Shape 16">
                <a:extLst>
                  <a:ext uri="{FF2B5EF4-FFF2-40B4-BE49-F238E27FC236}">
                    <a16:creationId xmlns:a16="http://schemas.microsoft.com/office/drawing/2014/main" id="{45FE4925-CA93-8FDC-8C57-45CC5A179967}"/>
                  </a:ext>
                </a:extLst>
              </p:cNvPr>
              <p:cNvSpPr/>
              <p:nvPr/>
            </p:nvSpPr>
            <p:spPr>
              <a:xfrm>
                <a:off x="10370776" y="3105088"/>
                <a:ext cx="251792" cy="253935"/>
              </a:xfrm>
              <a:custGeom>
                <a:avLst/>
                <a:gdLst>
                  <a:gd name="connsiteX0" fmla="*/ 125896 w 251792"/>
                  <a:gd name="connsiteY0" fmla="*/ 0 h 253935"/>
                  <a:gd name="connsiteX1" fmla="*/ 0 w 251792"/>
                  <a:gd name="connsiteY1" fmla="*/ 126725 h 253935"/>
                  <a:gd name="connsiteX2" fmla="*/ 125896 w 251792"/>
                  <a:gd name="connsiteY2" fmla="*/ 253936 h 253935"/>
                  <a:gd name="connsiteX3" fmla="*/ 251792 w 251792"/>
                  <a:gd name="connsiteY3" fmla="*/ 126725 h 253935"/>
                  <a:gd name="connsiteX4" fmla="*/ 125896 w 251792"/>
                  <a:gd name="connsiteY4" fmla="*/ 0 h 253935"/>
                  <a:gd name="connsiteX5" fmla="*/ 126153 w 251792"/>
                  <a:gd name="connsiteY5" fmla="*/ 188558 h 253935"/>
                  <a:gd name="connsiteX6" fmla="*/ 65378 w 251792"/>
                  <a:gd name="connsiteY6" fmla="*/ 126725 h 253935"/>
                  <a:gd name="connsiteX7" fmla="*/ 126153 w 251792"/>
                  <a:gd name="connsiteY7" fmla="*/ 65378 h 253935"/>
                  <a:gd name="connsiteX8" fmla="*/ 186443 w 251792"/>
                  <a:gd name="connsiteY8" fmla="*/ 126725 h 253935"/>
                  <a:gd name="connsiteX9" fmla="*/ 126153 w 251792"/>
                  <a:gd name="connsiteY9" fmla="*/ 188558 h 253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1792" h="253935">
                    <a:moveTo>
                      <a:pt x="125896" y="0"/>
                    </a:moveTo>
                    <a:cubicBezTo>
                      <a:pt x="54944" y="0"/>
                      <a:pt x="0" y="55287"/>
                      <a:pt x="0" y="126725"/>
                    </a:cubicBezTo>
                    <a:cubicBezTo>
                      <a:pt x="0" y="198163"/>
                      <a:pt x="54915" y="253936"/>
                      <a:pt x="125896" y="253936"/>
                    </a:cubicBezTo>
                    <a:cubicBezTo>
                      <a:pt x="196877" y="253936"/>
                      <a:pt x="251792" y="198163"/>
                      <a:pt x="251792" y="126725"/>
                    </a:cubicBezTo>
                    <a:cubicBezTo>
                      <a:pt x="251792" y="55287"/>
                      <a:pt x="196877" y="0"/>
                      <a:pt x="125896" y="0"/>
                    </a:cubicBezTo>
                    <a:close/>
                    <a:moveTo>
                      <a:pt x="126153" y="188558"/>
                    </a:moveTo>
                    <a:cubicBezTo>
                      <a:pt x="91506" y="188558"/>
                      <a:pt x="65378" y="160314"/>
                      <a:pt x="65378" y="126725"/>
                    </a:cubicBezTo>
                    <a:cubicBezTo>
                      <a:pt x="65378" y="93136"/>
                      <a:pt x="91506" y="65378"/>
                      <a:pt x="126153" y="65378"/>
                    </a:cubicBezTo>
                    <a:cubicBezTo>
                      <a:pt x="160801" y="65378"/>
                      <a:pt x="186443" y="93136"/>
                      <a:pt x="186443" y="126725"/>
                    </a:cubicBezTo>
                    <a:cubicBezTo>
                      <a:pt x="186443" y="160314"/>
                      <a:pt x="161315" y="188558"/>
                      <a:pt x="126153" y="188558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8" name="Freeform: Shape 17">
                <a:extLst>
                  <a:ext uri="{FF2B5EF4-FFF2-40B4-BE49-F238E27FC236}">
                    <a16:creationId xmlns:a16="http://schemas.microsoft.com/office/drawing/2014/main" id="{62F6ABCF-E1E4-2DCA-B57C-288DE399C58B}"/>
                  </a:ext>
                </a:extLst>
              </p:cNvPr>
              <p:cNvSpPr/>
              <p:nvPr/>
            </p:nvSpPr>
            <p:spPr>
              <a:xfrm>
                <a:off x="9242171" y="3110092"/>
                <a:ext cx="68865" cy="243987"/>
              </a:xfrm>
              <a:custGeom>
                <a:avLst/>
                <a:gdLst>
                  <a:gd name="connsiteX0" fmla="*/ 62405 w 68865"/>
                  <a:gd name="connsiteY0" fmla="*/ 243987 h 243987"/>
                  <a:gd name="connsiteX1" fmla="*/ 6489 w 68865"/>
                  <a:gd name="connsiteY1" fmla="*/ 243987 h 243987"/>
                  <a:gd name="connsiteX2" fmla="*/ 0 w 68865"/>
                  <a:gd name="connsiteY2" fmla="*/ 237498 h 243987"/>
                  <a:gd name="connsiteX3" fmla="*/ 0 w 68865"/>
                  <a:gd name="connsiteY3" fmla="*/ 63891 h 243987"/>
                  <a:gd name="connsiteX4" fmla="*/ 3888 w 68865"/>
                  <a:gd name="connsiteY4" fmla="*/ 54629 h 243987"/>
                  <a:gd name="connsiteX5" fmla="*/ 57860 w 68865"/>
                  <a:gd name="connsiteY5" fmla="*/ 1858 h 243987"/>
                  <a:gd name="connsiteX6" fmla="*/ 68866 w 68865"/>
                  <a:gd name="connsiteY6" fmla="*/ 6489 h 243987"/>
                  <a:gd name="connsiteX7" fmla="*/ 68866 w 68865"/>
                  <a:gd name="connsiteY7" fmla="*/ 237498 h 243987"/>
                  <a:gd name="connsiteX8" fmla="*/ 62376 w 68865"/>
                  <a:gd name="connsiteY8" fmla="*/ 243987 h 243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8865" h="243987">
                    <a:moveTo>
                      <a:pt x="62405" y="243987"/>
                    </a:moveTo>
                    <a:lnTo>
                      <a:pt x="6489" y="243987"/>
                    </a:lnTo>
                    <a:cubicBezTo>
                      <a:pt x="2916" y="243987"/>
                      <a:pt x="0" y="241071"/>
                      <a:pt x="0" y="237498"/>
                    </a:cubicBezTo>
                    <a:lnTo>
                      <a:pt x="0" y="63891"/>
                    </a:lnTo>
                    <a:cubicBezTo>
                      <a:pt x="0" y="60403"/>
                      <a:pt x="1401" y="57059"/>
                      <a:pt x="3888" y="54629"/>
                    </a:cubicBezTo>
                    <a:lnTo>
                      <a:pt x="57860" y="1858"/>
                    </a:lnTo>
                    <a:cubicBezTo>
                      <a:pt x="61976" y="-2144"/>
                      <a:pt x="68866" y="743"/>
                      <a:pt x="68866" y="6489"/>
                    </a:cubicBezTo>
                    <a:lnTo>
                      <a:pt x="68866" y="237498"/>
                    </a:lnTo>
                    <a:cubicBezTo>
                      <a:pt x="68866" y="241071"/>
                      <a:pt x="65950" y="243987"/>
                      <a:pt x="62376" y="243987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9" name="Freeform: Shape 18">
                <a:extLst>
                  <a:ext uri="{FF2B5EF4-FFF2-40B4-BE49-F238E27FC236}">
                    <a16:creationId xmlns:a16="http://schemas.microsoft.com/office/drawing/2014/main" id="{13C182B7-F4DD-A87A-D65F-CC0FBDE140FA}"/>
                  </a:ext>
                </a:extLst>
              </p:cNvPr>
              <p:cNvSpPr/>
              <p:nvPr/>
            </p:nvSpPr>
            <p:spPr>
              <a:xfrm>
                <a:off x="9347255" y="3105025"/>
                <a:ext cx="224777" cy="249082"/>
              </a:xfrm>
              <a:custGeom>
                <a:avLst/>
                <a:gdLst>
                  <a:gd name="connsiteX0" fmla="*/ 224749 w 224777"/>
                  <a:gd name="connsiteY0" fmla="*/ 87568 h 249082"/>
                  <a:gd name="connsiteX1" fmla="*/ 136416 w 224777"/>
                  <a:gd name="connsiteY1" fmla="*/ 6 h 249082"/>
                  <a:gd name="connsiteX2" fmla="*/ 68894 w 224777"/>
                  <a:gd name="connsiteY2" fmla="*/ 36540 h 249082"/>
                  <a:gd name="connsiteX3" fmla="*/ 68894 w 224777"/>
                  <a:gd name="connsiteY3" fmla="*/ 11670 h 249082"/>
                  <a:gd name="connsiteX4" fmla="*/ 62405 w 224777"/>
                  <a:gd name="connsiteY4" fmla="*/ 5181 h 249082"/>
                  <a:gd name="connsiteX5" fmla="*/ 6489 w 224777"/>
                  <a:gd name="connsiteY5" fmla="*/ 5181 h 249082"/>
                  <a:gd name="connsiteX6" fmla="*/ 0 w 224777"/>
                  <a:gd name="connsiteY6" fmla="*/ 11670 h 249082"/>
                  <a:gd name="connsiteX7" fmla="*/ 0 w 224777"/>
                  <a:gd name="connsiteY7" fmla="*/ 242565 h 249082"/>
                  <a:gd name="connsiteX8" fmla="*/ 6489 w 224777"/>
                  <a:gd name="connsiteY8" fmla="*/ 249054 h 249082"/>
                  <a:gd name="connsiteX9" fmla="*/ 62405 w 224777"/>
                  <a:gd name="connsiteY9" fmla="*/ 249054 h 249082"/>
                  <a:gd name="connsiteX10" fmla="*/ 68894 w 224777"/>
                  <a:gd name="connsiteY10" fmla="*/ 242565 h 249082"/>
                  <a:gd name="connsiteX11" fmla="*/ 68894 w 224777"/>
                  <a:gd name="connsiteY11" fmla="*/ 108293 h 249082"/>
                  <a:gd name="connsiteX12" fmla="*/ 112375 w 224777"/>
                  <a:gd name="connsiteY12" fmla="*/ 66385 h 249082"/>
                  <a:gd name="connsiteX13" fmla="*/ 155884 w 224777"/>
                  <a:gd name="connsiteY13" fmla="*/ 111266 h 249082"/>
                  <a:gd name="connsiteX14" fmla="*/ 155884 w 224777"/>
                  <a:gd name="connsiteY14" fmla="*/ 242593 h 249082"/>
                  <a:gd name="connsiteX15" fmla="*/ 162373 w 224777"/>
                  <a:gd name="connsiteY15" fmla="*/ 249083 h 249082"/>
                  <a:gd name="connsiteX16" fmla="*/ 218289 w 224777"/>
                  <a:gd name="connsiteY16" fmla="*/ 249083 h 249082"/>
                  <a:gd name="connsiteX17" fmla="*/ 224778 w 224777"/>
                  <a:gd name="connsiteY17" fmla="*/ 242593 h 249082"/>
                  <a:gd name="connsiteX18" fmla="*/ 224778 w 224777"/>
                  <a:gd name="connsiteY18" fmla="*/ 87596 h 249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4777" h="249082">
                    <a:moveTo>
                      <a:pt x="224749" y="87568"/>
                    </a:moveTo>
                    <a:cubicBezTo>
                      <a:pt x="224749" y="40257"/>
                      <a:pt x="185671" y="578"/>
                      <a:pt x="136416" y="6"/>
                    </a:cubicBezTo>
                    <a:cubicBezTo>
                      <a:pt x="104370" y="-365"/>
                      <a:pt x="82730" y="15329"/>
                      <a:pt x="68894" y="36540"/>
                    </a:cubicBezTo>
                    <a:lnTo>
                      <a:pt x="68894" y="11670"/>
                    </a:lnTo>
                    <a:cubicBezTo>
                      <a:pt x="68894" y="8097"/>
                      <a:pt x="65978" y="5181"/>
                      <a:pt x="62405" y="5181"/>
                    </a:cubicBezTo>
                    <a:lnTo>
                      <a:pt x="6489" y="5181"/>
                    </a:lnTo>
                    <a:cubicBezTo>
                      <a:pt x="2916" y="5181"/>
                      <a:pt x="0" y="8097"/>
                      <a:pt x="0" y="11670"/>
                    </a:cubicBezTo>
                    <a:lnTo>
                      <a:pt x="0" y="242565"/>
                    </a:lnTo>
                    <a:cubicBezTo>
                      <a:pt x="0" y="246138"/>
                      <a:pt x="2916" y="249054"/>
                      <a:pt x="6489" y="249054"/>
                    </a:cubicBezTo>
                    <a:lnTo>
                      <a:pt x="62405" y="249054"/>
                    </a:lnTo>
                    <a:cubicBezTo>
                      <a:pt x="65978" y="249054"/>
                      <a:pt x="68894" y="246138"/>
                      <a:pt x="68894" y="242565"/>
                    </a:cubicBezTo>
                    <a:lnTo>
                      <a:pt x="68894" y="108293"/>
                    </a:lnTo>
                    <a:cubicBezTo>
                      <a:pt x="70438" y="82451"/>
                      <a:pt x="86818" y="66385"/>
                      <a:pt x="112375" y="66385"/>
                    </a:cubicBezTo>
                    <a:cubicBezTo>
                      <a:pt x="137931" y="66385"/>
                      <a:pt x="155884" y="84423"/>
                      <a:pt x="155884" y="111266"/>
                    </a:cubicBezTo>
                    <a:lnTo>
                      <a:pt x="155884" y="242593"/>
                    </a:lnTo>
                    <a:cubicBezTo>
                      <a:pt x="155884" y="246167"/>
                      <a:pt x="158800" y="249083"/>
                      <a:pt x="162373" y="249083"/>
                    </a:cubicBezTo>
                    <a:lnTo>
                      <a:pt x="218289" y="249083"/>
                    </a:lnTo>
                    <a:cubicBezTo>
                      <a:pt x="221862" y="249083"/>
                      <a:pt x="224778" y="246167"/>
                      <a:pt x="224778" y="242593"/>
                    </a:cubicBezTo>
                    <a:lnTo>
                      <a:pt x="224778" y="87596"/>
                    </a:ln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</p:grpSp>
      </p:grpSp>
      <p:sp>
        <p:nvSpPr>
          <p:cNvPr id="9" name="Title 1">
            <a:extLst>
              <a:ext uri="{FF2B5EF4-FFF2-40B4-BE49-F238E27FC236}">
                <a16:creationId xmlns:a16="http://schemas.microsoft.com/office/drawing/2014/main" id="{26EB4FA3-492D-8C77-50A3-1311B270A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2694396"/>
            <a:ext cx="6005789" cy="1103202"/>
          </a:xfrm>
          <a:prstGeom prst="rect">
            <a:avLst/>
          </a:prstGeom>
        </p:spPr>
        <p:txBody>
          <a:bodyPr anchor="b" anchorCtr="0"/>
          <a:lstStyle>
            <a:lvl1pPr algn="l">
              <a:defRPr sz="3800" b="1" i="0" cap="all" baseline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r>
              <a:rPr lang="en-US"/>
              <a:t>Title style</a:t>
            </a:r>
          </a:p>
        </p:txBody>
      </p:sp>
    </p:spTree>
    <p:extLst>
      <p:ext uri="{BB962C8B-B14F-4D97-AF65-F5344CB8AC3E}">
        <p14:creationId xmlns:p14="http://schemas.microsoft.com/office/powerpoint/2010/main" val="1531813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raphic 8">
            <a:extLst>
              <a:ext uri="{FF2B5EF4-FFF2-40B4-BE49-F238E27FC236}">
                <a16:creationId xmlns:a16="http://schemas.microsoft.com/office/drawing/2014/main" id="{647F67D7-46A0-059C-4601-CB08A44A7129}"/>
              </a:ext>
            </a:extLst>
          </p:cNvPr>
          <p:cNvSpPr/>
          <p:nvPr userDrawn="1"/>
        </p:nvSpPr>
        <p:spPr>
          <a:xfrm>
            <a:off x="4308840" y="277122"/>
            <a:ext cx="8094557" cy="8094557"/>
          </a:xfrm>
          <a:custGeom>
            <a:avLst/>
            <a:gdLst>
              <a:gd name="connsiteX0" fmla="*/ 3985217 w 4062497"/>
              <a:gd name="connsiteY0" fmla="*/ 1844654 h 4062497"/>
              <a:gd name="connsiteX1" fmla="*/ 2217844 w 4062497"/>
              <a:gd name="connsiteY1" fmla="*/ 77281 h 4062497"/>
              <a:gd name="connsiteX2" fmla="*/ 1844654 w 4062497"/>
              <a:gd name="connsiteY2" fmla="*/ 77281 h 4062497"/>
              <a:gd name="connsiteX3" fmla="*/ 77281 w 4062497"/>
              <a:gd name="connsiteY3" fmla="*/ 1844654 h 4062497"/>
              <a:gd name="connsiteX4" fmla="*/ 77281 w 4062497"/>
              <a:gd name="connsiteY4" fmla="*/ 2217844 h 4062497"/>
              <a:gd name="connsiteX5" fmla="*/ 1844654 w 4062497"/>
              <a:gd name="connsiteY5" fmla="*/ 3985217 h 4062497"/>
              <a:gd name="connsiteX6" fmla="*/ 2217844 w 4062497"/>
              <a:gd name="connsiteY6" fmla="*/ 3985217 h 4062497"/>
              <a:gd name="connsiteX7" fmla="*/ 3985217 w 4062497"/>
              <a:gd name="connsiteY7" fmla="*/ 2217844 h 4062497"/>
              <a:gd name="connsiteX8" fmla="*/ 3985217 w 4062497"/>
              <a:gd name="connsiteY8" fmla="*/ 1844654 h 4062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2497" h="4062497">
                <a:moveTo>
                  <a:pt x="3985217" y="1844654"/>
                </a:moveTo>
                <a:lnTo>
                  <a:pt x="2217844" y="77281"/>
                </a:lnTo>
                <a:cubicBezTo>
                  <a:pt x="2114803" y="-25760"/>
                  <a:pt x="1947695" y="-25760"/>
                  <a:pt x="1844654" y="77281"/>
                </a:cubicBezTo>
                <a:lnTo>
                  <a:pt x="77281" y="1844654"/>
                </a:lnTo>
                <a:cubicBezTo>
                  <a:pt x="-25760" y="1947695"/>
                  <a:pt x="-25760" y="2114803"/>
                  <a:pt x="77281" y="2217844"/>
                </a:cubicBezTo>
                <a:lnTo>
                  <a:pt x="1844654" y="3985217"/>
                </a:lnTo>
                <a:cubicBezTo>
                  <a:pt x="1947695" y="4088258"/>
                  <a:pt x="2114803" y="4088258"/>
                  <a:pt x="2217844" y="3985217"/>
                </a:cubicBezTo>
                <a:lnTo>
                  <a:pt x="3985217" y="2217844"/>
                </a:lnTo>
                <a:cubicBezTo>
                  <a:pt x="4088258" y="2114803"/>
                  <a:pt x="4088258" y="1947695"/>
                  <a:pt x="3985217" y="1844654"/>
                </a:cubicBezTo>
                <a:close/>
              </a:path>
            </a:pathLst>
          </a:custGeom>
          <a:gradFill>
            <a:gsLst>
              <a:gs pos="12000">
                <a:srgbClr val="D9E1E2">
                  <a:alpha val="30000"/>
                </a:srgbClr>
              </a:gs>
              <a:gs pos="74000">
                <a:srgbClr val="D9E1E2">
                  <a:alpha val="0"/>
                </a:srgbClr>
              </a:gs>
            </a:gsLst>
            <a:lin ang="8100000" scaled="1"/>
          </a:gradFill>
          <a:ln w="685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72D07F0-2ED7-4FDE-247B-F9AEC337E26A}"/>
              </a:ext>
            </a:extLst>
          </p:cNvPr>
          <p:cNvGrpSpPr/>
          <p:nvPr userDrawn="1"/>
        </p:nvGrpSpPr>
        <p:grpSpPr>
          <a:xfrm>
            <a:off x="641615" y="603705"/>
            <a:ext cx="1512805" cy="314241"/>
            <a:chOff x="1028700" y="750209"/>
            <a:chExt cx="1512805" cy="314241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BCB261F6-0673-066D-0FE9-50B2B6541D68}"/>
                </a:ext>
              </a:extLst>
            </p:cNvPr>
            <p:cNvSpPr/>
            <p:nvPr/>
          </p:nvSpPr>
          <p:spPr>
            <a:xfrm rot="18900000">
              <a:off x="1051661" y="752123"/>
              <a:ext cx="66495" cy="66495"/>
            </a:xfrm>
            <a:custGeom>
              <a:avLst/>
              <a:gdLst>
                <a:gd name="connsiteX0" fmla="*/ 60624 w 66495"/>
                <a:gd name="connsiteY0" fmla="*/ 0 h 66495"/>
                <a:gd name="connsiteX1" fmla="*/ 66495 w 66495"/>
                <a:gd name="connsiteY1" fmla="*/ 5871 h 66495"/>
                <a:gd name="connsiteX2" fmla="*/ 66495 w 66495"/>
                <a:gd name="connsiteY2" fmla="*/ 60624 h 66495"/>
                <a:gd name="connsiteX3" fmla="*/ 60624 w 66495"/>
                <a:gd name="connsiteY3" fmla="*/ 66495 h 66495"/>
                <a:gd name="connsiteX4" fmla="*/ 5871 w 66495"/>
                <a:gd name="connsiteY4" fmla="*/ 66495 h 66495"/>
                <a:gd name="connsiteX5" fmla="*/ 0 w 66495"/>
                <a:gd name="connsiteY5" fmla="*/ 60624 h 66495"/>
                <a:gd name="connsiteX6" fmla="*/ 0 w 66495"/>
                <a:gd name="connsiteY6" fmla="*/ 5871 h 66495"/>
                <a:gd name="connsiteX7" fmla="*/ 5871 w 66495"/>
                <a:gd name="connsiteY7" fmla="*/ 0 h 66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6495" h="66495">
                  <a:moveTo>
                    <a:pt x="60624" y="0"/>
                  </a:moveTo>
                  <a:cubicBezTo>
                    <a:pt x="63866" y="0"/>
                    <a:pt x="66495" y="2629"/>
                    <a:pt x="66495" y="5871"/>
                  </a:cubicBezTo>
                  <a:lnTo>
                    <a:pt x="66495" y="60624"/>
                  </a:lnTo>
                  <a:cubicBezTo>
                    <a:pt x="66495" y="63867"/>
                    <a:pt x="63866" y="66495"/>
                    <a:pt x="60624" y="66495"/>
                  </a:cubicBezTo>
                  <a:lnTo>
                    <a:pt x="5871" y="66495"/>
                  </a:lnTo>
                  <a:cubicBezTo>
                    <a:pt x="2629" y="66495"/>
                    <a:pt x="0" y="63867"/>
                    <a:pt x="0" y="60624"/>
                  </a:cubicBezTo>
                  <a:lnTo>
                    <a:pt x="0" y="5871"/>
                  </a:lnTo>
                  <a:cubicBezTo>
                    <a:pt x="0" y="2629"/>
                    <a:pt x="2629" y="0"/>
                    <a:pt x="5871" y="0"/>
                  </a:cubicBezTo>
                  <a:close/>
                </a:path>
              </a:pathLst>
            </a:custGeom>
            <a:solidFill>
              <a:srgbClr val="00BD4D"/>
            </a:solidFill>
            <a:ln w="2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="0" i="0">
                <a:latin typeface="Lato" panose="020F0502020204030203" pitchFamily="34" charset="77"/>
              </a:endParaRP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C0D13220-7190-2187-3837-FFF14F8B9A4F}"/>
                </a:ext>
              </a:extLst>
            </p:cNvPr>
            <p:cNvGrpSpPr/>
            <p:nvPr userDrawn="1"/>
          </p:nvGrpSpPr>
          <p:grpSpPr>
            <a:xfrm>
              <a:off x="1028700" y="750209"/>
              <a:ext cx="1512805" cy="314241"/>
              <a:chOff x="1028700" y="750209"/>
              <a:chExt cx="1512805" cy="314241"/>
            </a:xfrm>
          </p:grpSpPr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9AA8953F-3A03-B804-2268-A9DC516DF2B1}"/>
                  </a:ext>
                </a:extLst>
              </p:cNvPr>
              <p:cNvSpPr/>
              <p:nvPr/>
            </p:nvSpPr>
            <p:spPr>
              <a:xfrm>
                <a:off x="2261186" y="839360"/>
                <a:ext cx="225862" cy="220615"/>
              </a:xfrm>
              <a:custGeom>
                <a:avLst/>
                <a:gdLst>
                  <a:gd name="connsiteX0" fmla="*/ 156123 w 225862"/>
                  <a:gd name="connsiteY0" fmla="*/ 110308 h 220615"/>
                  <a:gd name="connsiteX1" fmla="*/ 224920 w 225862"/>
                  <a:gd name="connsiteY1" fmla="*/ 212391 h 220615"/>
                  <a:gd name="connsiteX2" fmla="*/ 220187 w 225862"/>
                  <a:gd name="connsiteY2" fmla="*/ 220616 h 220615"/>
                  <a:gd name="connsiteX3" fmla="*/ 162382 w 225862"/>
                  <a:gd name="connsiteY3" fmla="*/ 220616 h 220615"/>
                  <a:gd name="connsiteX4" fmla="*/ 152709 w 225862"/>
                  <a:gd name="connsiteY4" fmla="*/ 215521 h 220615"/>
                  <a:gd name="connsiteX5" fmla="*/ 112931 w 225862"/>
                  <a:gd name="connsiteY5" fmla="*/ 154664 h 220615"/>
                  <a:gd name="connsiteX6" fmla="*/ 73153 w 225862"/>
                  <a:gd name="connsiteY6" fmla="*/ 215521 h 220615"/>
                  <a:gd name="connsiteX7" fmla="*/ 63480 w 225862"/>
                  <a:gd name="connsiteY7" fmla="*/ 220616 h 220615"/>
                  <a:gd name="connsiteX8" fmla="*/ 5675 w 225862"/>
                  <a:gd name="connsiteY8" fmla="*/ 220616 h 220615"/>
                  <a:gd name="connsiteX9" fmla="*/ 942 w 225862"/>
                  <a:gd name="connsiteY9" fmla="*/ 212391 h 220615"/>
                  <a:gd name="connsiteX10" fmla="*/ 69532 w 225862"/>
                  <a:gd name="connsiteY10" fmla="*/ 110308 h 220615"/>
                  <a:gd name="connsiteX11" fmla="*/ 942 w 225862"/>
                  <a:gd name="connsiteY11" fmla="*/ 8225 h 220615"/>
                  <a:gd name="connsiteX12" fmla="*/ 5675 w 225862"/>
                  <a:gd name="connsiteY12" fmla="*/ 0 h 220615"/>
                  <a:gd name="connsiteX13" fmla="*/ 65937 w 225862"/>
                  <a:gd name="connsiteY13" fmla="*/ 0 h 220615"/>
                  <a:gd name="connsiteX14" fmla="*/ 71472 w 225862"/>
                  <a:gd name="connsiteY14" fmla="*/ 2742 h 220615"/>
                  <a:gd name="connsiteX15" fmla="*/ 112905 w 225862"/>
                  <a:gd name="connsiteY15" fmla="*/ 65849 h 220615"/>
                  <a:gd name="connsiteX16" fmla="*/ 151804 w 225862"/>
                  <a:gd name="connsiteY16" fmla="*/ 2767 h 220615"/>
                  <a:gd name="connsiteX17" fmla="*/ 157339 w 225862"/>
                  <a:gd name="connsiteY17" fmla="*/ 0 h 220615"/>
                  <a:gd name="connsiteX18" fmla="*/ 218196 w 225862"/>
                  <a:gd name="connsiteY18" fmla="*/ 0 h 220615"/>
                  <a:gd name="connsiteX19" fmla="*/ 222929 w 225862"/>
                  <a:gd name="connsiteY19" fmla="*/ 8199 h 220615"/>
                  <a:gd name="connsiteX20" fmla="*/ 156072 w 225862"/>
                  <a:gd name="connsiteY20" fmla="*/ 110308 h 220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25862" h="220615">
                    <a:moveTo>
                      <a:pt x="156123" y="110308"/>
                    </a:moveTo>
                    <a:lnTo>
                      <a:pt x="224920" y="212391"/>
                    </a:lnTo>
                    <a:cubicBezTo>
                      <a:pt x="227403" y="215909"/>
                      <a:pt x="224687" y="220616"/>
                      <a:pt x="220187" y="220616"/>
                    </a:cubicBezTo>
                    <a:lnTo>
                      <a:pt x="162382" y="220616"/>
                    </a:lnTo>
                    <a:cubicBezTo>
                      <a:pt x="158529" y="220616"/>
                      <a:pt x="154908" y="218702"/>
                      <a:pt x="152709" y="215521"/>
                    </a:cubicBezTo>
                    <a:lnTo>
                      <a:pt x="112931" y="154664"/>
                    </a:lnTo>
                    <a:lnTo>
                      <a:pt x="73153" y="215521"/>
                    </a:lnTo>
                    <a:cubicBezTo>
                      <a:pt x="70955" y="218702"/>
                      <a:pt x="67360" y="220616"/>
                      <a:pt x="63480" y="220616"/>
                    </a:cubicBezTo>
                    <a:lnTo>
                      <a:pt x="5675" y="220616"/>
                    </a:lnTo>
                    <a:cubicBezTo>
                      <a:pt x="1175" y="220616"/>
                      <a:pt x="-1540" y="215935"/>
                      <a:pt x="942" y="212391"/>
                    </a:cubicBezTo>
                    <a:lnTo>
                      <a:pt x="69532" y="110308"/>
                    </a:lnTo>
                    <a:lnTo>
                      <a:pt x="942" y="8225"/>
                    </a:lnTo>
                    <a:cubicBezTo>
                      <a:pt x="-1540" y="4707"/>
                      <a:pt x="1175" y="0"/>
                      <a:pt x="5675" y="0"/>
                    </a:cubicBezTo>
                    <a:lnTo>
                      <a:pt x="65937" y="0"/>
                    </a:lnTo>
                    <a:cubicBezTo>
                      <a:pt x="68187" y="0"/>
                      <a:pt x="70282" y="1035"/>
                      <a:pt x="71472" y="2742"/>
                    </a:cubicBezTo>
                    <a:lnTo>
                      <a:pt x="112905" y="65849"/>
                    </a:lnTo>
                    <a:lnTo>
                      <a:pt x="151804" y="2767"/>
                    </a:lnTo>
                    <a:cubicBezTo>
                      <a:pt x="152968" y="1060"/>
                      <a:pt x="155089" y="0"/>
                      <a:pt x="157339" y="0"/>
                    </a:cubicBezTo>
                    <a:lnTo>
                      <a:pt x="218196" y="0"/>
                    </a:lnTo>
                    <a:cubicBezTo>
                      <a:pt x="222696" y="0"/>
                      <a:pt x="225386" y="4681"/>
                      <a:pt x="222929" y="8199"/>
                    </a:cubicBezTo>
                    <a:lnTo>
                      <a:pt x="156072" y="110308"/>
                    </a:lnTo>
                    <a:close/>
                  </a:path>
                </a:pathLst>
              </a:custGeom>
              <a:solidFill>
                <a:schemeClr val="bg1"/>
              </a:solidFill>
              <a:ln w="25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2EEC40B8-F0A5-B88F-BC49-85F37A260F6E}"/>
                  </a:ext>
                </a:extLst>
              </p:cNvPr>
              <p:cNvSpPr/>
              <p:nvPr/>
            </p:nvSpPr>
            <p:spPr>
              <a:xfrm>
                <a:off x="1335389" y="750209"/>
                <a:ext cx="149128" cy="309819"/>
              </a:xfrm>
              <a:custGeom>
                <a:avLst/>
                <a:gdLst>
                  <a:gd name="connsiteX0" fmla="*/ 143258 w 149128"/>
                  <a:gd name="connsiteY0" fmla="*/ 26 h 309819"/>
                  <a:gd name="connsiteX1" fmla="*/ 95307 w 149128"/>
                  <a:gd name="connsiteY1" fmla="*/ 26 h 309819"/>
                  <a:gd name="connsiteX2" fmla="*/ 82867 w 149128"/>
                  <a:gd name="connsiteY2" fmla="*/ 5173 h 309819"/>
                  <a:gd name="connsiteX3" fmla="*/ 37812 w 149128"/>
                  <a:gd name="connsiteY3" fmla="*/ 50227 h 309819"/>
                  <a:gd name="connsiteX4" fmla="*/ 32666 w 149128"/>
                  <a:gd name="connsiteY4" fmla="*/ 62667 h 309819"/>
                  <a:gd name="connsiteX5" fmla="*/ 32666 w 149128"/>
                  <a:gd name="connsiteY5" fmla="*/ 98126 h 309819"/>
                  <a:gd name="connsiteX6" fmla="*/ 5768 w 149128"/>
                  <a:gd name="connsiteY6" fmla="*/ 98126 h 309819"/>
                  <a:gd name="connsiteX7" fmla="*/ 0 w 149128"/>
                  <a:gd name="connsiteY7" fmla="*/ 103894 h 309819"/>
                  <a:gd name="connsiteX8" fmla="*/ 0 w 149128"/>
                  <a:gd name="connsiteY8" fmla="*/ 143698 h 309819"/>
                  <a:gd name="connsiteX9" fmla="*/ 5768 w 149128"/>
                  <a:gd name="connsiteY9" fmla="*/ 149465 h 309819"/>
                  <a:gd name="connsiteX10" fmla="*/ 32666 w 149128"/>
                  <a:gd name="connsiteY10" fmla="*/ 149465 h 309819"/>
                  <a:gd name="connsiteX11" fmla="*/ 32666 w 149128"/>
                  <a:gd name="connsiteY11" fmla="*/ 303948 h 309819"/>
                  <a:gd name="connsiteX12" fmla="*/ 38537 w 149128"/>
                  <a:gd name="connsiteY12" fmla="*/ 309819 h 309819"/>
                  <a:gd name="connsiteX13" fmla="*/ 89125 w 149128"/>
                  <a:gd name="connsiteY13" fmla="*/ 309819 h 309819"/>
                  <a:gd name="connsiteX14" fmla="*/ 94997 w 149128"/>
                  <a:gd name="connsiteY14" fmla="*/ 303948 h 309819"/>
                  <a:gd name="connsiteX15" fmla="*/ 94997 w 149128"/>
                  <a:gd name="connsiteY15" fmla="*/ 149439 h 309819"/>
                  <a:gd name="connsiteX16" fmla="*/ 135162 w 149128"/>
                  <a:gd name="connsiteY16" fmla="*/ 149439 h 309819"/>
                  <a:gd name="connsiteX17" fmla="*/ 140930 w 149128"/>
                  <a:gd name="connsiteY17" fmla="*/ 143672 h 309819"/>
                  <a:gd name="connsiteX18" fmla="*/ 140930 w 149128"/>
                  <a:gd name="connsiteY18" fmla="*/ 103868 h 309819"/>
                  <a:gd name="connsiteX19" fmla="*/ 135162 w 149128"/>
                  <a:gd name="connsiteY19" fmla="*/ 98100 h 309819"/>
                  <a:gd name="connsiteX20" fmla="*/ 94997 w 149128"/>
                  <a:gd name="connsiteY20" fmla="*/ 98100 h 309819"/>
                  <a:gd name="connsiteX21" fmla="*/ 94997 w 149128"/>
                  <a:gd name="connsiteY21" fmla="*/ 72961 h 309819"/>
                  <a:gd name="connsiteX22" fmla="*/ 112584 w 149128"/>
                  <a:gd name="connsiteY22" fmla="*/ 55374 h 309819"/>
                  <a:gd name="connsiteX23" fmla="*/ 143258 w 149128"/>
                  <a:gd name="connsiteY23" fmla="*/ 55374 h 309819"/>
                  <a:gd name="connsiteX24" fmla="*/ 149129 w 149128"/>
                  <a:gd name="connsiteY24" fmla="*/ 49503 h 309819"/>
                  <a:gd name="connsiteX25" fmla="*/ 149129 w 149128"/>
                  <a:gd name="connsiteY25" fmla="*/ 5871 h 309819"/>
                  <a:gd name="connsiteX26" fmla="*/ 143258 w 149128"/>
                  <a:gd name="connsiteY26" fmla="*/ 0 h 309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49128" h="309819">
                    <a:moveTo>
                      <a:pt x="143258" y="26"/>
                    </a:moveTo>
                    <a:lnTo>
                      <a:pt x="95307" y="26"/>
                    </a:lnTo>
                    <a:cubicBezTo>
                      <a:pt x="90651" y="26"/>
                      <a:pt x="86177" y="1888"/>
                      <a:pt x="82867" y="5173"/>
                    </a:cubicBezTo>
                    <a:lnTo>
                      <a:pt x="37812" y="50227"/>
                    </a:lnTo>
                    <a:cubicBezTo>
                      <a:pt x="34502" y="53537"/>
                      <a:pt x="32666" y="58012"/>
                      <a:pt x="32666" y="62667"/>
                    </a:cubicBezTo>
                    <a:lnTo>
                      <a:pt x="32666" y="98126"/>
                    </a:lnTo>
                    <a:lnTo>
                      <a:pt x="5768" y="98126"/>
                    </a:lnTo>
                    <a:cubicBezTo>
                      <a:pt x="2586" y="98126"/>
                      <a:pt x="0" y="100713"/>
                      <a:pt x="0" y="103894"/>
                    </a:cubicBezTo>
                    <a:lnTo>
                      <a:pt x="0" y="143698"/>
                    </a:lnTo>
                    <a:cubicBezTo>
                      <a:pt x="0" y="146879"/>
                      <a:pt x="2586" y="149465"/>
                      <a:pt x="5768" y="149465"/>
                    </a:cubicBezTo>
                    <a:lnTo>
                      <a:pt x="32666" y="149465"/>
                    </a:lnTo>
                    <a:lnTo>
                      <a:pt x="32666" y="303948"/>
                    </a:lnTo>
                    <a:cubicBezTo>
                      <a:pt x="32666" y="307181"/>
                      <a:pt x="35304" y="309819"/>
                      <a:pt x="38537" y="309819"/>
                    </a:cubicBezTo>
                    <a:lnTo>
                      <a:pt x="89125" y="309819"/>
                    </a:lnTo>
                    <a:cubicBezTo>
                      <a:pt x="92358" y="309819"/>
                      <a:pt x="94997" y="307181"/>
                      <a:pt x="94997" y="303948"/>
                    </a:cubicBezTo>
                    <a:lnTo>
                      <a:pt x="94997" y="149439"/>
                    </a:lnTo>
                    <a:lnTo>
                      <a:pt x="135162" y="149439"/>
                    </a:lnTo>
                    <a:cubicBezTo>
                      <a:pt x="138344" y="149439"/>
                      <a:pt x="140930" y="146853"/>
                      <a:pt x="140930" y="143672"/>
                    </a:cubicBezTo>
                    <a:lnTo>
                      <a:pt x="140930" y="103868"/>
                    </a:lnTo>
                    <a:cubicBezTo>
                      <a:pt x="140930" y="100687"/>
                      <a:pt x="138344" y="98100"/>
                      <a:pt x="135162" y="98100"/>
                    </a:cubicBezTo>
                    <a:lnTo>
                      <a:pt x="94997" y="98100"/>
                    </a:lnTo>
                    <a:lnTo>
                      <a:pt x="94997" y="72961"/>
                    </a:lnTo>
                    <a:cubicBezTo>
                      <a:pt x="94997" y="63236"/>
                      <a:pt x="102885" y="55374"/>
                      <a:pt x="112584" y="55374"/>
                    </a:cubicBezTo>
                    <a:lnTo>
                      <a:pt x="143258" y="55374"/>
                    </a:lnTo>
                    <a:cubicBezTo>
                      <a:pt x="146491" y="55374"/>
                      <a:pt x="149129" y="52736"/>
                      <a:pt x="149129" y="49503"/>
                    </a:cubicBezTo>
                    <a:lnTo>
                      <a:pt x="149129" y="5871"/>
                    </a:lnTo>
                    <a:cubicBezTo>
                      <a:pt x="149129" y="2638"/>
                      <a:pt x="146491" y="0"/>
                      <a:pt x="14325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25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72F9FB43-65BC-8012-853C-3FCA767B8255}"/>
                  </a:ext>
                </a:extLst>
              </p:cNvPr>
              <p:cNvSpPr/>
              <p:nvPr/>
            </p:nvSpPr>
            <p:spPr>
              <a:xfrm>
                <a:off x="2492960" y="1014870"/>
                <a:ext cx="48545" cy="48545"/>
              </a:xfrm>
              <a:custGeom>
                <a:avLst/>
                <a:gdLst>
                  <a:gd name="connsiteX0" fmla="*/ 48546 w 48545"/>
                  <a:gd name="connsiteY0" fmla="*/ 24234 h 48545"/>
                  <a:gd name="connsiteX1" fmla="*/ 24182 w 48545"/>
                  <a:gd name="connsiteY1" fmla="*/ 48546 h 48545"/>
                  <a:gd name="connsiteX2" fmla="*/ 0 w 48545"/>
                  <a:gd name="connsiteY2" fmla="*/ 24234 h 48545"/>
                  <a:gd name="connsiteX3" fmla="*/ 24260 w 48545"/>
                  <a:gd name="connsiteY3" fmla="*/ 0 h 48545"/>
                  <a:gd name="connsiteX4" fmla="*/ 48520 w 48545"/>
                  <a:gd name="connsiteY4" fmla="*/ 24234 h 48545"/>
                  <a:gd name="connsiteX5" fmla="*/ 44821 w 48545"/>
                  <a:gd name="connsiteY5" fmla="*/ 24338 h 48545"/>
                  <a:gd name="connsiteX6" fmla="*/ 24286 w 48545"/>
                  <a:gd name="connsiteY6" fmla="*/ 3466 h 48545"/>
                  <a:gd name="connsiteX7" fmla="*/ 3750 w 48545"/>
                  <a:gd name="connsiteY7" fmla="*/ 24312 h 48545"/>
                  <a:gd name="connsiteX8" fmla="*/ 24182 w 48545"/>
                  <a:gd name="connsiteY8" fmla="*/ 45132 h 48545"/>
                  <a:gd name="connsiteX9" fmla="*/ 44821 w 48545"/>
                  <a:gd name="connsiteY9" fmla="*/ 24338 h 48545"/>
                  <a:gd name="connsiteX10" fmla="*/ 29484 w 48545"/>
                  <a:gd name="connsiteY10" fmla="*/ 28165 h 48545"/>
                  <a:gd name="connsiteX11" fmla="*/ 35588 w 48545"/>
                  <a:gd name="connsiteY11" fmla="*/ 37657 h 48545"/>
                  <a:gd name="connsiteX12" fmla="*/ 31553 w 48545"/>
                  <a:gd name="connsiteY12" fmla="*/ 37657 h 48545"/>
                  <a:gd name="connsiteX13" fmla="*/ 24777 w 48545"/>
                  <a:gd name="connsiteY13" fmla="*/ 26898 h 48545"/>
                  <a:gd name="connsiteX14" fmla="*/ 18596 w 48545"/>
                  <a:gd name="connsiteY14" fmla="*/ 26898 h 48545"/>
                  <a:gd name="connsiteX15" fmla="*/ 18596 w 48545"/>
                  <a:gd name="connsiteY15" fmla="*/ 37657 h 48545"/>
                  <a:gd name="connsiteX16" fmla="*/ 15208 w 48545"/>
                  <a:gd name="connsiteY16" fmla="*/ 37657 h 48545"/>
                  <a:gd name="connsiteX17" fmla="*/ 15208 w 48545"/>
                  <a:gd name="connsiteY17" fmla="*/ 10449 h 48545"/>
                  <a:gd name="connsiteX18" fmla="*/ 25760 w 48545"/>
                  <a:gd name="connsiteY18" fmla="*/ 10449 h 48545"/>
                  <a:gd name="connsiteX19" fmla="*/ 34347 w 48545"/>
                  <a:gd name="connsiteY19" fmla="*/ 18467 h 48545"/>
                  <a:gd name="connsiteX20" fmla="*/ 28165 w 48545"/>
                  <a:gd name="connsiteY20" fmla="*/ 26329 h 48545"/>
                  <a:gd name="connsiteX21" fmla="*/ 29484 w 48545"/>
                  <a:gd name="connsiteY21" fmla="*/ 28191 h 48545"/>
                  <a:gd name="connsiteX22" fmla="*/ 24622 w 48545"/>
                  <a:gd name="connsiteY22" fmla="*/ 23691 h 48545"/>
                  <a:gd name="connsiteX23" fmla="*/ 30803 w 48545"/>
                  <a:gd name="connsiteY23" fmla="*/ 18673 h 48545"/>
                  <a:gd name="connsiteX24" fmla="*/ 25838 w 48545"/>
                  <a:gd name="connsiteY24" fmla="*/ 13604 h 48545"/>
                  <a:gd name="connsiteX25" fmla="*/ 18570 w 48545"/>
                  <a:gd name="connsiteY25" fmla="*/ 13604 h 48545"/>
                  <a:gd name="connsiteX26" fmla="*/ 18570 w 48545"/>
                  <a:gd name="connsiteY26" fmla="*/ 23665 h 48545"/>
                  <a:gd name="connsiteX27" fmla="*/ 24622 w 48545"/>
                  <a:gd name="connsiteY27" fmla="*/ 23665 h 48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48545" h="48545">
                    <a:moveTo>
                      <a:pt x="48546" y="24234"/>
                    </a:moveTo>
                    <a:cubicBezTo>
                      <a:pt x="48546" y="37735"/>
                      <a:pt x="37735" y="48546"/>
                      <a:pt x="24182" y="48546"/>
                    </a:cubicBezTo>
                    <a:cubicBezTo>
                      <a:pt x="10630" y="48546"/>
                      <a:pt x="0" y="37631"/>
                      <a:pt x="0" y="24234"/>
                    </a:cubicBezTo>
                    <a:cubicBezTo>
                      <a:pt x="0" y="10837"/>
                      <a:pt x="10811" y="0"/>
                      <a:pt x="24260" y="0"/>
                    </a:cubicBezTo>
                    <a:cubicBezTo>
                      <a:pt x="37709" y="0"/>
                      <a:pt x="48520" y="10759"/>
                      <a:pt x="48520" y="24234"/>
                    </a:cubicBezTo>
                    <a:close/>
                    <a:moveTo>
                      <a:pt x="44821" y="24338"/>
                    </a:moveTo>
                    <a:cubicBezTo>
                      <a:pt x="44821" y="12699"/>
                      <a:pt x="35640" y="3466"/>
                      <a:pt x="24286" y="3466"/>
                    </a:cubicBezTo>
                    <a:cubicBezTo>
                      <a:pt x="12932" y="3466"/>
                      <a:pt x="3750" y="12596"/>
                      <a:pt x="3750" y="24312"/>
                    </a:cubicBezTo>
                    <a:cubicBezTo>
                      <a:pt x="3750" y="36028"/>
                      <a:pt x="13035" y="45132"/>
                      <a:pt x="24182" y="45132"/>
                    </a:cubicBezTo>
                    <a:cubicBezTo>
                      <a:pt x="35329" y="45132"/>
                      <a:pt x="44821" y="35950"/>
                      <a:pt x="44821" y="24338"/>
                    </a:cubicBezTo>
                    <a:close/>
                    <a:moveTo>
                      <a:pt x="29484" y="28165"/>
                    </a:moveTo>
                    <a:lnTo>
                      <a:pt x="35588" y="37657"/>
                    </a:lnTo>
                    <a:lnTo>
                      <a:pt x="31553" y="37657"/>
                    </a:lnTo>
                    <a:lnTo>
                      <a:pt x="24777" y="26898"/>
                    </a:lnTo>
                    <a:lnTo>
                      <a:pt x="18596" y="26898"/>
                    </a:lnTo>
                    <a:lnTo>
                      <a:pt x="18596" y="37657"/>
                    </a:lnTo>
                    <a:lnTo>
                      <a:pt x="15208" y="37657"/>
                    </a:lnTo>
                    <a:lnTo>
                      <a:pt x="15208" y="10449"/>
                    </a:lnTo>
                    <a:lnTo>
                      <a:pt x="25760" y="10449"/>
                    </a:lnTo>
                    <a:cubicBezTo>
                      <a:pt x="30958" y="10449"/>
                      <a:pt x="34347" y="13242"/>
                      <a:pt x="34347" y="18467"/>
                    </a:cubicBezTo>
                    <a:cubicBezTo>
                      <a:pt x="34347" y="22682"/>
                      <a:pt x="31786" y="25295"/>
                      <a:pt x="28165" y="26329"/>
                    </a:cubicBezTo>
                    <a:cubicBezTo>
                      <a:pt x="28657" y="26872"/>
                      <a:pt x="29148" y="27545"/>
                      <a:pt x="29484" y="28191"/>
                    </a:cubicBezTo>
                    <a:close/>
                    <a:moveTo>
                      <a:pt x="24622" y="23691"/>
                    </a:moveTo>
                    <a:cubicBezTo>
                      <a:pt x="28450" y="23691"/>
                      <a:pt x="30803" y="21881"/>
                      <a:pt x="30803" y="18673"/>
                    </a:cubicBezTo>
                    <a:cubicBezTo>
                      <a:pt x="30803" y="15466"/>
                      <a:pt x="29174" y="13604"/>
                      <a:pt x="25838" y="13604"/>
                    </a:cubicBezTo>
                    <a:lnTo>
                      <a:pt x="18570" y="13604"/>
                    </a:lnTo>
                    <a:lnTo>
                      <a:pt x="18570" y="23665"/>
                    </a:lnTo>
                    <a:lnTo>
                      <a:pt x="24622" y="23665"/>
                    </a:lnTo>
                    <a:close/>
                  </a:path>
                </a:pathLst>
              </a:custGeom>
              <a:solidFill>
                <a:schemeClr val="bg1"/>
              </a:solidFill>
              <a:ln w="25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445F6095-A9BE-720E-49C9-5BAADBE2EC26}"/>
                  </a:ext>
                </a:extLst>
              </p:cNvPr>
              <p:cNvSpPr/>
              <p:nvPr/>
            </p:nvSpPr>
            <p:spPr>
              <a:xfrm>
                <a:off x="1971113" y="750235"/>
                <a:ext cx="62305" cy="309741"/>
              </a:xfrm>
              <a:custGeom>
                <a:avLst/>
                <a:gdLst>
                  <a:gd name="connsiteX0" fmla="*/ 56434 w 62305"/>
                  <a:gd name="connsiteY0" fmla="*/ 0 h 309741"/>
                  <a:gd name="connsiteX1" fmla="*/ 62305 w 62305"/>
                  <a:gd name="connsiteY1" fmla="*/ 5871 h 309741"/>
                  <a:gd name="connsiteX2" fmla="*/ 62305 w 62305"/>
                  <a:gd name="connsiteY2" fmla="*/ 303871 h 309741"/>
                  <a:gd name="connsiteX3" fmla="*/ 56434 w 62305"/>
                  <a:gd name="connsiteY3" fmla="*/ 309742 h 309741"/>
                  <a:gd name="connsiteX4" fmla="*/ 5871 w 62305"/>
                  <a:gd name="connsiteY4" fmla="*/ 309742 h 309741"/>
                  <a:gd name="connsiteX5" fmla="*/ 0 w 62305"/>
                  <a:gd name="connsiteY5" fmla="*/ 303871 h 309741"/>
                  <a:gd name="connsiteX6" fmla="*/ 0 w 62305"/>
                  <a:gd name="connsiteY6" fmla="*/ 5871 h 309741"/>
                  <a:gd name="connsiteX7" fmla="*/ 5871 w 62305"/>
                  <a:gd name="connsiteY7" fmla="*/ 0 h 309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305" h="309741">
                    <a:moveTo>
                      <a:pt x="56434" y="0"/>
                    </a:moveTo>
                    <a:cubicBezTo>
                      <a:pt x="59677" y="0"/>
                      <a:pt x="62305" y="2629"/>
                      <a:pt x="62305" y="5871"/>
                    </a:cubicBezTo>
                    <a:lnTo>
                      <a:pt x="62305" y="303871"/>
                    </a:lnTo>
                    <a:cubicBezTo>
                      <a:pt x="62305" y="307113"/>
                      <a:pt x="59677" y="309742"/>
                      <a:pt x="56434" y="309742"/>
                    </a:cubicBezTo>
                    <a:lnTo>
                      <a:pt x="5871" y="309742"/>
                    </a:lnTo>
                    <a:cubicBezTo>
                      <a:pt x="2629" y="309742"/>
                      <a:pt x="0" y="307113"/>
                      <a:pt x="0" y="303871"/>
                    </a:cubicBezTo>
                    <a:lnTo>
                      <a:pt x="0" y="5871"/>
                    </a:lnTo>
                    <a:cubicBezTo>
                      <a:pt x="0" y="2629"/>
                      <a:pt x="2629" y="0"/>
                      <a:pt x="587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25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62DA2D81-F17A-A9C8-7933-71E263BD2EED}"/>
                  </a:ext>
                </a:extLst>
              </p:cNvPr>
              <p:cNvSpPr/>
              <p:nvPr/>
            </p:nvSpPr>
            <p:spPr>
              <a:xfrm>
                <a:off x="1720496" y="750209"/>
                <a:ext cx="233909" cy="314215"/>
              </a:xfrm>
              <a:custGeom>
                <a:avLst/>
                <a:gdLst>
                  <a:gd name="connsiteX0" fmla="*/ 130042 w 233909"/>
                  <a:gd name="connsiteY0" fmla="*/ 84496 h 314215"/>
                  <a:gd name="connsiteX1" fmla="*/ 62331 w 233909"/>
                  <a:gd name="connsiteY1" fmla="*/ 117395 h 314215"/>
                  <a:gd name="connsiteX2" fmla="*/ 62331 w 233909"/>
                  <a:gd name="connsiteY2" fmla="*/ 5871 h 314215"/>
                  <a:gd name="connsiteX3" fmla="*/ 56460 w 233909"/>
                  <a:gd name="connsiteY3" fmla="*/ 0 h 314215"/>
                  <a:gd name="connsiteX4" fmla="*/ 5871 w 233909"/>
                  <a:gd name="connsiteY4" fmla="*/ 0 h 314215"/>
                  <a:gd name="connsiteX5" fmla="*/ 0 w 233909"/>
                  <a:gd name="connsiteY5" fmla="*/ 5871 h 314215"/>
                  <a:gd name="connsiteX6" fmla="*/ 0 w 233909"/>
                  <a:gd name="connsiteY6" fmla="*/ 303896 h 314215"/>
                  <a:gd name="connsiteX7" fmla="*/ 5871 w 233909"/>
                  <a:gd name="connsiteY7" fmla="*/ 309767 h 314215"/>
                  <a:gd name="connsiteX8" fmla="*/ 56460 w 233909"/>
                  <a:gd name="connsiteY8" fmla="*/ 309767 h 314215"/>
                  <a:gd name="connsiteX9" fmla="*/ 62331 w 233909"/>
                  <a:gd name="connsiteY9" fmla="*/ 303896 h 314215"/>
                  <a:gd name="connsiteX10" fmla="*/ 62331 w 233909"/>
                  <a:gd name="connsiteY10" fmla="*/ 281938 h 314215"/>
                  <a:gd name="connsiteX11" fmla="*/ 130507 w 233909"/>
                  <a:gd name="connsiteY11" fmla="*/ 314216 h 314215"/>
                  <a:gd name="connsiteX12" fmla="*/ 233909 w 233909"/>
                  <a:gd name="connsiteY12" fmla="*/ 199666 h 314215"/>
                  <a:gd name="connsiteX13" fmla="*/ 130067 w 233909"/>
                  <a:gd name="connsiteY13" fmla="*/ 84496 h 314215"/>
                  <a:gd name="connsiteX14" fmla="*/ 117653 w 233909"/>
                  <a:gd name="connsiteY14" fmla="*/ 255713 h 314215"/>
                  <a:gd name="connsiteX15" fmla="*/ 62331 w 233909"/>
                  <a:gd name="connsiteY15" fmla="*/ 199692 h 314215"/>
                  <a:gd name="connsiteX16" fmla="*/ 117653 w 233909"/>
                  <a:gd name="connsiteY16" fmla="*/ 144112 h 314215"/>
                  <a:gd name="connsiteX17" fmla="*/ 172095 w 233909"/>
                  <a:gd name="connsiteY17" fmla="*/ 199692 h 314215"/>
                  <a:gd name="connsiteX18" fmla="*/ 117653 w 233909"/>
                  <a:gd name="connsiteY18" fmla="*/ 255713 h 3142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33909" h="314215">
                    <a:moveTo>
                      <a:pt x="130042" y="84496"/>
                    </a:moveTo>
                    <a:cubicBezTo>
                      <a:pt x="101281" y="84496"/>
                      <a:pt x="77358" y="96962"/>
                      <a:pt x="62331" y="117395"/>
                    </a:cubicBezTo>
                    <a:lnTo>
                      <a:pt x="62331" y="5871"/>
                    </a:lnTo>
                    <a:cubicBezTo>
                      <a:pt x="62331" y="2638"/>
                      <a:pt x="59693" y="0"/>
                      <a:pt x="56460" y="0"/>
                    </a:cubicBezTo>
                    <a:lnTo>
                      <a:pt x="5871" y="0"/>
                    </a:lnTo>
                    <a:cubicBezTo>
                      <a:pt x="2638" y="0"/>
                      <a:pt x="0" y="2638"/>
                      <a:pt x="0" y="5871"/>
                    </a:cubicBezTo>
                    <a:lnTo>
                      <a:pt x="0" y="303896"/>
                    </a:lnTo>
                    <a:cubicBezTo>
                      <a:pt x="0" y="307129"/>
                      <a:pt x="2638" y="309767"/>
                      <a:pt x="5871" y="309767"/>
                    </a:cubicBezTo>
                    <a:lnTo>
                      <a:pt x="56460" y="309767"/>
                    </a:lnTo>
                    <a:cubicBezTo>
                      <a:pt x="59693" y="309767"/>
                      <a:pt x="62331" y="307129"/>
                      <a:pt x="62331" y="303896"/>
                    </a:cubicBezTo>
                    <a:lnTo>
                      <a:pt x="62331" y="281938"/>
                    </a:lnTo>
                    <a:cubicBezTo>
                      <a:pt x="77383" y="302396"/>
                      <a:pt x="101281" y="314216"/>
                      <a:pt x="130507" y="314216"/>
                    </a:cubicBezTo>
                    <a:cubicBezTo>
                      <a:pt x="192036" y="314216"/>
                      <a:pt x="233909" y="264584"/>
                      <a:pt x="233909" y="199666"/>
                    </a:cubicBezTo>
                    <a:cubicBezTo>
                      <a:pt x="233909" y="134749"/>
                      <a:pt x="192036" y="84496"/>
                      <a:pt x="130067" y="84496"/>
                    </a:cubicBezTo>
                    <a:close/>
                    <a:moveTo>
                      <a:pt x="117653" y="255713"/>
                    </a:moveTo>
                    <a:cubicBezTo>
                      <a:pt x="85789" y="255713"/>
                      <a:pt x="62331" y="229927"/>
                      <a:pt x="62331" y="199692"/>
                    </a:cubicBezTo>
                    <a:cubicBezTo>
                      <a:pt x="62331" y="169458"/>
                      <a:pt x="85789" y="144112"/>
                      <a:pt x="117653" y="144112"/>
                    </a:cubicBezTo>
                    <a:cubicBezTo>
                      <a:pt x="149517" y="144112"/>
                      <a:pt x="172095" y="169458"/>
                      <a:pt x="172095" y="199692"/>
                    </a:cubicBezTo>
                    <a:cubicBezTo>
                      <a:pt x="172095" y="229927"/>
                      <a:pt x="149077" y="255713"/>
                      <a:pt x="117653" y="255713"/>
                    </a:cubicBezTo>
                    <a:close/>
                  </a:path>
                </a:pathLst>
              </a:custGeom>
              <a:solidFill>
                <a:schemeClr val="bg1"/>
              </a:solidFill>
              <a:ln w="25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F68C6CEE-57DF-EF8A-BC84-3359F77FE08B}"/>
                  </a:ext>
                </a:extLst>
              </p:cNvPr>
              <p:cNvSpPr/>
              <p:nvPr/>
            </p:nvSpPr>
            <p:spPr>
              <a:xfrm>
                <a:off x="1476319" y="834705"/>
                <a:ext cx="227805" cy="229745"/>
              </a:xfrm>
              <a:custGeom>
                <a:avLst/>
                <a:gdLst>
                  <a:gd name="connsiteX0" fmla="*/ 113903 w 227805"/>
                  <a:gd name="connsiteY0" fmla="*/ 0 h 229745"/>
                  <a:gd name="connsiteX1" fmla="*/ 0 w 227805"/>
                  <a:gd name="connsiteY1" fmla="*/ 114653 h 229745"/>
                  <a:gd name="connsiteX2" fmla="*/ 113903 w 227805"/>
                  <a:gd name="connsiteY2" fmla="*/ 229746 h 229745"/>
                  <a:gd name="connsiteX3" fmla="*/ 227805 w 227805"/>
                  <a:gd name="connsiteY3" fmla="*/ 114653 h 229745"/>
                  <a:gd name="connsiteX4" fmla="*/ 113903 w 227805"/>
                  <a:gd name="connsiteY4" fmla="*/ 0 h 229745"/>
                  <a:gd name="connsiteX5" fmla="*/ 114135 w 227805"/>
                  <a:gd name="connsiteY5" fmla="*/ 170596 h 229745"/>
                  <a:gd name="connsiteX6" fmla="*/ 59150 w 227805"/>
                  <a:gd name="connsiteY6" fmla="*/ 114653 h 229745"/>
                  <a:gd name="connsiteX7" fmla="*/ 114135 w 227805"/>
                  <a:gd name="connsiteY7" fmla="*/ 59150 h 229745"/>
                  <a:gd name="connsiteX8" fmla="*/ 168682 w 227805"/>
                  <a:gd name="connsiteY8" fmla="*/ 114653 h 229745"/>
                  <a:gd name="connsiteX9" fmla="*/ 114135 w 227805"/>
                  <a:gd name="connsiteY9" fmla="*/ 170596 h 229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7805" h="229745">
                    <a:moveTo>
                      <a:pt x="113903" y="0"/>
                    </a:moveTo>
                    <a:cubicBezTo>
                      <a:pt x="49710" y="0"/>
                      <a:pt x="0" y="50020"/>
                      <a:pt x="0" y="114653"/>
                    </a:cubicBezTo>
                    <a:cubicBezTo>
                      <a:pt x="0" y="179286"/>
                      <a:pt x="49684" y="229746"/>
                      <a:pt x="113903" y="229746"/>
                    </a:cubicBezTo>
                    <a:cubicBezTo>
                      <a:pt x="178122" y="229746"/>
                      <a:pt x="227805" y="179286"/>
                      <a:pt x="227805" y="114653"/>
                    </a:cubicBezTo>
                    <a:cubicBezTo>
                      <a:pt x="227805" y="50020"/>
                      <a:pt x="178122" y="0"/>
                      <a:pt x="113903" y="0"/>
                    </a:cubicBezTo>
                    <a:close/>
                    <a:moveTo>
                      <a:pt x="114135" y="170596"/>
                    </a:moveTo>
                    <a:cubicBezTo>
                      <a:pt x="82789" y="170596"/>
                      <a:pt x="59150" y="145043"/>
                      <a:pt x="59150" y="114653"/>
                    </a:cubicBezTo>
                    <a:cubicBezTo>
                      <a:pt x="59150" y="84263"/>
                      <a:pt x="82789" y="59150"/>
                      <a:pt x="114135" y="59150"/>
                    </a:cubicBezTo>
                    <a:cubicBezTo>
                      <a:pt x="145482" y="59150"/>
                      <a:pt x="168682" y="84263"/>
                      <a:pt x="168682" y="114653"/>
                    </a:cubicBezTo>
                    <a:cubicBezTo>
                      <a:pt x="168682" y="145043"/>
                      <a:pt x="145948" y="170596"/>
                      <a:pt x="114135" y="170596"/>
                    </a:cubicBezTo>
                    <a:close/>
                  </a:path>
                </a:pathLst>
              </a:custGeom>
              <a:solidFill>
                <a:schemeClr val="bg1"/>
              </a:solidFill>
              <a:ln w="25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F8A35055-4568-4D6F-4073-999FD26F557D}"/>
                  </a:ext>
                </a:extLst>
              </p:cNvPr>
              <p:cNvSpPr/>
              <p:nvPr/>
            </p:nvSpPr>
            <p:spPr>
              <a:xfrm>
                <a:off x="2049789" y="834705"/>
                <a:ext cx="227805" cy="229745"/>
              </a:xfrm>
              <a:custGeom>
                <a:avLst/>
                <a:gdLst>
                  <a:gd name="connsiteX0" fmla="*/ 113903 w 227805"/>
                  <a:gd name="connsiteY0" fmla="*/ 0 h 229745"/>
                  <a:gd name="connsiteX1" fmla="*/ 0 w 227805"/>
                  <a:gd name="connsiteY1" fmla="*/ 114653 h 229745"/>
                  <a:gd name="connsiteX2" fmla="*/ 113903 w 227805"/>
                  <a:gd name="connsiteY2" fmla="*/ 229746 h 229745"/>
                  <a:gd name="connsiteX3" fmla="*/ 227805 w 227805"/>
                  <a:gd name="connsiteY3" fmla="*/ 114653 h 229745"/>
                  <a:gd name="connsiteX4" fmla="*/ 113903 w 227805"/>
                  <a:gd name="connsiteY4" fmla="*/ 0 h 229745"/>
                  <a:gd name="connsiteX5" fmla="*/ 114136 w 227805"/>
                  <a:gd name="connsiteY5" fmla="*/ 170596 h 229745"/>
                  <a:gd name="connsiteX6" fmla="*/ 59150 w 227805"/>
                  <a:gd name="connsiteY6" fmla="*/ 114653 h 229745"/>
                  <a:gd name="connsiteX7" fmla="*/ 114136 w 227805"/>
                  <a:gd name="connsiteY7" fmla="*/ 59150 h 229745"/>
                  <a:gd name="connsiteX8" fmla="*/ 168682 w 227805"/>
                  <a:gd name="connsiteY8" fmla="*/ 114653 h 229745"/>
                  <a:gd name="connsiteX9" fmla="*/ 114136 w 227805"/>
                  <a:gd name="connsiteY9" fmla="*/ 170596 h 229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7805" h="229745">
                    <a:moveTo>
                      <a:pt x="113903" y="0"/>
                    </a:moveTo>
                    <a:cubicBezTo>
                      <a:pt x="49710" y="0"/>
                      <a:pt x="0" y="50020"/>
                      <a:pt x="0" y="114653"/>
                    </a:cubicBezTo>
                    <a:cubicBezTo>
                      <a:pt x="0" y="179286"/>
                      <a:pt x="49684" y="229746"/>
                      <a:pt x="113903" y="229746"/>
                    </a:cubicBezTo>
                    <a:cubicBezTo>
                      <a:pt x="178122" y="229746"/>
                      <a:pt x="227805" y="179286"/>
                      <a:pt x="227805" y="114653"/>
                    </a:cubicBezTo>
                    <a:cubicBezTo>
                      <a:pt x="227805" y="50020"/>
                      <a:pt x="178122" y="0"/>
                      <a:pt x="113903" y="0"/>
                    </a:cubicBezTo>
                    <a:close/>
                    <a:moveTo>
                      <a:pt x="114136" y="170596"/>
                    </a:moveTo>
                    <a:cubicBezTo>
                      <a:pt x="82789" y="170596"/>
                      <a:pt x="59150" y="145043"/>
                      <a:pt x="59150" y="114653"/>
                    </a:cubicBezTo>
                    <a:cubicBezTo>
                      <a:pt x="59150" y="84263"/>
                      <a:pt x="82789" y="59150"/>
                      <a:pt x="114136" y="59150"/>
                    </a:cubicBezTo>
                    <a:cubicBezTo>
                      <a:pt x="145482" y="59150"/>
                      <a:pt x="168682" y="84263"/>
                      <a:pt x="168682" y="114653"/>
                    </a:cubicBezTo>
                    <a:cubicBezTo>
                      <a:pt x="168682" y="145043"/>
                      <a:pt x="145948" y="170596"/>
                      <a:pt x="114136" y="170596"/>
                    </a:cubicBezTo>
                    <a:close/>
                  </a:path>
                </a:pathLst>
              </a:custGeom>
              <a:solidFill>
                <a:schemeClr val="bg1"/>
              </a:solidFill>
              <a:ln w="25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3E0F3584-C848-1E41-8C89-A7A605670C45}"/>
                  </a:ext>
                </a:extLst>
              </p:cNvPr>
              <p:cNvSpPr/>
              <p:nvPr/>
            </p:nvSpPr>
            <p:spPr>
              <a:xfrm>
                <a:off x="1028700" y="839231"/>
                <a:ext cx="62305" cy="220744"/>
              </a:xfrm>
              <a:custGeom>
                <a:avLst/>
                <a:gdLst>
                  <a:gd name="connsiteX0" fmla="*/ 56460 w 62305"/>
                  <a:gd name="connsiteY0" fmla="*/ 220745 h 220744"/>
                  <a:gd name="connsiteX1" fmla="*/ 5871 w 62305"/>
                  <a:gd name="connsiteY1" fmla="*/ 220745 h 220744"/>
                  <a:gd name="connsiteX2" fmla="*/ 0 w 62305"/>
                  <a:gd name="connsiteY2" fmla="*/ 214874 h 220744"/>
                  <a:gd name="connsiteX3" fmla="*/ 0 w 62305"/>
                  <a:gd name="connsiteY3" fmla="*/ 57805 h 220744"/>
                  <a:gd name="connsiteX4" fmla="*/ 3517 w 62305"/>
                  <a:gd name="connsiteY4" fmla="*/ 49425 h 220744"/>
                  <a:gd name="connsiteX5" fmla="*/ 52348 w 62305"/>
                  <a:gd name="connsiteY5" fmla="*/ 1681 h 220744"/>
                  <a:gd name="connsiteX6" fmla="*/ 62305 w 62305"/>
                  <a:gd name="connsiteY6" fmla="*/ 5871 h 220744"/>
                  <a:gd name="connsiteX7" fmla="*/ 62305 w 62305"/>
                  <a:gd name="connsiteY7" fmla="*/ 214874 h 220744"/>
                  <a:gd name="connsiteX8" fmla="*/ 56434 w 62305"/>
                  <a:gd name="connsiteY8" fmla="*/ 220745 h 220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2305" h="220744">
                    <a:moveTo>
                      <a:pt x="56460" y="220745"/>
                    </a:moveTo>
                    <a:lnTo>
                      <a:pt x="5871" y="220745"/>
                    </a:lnTo>
                    <a:cubicBezTo>
                      <a:pt x="2638" y="220745"/>
                      <a:pt x="0" y="218107"/>
                      <a:pt x="0" y="214874"/>
                    </a:cubicBezTo>
                    <a:lnTo>
                      <a:pt x="0" y="57805"/>
                    </a:lnTo>
                    <a:cubicBezTo>
                      <a:pt x="0" y="54649"/>
                      <a:pt x="1267" y="51623"/>
                      <a:pt x="3517" y="49425"/>
                    </a:cubicBezTo>
                    <a:lnTo>
                      <a:pt x="52348" y="1681"/>
                    </a:lnTo>
                    <a:cubicBezTo>
                      <a:pt x="56072" y="-1940"/>
                      <a:pt x="62305" y="672"/>
                      <a:pt x="62305" y="5871"/>
                    </a:cubicBezTo>
                    <a:lnTo>
                      <a:pt x="62305" y="214874"/>
                    </a:lnTo>
                    <a:cubicBezTo>
                      <a:pt x="62305" y="218107"/>
                      <a:pt x="59667" y="220745"/>
                      <a:pt x="56434" y="220745"/>
                    </a:cubicBezTo>
                    <a:close/>
                  </a:path>
                </a:pathLst>
              </a:custGeom>
              <a:solidFill>
                <a:schemeClr val="bg1"/>
              </a:solidFill>
              <a:ln w="25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8F310BA4-1EDE-FE5C-B7E4-CE699A628128}"/>
                  </a:ext>
                </a:extLst>
              </p:cNvPr>
              <p:cNvSpPr/>
              <p:nvPr/>
            </p:nvSpPr>
            <p:spPr>
              <a:xfrm>
                <a:off x="1123774" y="834647"/>
                <a:ext cx="203364" cy="225354"/>
              </a:xfrm>
              <a:custGeom>
                <a:avLst/>
                <a:gdLst>
                  <a:gd name="connsiteX0" fmla="*/ 203339 w 203364"/>
                  <a:gd name="connsiteY0" fmla="*/ 79226 h 225354"/>
                  <a:gd name="connsiteX1" fmla="*/ 123420 w 203364"/>
                  <a:gd name="connsiteY1" fmla="*/ 6 h 225354"/>
                  <a:gd name="connsiteX2" fmla="*/ 62331 w 203364"/>
                  <a:gd name="connsiteY2" fmla="*/ 33059 h 225354"/>
                  <a:gd name="connsiteX3" fmla="*/ 62331 w 203364"/>
                  <a:gd name="connsiteY3" fmla="*/ 10558 h 225354"/>
                  <a:gd name="connsiteX4" fmla="*/ 56460 w 203364"/>
                  <a:gd name="connsiteY4" fmla="*/ 4687 h 225354"/>
                  <a:gd name="connsiteX5" fmla="*/ 5871 w 203364"/>
                  <a:gd name="connsiteY5" fmla="*/ 4687 h 225354"/>
                  <a:gd name="connsiteX6" fmla="*/ 0 w 203364"/>
                  <a:gd name="connsiteY6" fmla="*/ 10558 h 225354"/>
                  <a:gd name="connsiteX7" fmla="*/ 0 w 203364"/>
                  <a:gd name="connsiteY7" fmla="*/ 219458 h 225354"/>
                  <a:gd name="connsiteX8" fmla="*/ 5871 w 203364"/>
                  <a:gd name="connsiteY8" fmla="*/ 225329 h 225354"/>
                  <a:gd name="connsiteX9" fmla="*/ 56460 w 203364"/>
                  <a:gd name="connsiteY9" fmla="*/ 225329 h 225354"/>
                  <a:gd name="connsiteX10" fmla="*/ 62331 w 203364"/>
                  <a:gd name="connsiteY10" fmla="*/ 219458 h 225354"/>
                  <a:gd name="connsiteX11" fmla="*/ 62331 w 203364"/>
                  <a:gd name="connsiteY11" fmla="*/ 97977 h 225354"/>
                  <a:gd name="connsiteX12" fmla="*/ 101669 w 203364"/>
                  <a:gd name="connsiteY12" fmla="*/ 60061 h 225354"/>
                  <a:gd name="connsiteX13" fmla="*/ 141034 w 203364"/>
                  <a:gd name="connsiteY13" fmla="*/ 100667 h 225354"/>
                  <a:gd name="connsiteX14" fmla="*/ 141034 w 203364"/>
                  <a:gd name="connsiteY14" fmla="*/ 219484 h 225354"/>
                  <a:gd name="connsiteX15" fmla="*/ 146905 w 203364"/>
                  <a:gd name="connsiteY15" fmla="*/ 225355 h 225354"/>
                  <a:gd name="connsiteX16" fmla="*/ 197493 w 203364"/>
                  <a:gd name="connsiteY16" fmla="*/ 225355 h 225354"/>
                  <a:gd name="connsiteX17" fmla="*/ 203364 w 203364"/>
                  <a:gd name="connsiteY17" fmla="*/ 219484 h 225354"/>
                  <a:gd name="connsiteX18" fmla="*/ 203364 w 203364"/>
                  <a:gd name="connsiteY18" fmla="*/ 79252 h 2253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03364" h="225354">
                    <a:moveTo>
                      <a:pt x="203339" y="79226"/>
                    </a:moveTo>
                    <a:cubicBezTo>
                      <a:pt x="203339" y="36422"/>
                      <a:pt x="167983" y="523"/>
                      <a:pt x="123420" y="6"/>
                    </a:cubicBezTo>
                    <a:cubicBezTo>
                      <a:pt x="94428" y="-330"/>
                      <a:pt x="74849" y="13869"/>
                      <a:pt x="62331" y="33059"/>
                    </a:cubicBezTo>
                    <a:lnTo>
                      <a:pt x="62331" y="10558"/>
                    </a:lnTo>
                    <a:cubicBezTo>
                      <a:pt x="62331" y="7325"/>
                      <a:pt x="59693" y="4687"/>
                      <a:pt x="56460" y="4687"/>
                    </a:cubicBezTo>
                    <a:lnTo>
                      <a:pt x="5871" y="4687"/>
                    </a:lnTo>
                    <a:cubicBezTo>
                      <a:pt x="2638" y="4687"/>
                      <a:pt x="0" y="7325"/>
                      <a:pt x="0" y="10558"/>
                    </a:cubicBezTo>
                    <a:lnTo>
                      <a:pt x="0" y="219458"/>
                    </a:lnTo>
                    <a:cubicBezTo>
                      <a:pt x="0" y="222691"/>
                      <a:pt x="2638" y="225329"/>
                      <a:pt x="5871" y="225329"/>
                    </a:cubicBezTo>
                    <a:lnTo>
                      <a:pt x="56460" y="225329"/>
                    </a:lnTo>
                    <a:cubicBezTo>
                      <a:pt x="59693" y="225329"/>
                      <a:pt x="62331" y="222691"/>
                      <a:pt x="62331" y="219458"/>
                    </a:cubicBezTo>
                    <a:lnTo>
                      <a:pt x="62331" y="97977"/>
                    </a:lnTo>
                    <a:cubicBezTo>
                      <a:pt x="63728" y="74596"/>
                      <a:pt x="78547" y="60061"/>
                      <a:pt x="101669" y="60061"/>
                    </a:cubicBezTo>
                    <a:cubicBezTo>
                      <a:pt x="124791" y="60061"/>
                      <a:pt x="141034" y="76381"/>
                      <a:pt x="141034" y="100667"/>
                    </a:cubicBezTo>
                    <a:lnTo>
                      <a:pt x="141034" y="219484"/>
                    </a:lnTo>
                    <a:cubicBezTo>
                      <a:pt x="141034" y="222717"/>
                      <a:pt x="143672" y="225355"/>
                      <a:pt x="146905" y="225355"/>
                    </a:cubicBezTo>
                    <a:lnTo>
                      <a:pt x="197493" y="225355"/>
                    </a:lnTo>
                    <a:cubicBezTo>
                      <a:pt x="200726" y="225355"/>
                      <a:pt x="203364" y="222717"/>
                      <a:pt x="203364" y="219484"/>
                    </a:cubicBezTo>
                    <a:lnTo>
                      <a:pt x="203364" y="79252"/>
                    </a:lnTo>
                    <a:close/>
                  </a:path>
                </a:pathLst>
              </a:custGeom>
              <a:solidFill>
                <a:schemeClr val="bg1"/>
              </a:solidFill>
              <a:ln w="25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27CC91C-96CC-4B8E-C132-C3B6855AC0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2806" y="2803209"/>
            <a:ext cx="10269145" cy="816709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3800" b="1" i="0" cap="all" baseline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r>
              <a:rPr lang="en-US"/>
              <a:t>Section header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3EE100-6036-61E9-5E01-FF70061CD29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72806" y="4032669"/>
            <a:ext cx="10269145" cy="5834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200" b="0" i="0" cap="all" baseline="0">
                <a:solidFill>
                  <a:schemeClr val="bg1"/>
                </a:solidFill>
                <a:latin typeface="Lato" panose="020F0502020204030203" pitchFamily="34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7953B39-06B4-7B61-7B04-C224B4F89776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667250" y="3812577"/>
            <a:ext cx="10332720" cy="27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1770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97A69FA3-A5BD-EC91-C3D2-E36B425469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3385" y="567"/>
            <a:ext cx="12190992" cy="6857433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5C9B6833-13CE-5FF6-D3A2-AC1F153DF72D}"/>
              </a:ext>
            </a:extLst>
          </p:cNvPr>
          <p:cNvGrpSpPr/>
          <p:nvPr userDrawn="1"/>
        </p:nvGrpSpPr>
        <p:grpSpPr>
          <a:xfrm>
            <a:off x="11122821" y="6472473"/>
            <a:ext cx="799629" cy="166100"/>
            <a:chOff x="11122821" y="6472473"/>
            <a:chExt cx="799629" cy="166100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DC7D769E-9D0F-AE3B-F84F-21A906464D53}"/>
                </a:ext>
              </a:extLst>
            </p:cNvPr>
            <p:cNvSpPr/>
            <p:nvPr/>
          </p:nvSpPr>
          <p:spPr>
            <a:xfrm rot="18900000">
              <a:off x="11134957" y="6473485"/>
              <a:ext cx="35147" cy="35147"/>
            </a:xfrm>
            <a:custGeom>
              <a:avLst/>
              <a:gdLst>
                <a:gd name="connsiteX0" fmla="*/ 32044 w 35147"/>
                <a:gd name="connsiteY0" fmla="*/ 0 h 35147"/>
                <a:gd name="connsiteX1" fmla="*/ 35148 w 35147"/>
                <a:gd name="connsiteY1" fmla="*/ 3103 h 35147"/>
                <a:gd name="connsiteX2" fmla="*/ 35148 w 35147"/>
                <a:gd name="connsiteY2" fmla="*/ 32044 h 35147"/>
                <a:gd name="connsiteX3" fmla="*/ 32044 w 35147"/>
                <a:gd name="connsiteY3" fmla="*/ 35148 h 35147"/>
                <a:gd name="connsiteX4" fmla="*/ 3103 w 35147"/>
                <a:gd name="connsiteY4" fmla="*/ 35148 h 35147"/>
                <a:gd name="connsiteX5" fmla="*/ 0 w 35147"/>
                <a:gd name="connsiteY5" fmla="*/ 32044 h 35147"/>
                <a:gd name="connsiteX6" fmla="*/ 0 w 35147"/>
                <a:gd name="connsiteY6" fmla="*/ 3103 h 35147"/>
                <a:gd name="connsiteX7" fmla="*/ 3103 w 35147"/>
                <a:gd name="connsiteY7" fmla="*/ 0 h 35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147" h="35147">
                  <a:moveTo>
                    <a:pt x="32044" y="0"/>
                  </a:moveTo>
                  <a:cubicBezTo>
                    <a:pt x="33758" y="0"/>
                    <a:pt x="35148" y="1389"/>
                    <a:pt x="35148" y="3103"/>
                  </a:cubicBezTo>
                  <a:lnTo>
                    <a:pt x="35148" y="32044"/>
                  </a:lnTo>
                  <a:cubicBezTo>
                    <a:pt x="35148" y="33758"/>
                    <a:pt x="33758" y="35148"/>
                    <a:pt x="32044" y="35148"/>
                  </a:cubicBezTo>
                  <a:lnTo>
                    <a:pt x="3103" y="35148"/>
                  </a:lnTo>
                  <a:cubicBezTo>
                    <a:pt x="1389" y="35148"/>
                    <a:pt x="0" y="33758"/>
                    <a:pt x="0" y="32044"/>
                  </a:cubicBezTo>
                  <a:lnTo>
                    <a:pt x="0" y="3103"/>
                  </a:lnTo>
                  <a:cubicBezTo>
                    <a:pt x="0" y="1389"/>
                    <a:pt x="1389" y="0"/>
                    <a:pt x="3103" y="0"/>
                  </a:cubicBezTo>
                  <a:close/>
                </a:path>
              </a:pathLst>
            </a:custGeom>
            <a:solidFill>
              <a:srgbClr val="00BD4D"/>
            </a:solidFill>
            <a:ln w="135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49D3A9E8-8F71-959D-72F7-F0E1028766DF}"/>
                </a:ext>
              </a:extLst>
            </p:cNvPr>
            <p:cNvGrpSpPr/>
            <p:nvPr/>
          </p:nvGrpSpPr>
          <p:grpSpPr>
            <a:xfrm>
              <a:off x="11122821" y="6472473"/>
              <a:ext cx="799629" cy="166100"/>
              <a:chOff x="11122821" y="6472473"/>
              <a:chExt cx="799629" cy="166100"/>
            </a:xfrm>
            <a:solidFill>
              <a:schemeClr val="bg1"/>
            </a:solidFill>
          </p:grpSpPr>
          <p:sp>
            <p:nvSpPr>
              <p:cNvPr id="7" name="Freeform: Shape 6">
                <a:extLst>
                  <a:ext uri="{FF2B5EF4-FFF2-40B4-BE49-F238E27FC236}">
                    <a16:creationId xmlns:a16="http://schemas.microsoft.com/office/drawing/2014/main" id="{DC305258-1CEA-C0E8-69AC-A0D14D721A88}"/>
                  </a:ext>
                </a:extLst>
              </p:cNvPr>
              <p:cNvSpPr/>
              <p:nvPr/>
            </p:nvSpPr>
            <p:spPr>
              <a:xfrm>
                <a:off x="11774281" y="6519597"/>
                <a:ext cx="119385" cy="116611"/>
              </a:xfrm>
              <a:custGeom>
                <a:avLst/>
                <a:gdLst>
                  <a:gd name="connsiteX0" fmla="*/ 82523 w 119385"/>
                  <a:gd name="connsiteY0" fmla="*/ 58306 h 116611"/>
                  <a:gd name="connsiteX1" fmla="*/ 118887 w 119385"/>
                  <a:gd name="connsiteY1" fmla="*/ 112265 h 116611"/>
                  <a:gd name="connsiteX2" fmla="*/ 116385 w 119385"/>
                  <a:gd name="connsiteY2" fmla="*/ 116612 h 116611"/>
                  <a:gd name="connsiteX3" fmla="*/ 85831 w 119385"/>
                  <a:gd name="connsiteY3" fmla="*/ 116612 h 116611"/>
                  <a:gd name="connsiteX4" fmla="*/ 80718 w 119385"/>
                  <a:gd name="connsiteY4" fmla="*/ 113919 h 116611"/>
                  <a:gd name="connsiteX5" fmla="*/ 59693 w 119385"/>
                  <a:gd name="connsiteY5" fmla="*/ 81751 h 116611"/>
                  <a:gd name="connsiteX6" fmla="*/ 38667 w 119385"/>
                  <a:gd name="connsiteY6" fmla="*/ 113919 h 116611"/>
                  <a:gd name="connsiteX7" fmla="*/ 33554 w 119385"/>
                  <a:gd name="connsiteY7" fmla="*/ 116612 h 116611"/>
                  <a:gd name="connsiteX8" fmla="*/ 3000 w 119385"/>
                  <a:gd name="connsiteY8" fmla="*/ 116612 h 116611"/>
                  <a:gd name="connsiteX9" fmla="*/ 498 w 119385"/>
                  <a:gd name="connsiteY9" fmla="*/ 112265 h 116611"/>
                  <a:gd name="connsiteX10" fmla="*/ 36753 w 119385"/>
                  <a:gd name="connsiteY10" fmla="*/ 58306 h 116611"/>
                  <a:gd name="connsiteX11" fmla="*/ 498 w 119385"/>
                  <a:gd name="connsiteY11" fmla="*/ 4347 h 116611"/>
                  <a:gd name="connsiteX12" fmla="*/ 3000 w 119385"/>
                  <a:gd name="connsiteY12" fmla="*/ 0 h 116611"/>
                  <a:gd name="connsiteX13" fmla="*/ 34853 w 119385"/>
                  <a:gd name="connsiteY13" fmla="*/ 0 h 116611"/>
                  <a:gd name="connsiteX14" fmla="*/ 37778 w 119385"/>
                  <a:gd name="connsiteY14" fmla="*/ 1449 h 116611"/>
                  <a:gd name="connsiteX15" fmla="*/ 59679 w 119385"/>
                  <a:gd name="connsiteY15" fmla="*/ 34806 h 116611"/>
                  <a:gd name="connsiteX16" fmla="*/ 80240 w 119385"/>
                  <a:gd name="connsiteY16" fmla="*/ 1463 h 116611"/>
                  <a:gd name="connsiteX17" fmla="*/ 83165 w 119385"/>
                  <a:gd name="connsiteY17" fmla="*/ 0 h 116611"/>
                  <a:gd name="connsiteX18" fmla="*/ 115333 w 119385"/>
                  <a:gd name="connsiteY18" fmla="*/ 0 h 116611"/>
                  <a:gd name="connsiteX19" fmla="*/ 117834 w 119385"/>
                  <a:gd name="connsiteY19" fmla="*/ 4334 h 116611"/>
                  <a:gd name="connsiteX20" fmla="*/ 82495 w 119385"/>
                  <a:gd name="connsiteY20" fmla="*/ 58306 h 116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19385" h="116611">
                    <a:moveTo>
                      <a:pt x="82523" y="58306"/>
                    </a:moveTo>
                    <a:lnTo>
                      <a:pt x="118887" y="112265"/>
                    </a:lnTo>
                    <a:cubicBezTo>
                      <a:pt x="120199" y="114124"/>
                      <a:pt x="118764" y="116612"/>
                      <a:pt x="116385" y="116612"/>
                    </a:cubicBezTo>
                    <a:lnTo>
                      <a:pt x="85831" y="116612"/>
                    </a:lnTo>
                    <a:cubicBezTo>
                      <a:pt x="83794" y="116612"/>
                      <a:pt x="81880" y="115600"/>
                      <a:pt x="80718" y="113919"/>
                    </a:cubicBezTo>
                    <a:lnTo>
                      <a:pt x="59693" y="81751"/>
                    </a:lnTo>
                    <a:lnTo>
                      <a:pt x="38667" y="113919"/>
                    </a:lnTo>
                    <a:cubicBezTo>
                      <a:pt x="37505" y="115600"/>
                      <a:pt x="35605" y="116612"/>
                      <a:pt x="33554" y="116612"/>
                    </a:cubicBezTo>
                    <a:lnTo>
                      <a:pt x="3000" y="116612"/>
                    </a:lnTo>
                    <a:cubicBezTo>
                      <a:pt x="621" y="116612"/>
                      <a:pt x="-814" y="114138"/>
                      <a:pt x="498" y="112265"/>
                    </a:cubicBezTo>
                    <a:lnTo>
                      <a:pt x="36753" y="58306"/>
                    </a:lnTo>
                    <a:lnTo>
                      <a:pt x="498" y="4347"/>
                    </a:lnTo>
                    <a:cubicBezTo>
                      <a:pt x="-814" y="2488"/>
                      <a:pt x="621" y="0"/>
                      <a:pt x="3000" y="0"/>
                    </a:cubicBezTo>
                    <a:lnTo>
                      <a:pt x="34853" y="0"/>
                    </a:lnTo>
                    <a:cubicBezTo>
                      <a:pt x="36042" y="0"/>
                      <a:pt x="37149" y="547"/>
                      <a:pt x="37778" y="1449"/>
                    </a:cubicBezTo>
                    <a:lnTo>
                      <a:pt x="59679" y="34806"/>
                    </a:lnTo>
                    <a:lnTo>
                      <a:pt x="80240" y="1463"/>
                    </a:lnTo>
                    <a:cubicBezTo>
                      <a:pt x="80855" y="561"/>
                      <a:pt x="81976" y="0"/>
                      <a:pt x="83165" y="0"/>
                    </a:cubicBezTo>
                    <a:lnTo>
                      <a:pt x="115333" y="0"/>
                    </a:lnTo>
                    <a:cubicBezTo>
                      <a:pt x="117711" y="0"/>
                      <a:pt x="119133" y="2474"/>
                      <a:pt x="117834" y="4334"/>
                    </a:cubicBezTo>
                    <a:lnTo>
                      <a:pt x="82495" y="58306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" name="Freeform: Shape 7">
                <a:extLst>
                  <a:ext uri="{FF2B5EF4-FFF2-40B4-BE49-F238E27FC236}">
                    <a16:creationId xmlns:a16="http://schemas.microsoft.com/office/drawing/2014/main" id="{5FEF1BFA-2ACB-FD53-11EC-A594ED526450}"/>
                  </a:ext>
                </a:extLst>
              </p:cNvPr>
              <p:cNvSpPr/>
              <p:nvPr/>
            </p:nvSpPr>
            <p:spPr>
              <a:xfrm>
                <a:off x="11284928" y="6472473"/>
                <a:ext cx="78825" cy="163762"/>
              </a:xfrm>
              <a:custGeom>
                <a:avLst/>
                <a:gdLst>
                  <a:gd name="connsiteX0" fmla="*/ 75722 w 78825"/>
                  <a:gd name="connsiteY0" fmla="*/ 14 h 163762"/>
                  <a:gd name="connsiteX1" fmla="*/ 50377 w 78825"/>
                  <a:gd name="connsiteY1" fmla="*/ 14 h 163762"/>
                  <a:gd name="connsiteX2" fmla="*/ 43801 w 78825"/>
                  <a:gd name="connsiteY2" fmla="*/ 2734 h 163762"/>
                  <a:gd name="connsiteX3" fmla="*/ 19987 w 78825"/>
                  <a:gd name="connsiteY3" fmla="*/ 26549 h 163762"/>
                  <a:gd name="connsiteX4" fmla="*/ 17266 w 78825"/>
                  <a:gd name="connsiteY4" fmla="*/ 33124 h 163762"/>
                  <a:gd name="connsiteX5" fmla="*/ 17266 w 78825"/>
                  <a:gd name="connsiteY5" fmla="*/ 51867 h 163762"/>
                  <a:gd name="connsiteX6" fmla="*/ 3049 w 78825"/>
                  <a:gd name="connsiteY6" fmla="*/ 51867 h 163762"/>
                  <a:gd name="connsiteX7" fmla="*/ 0 w 78825"/>
                  <a:gd name="connsiteY7" fmla="*/ 54916 h 163762"/>
                  <a:gd name="connsiteX8" fmla="*/ 0 w 78825"/>
                  <a:gd name="connsiteY8" fmla="*/ 75955 h 163762"/>
                  <a:gd name="connsiteX9" fmla="*/ 3049 w 78825"/>
                  <a:gd name="connsiteY9" fmla="*/ 79004 h 163762"/>
                  <a:gd name="connsiteX10" fmla="*/ 17266 w 78825"/>
                  <a:gd name="connsiteY10" fmla="*/ 79004 h 163762"/>
                  <a:gd name="connsiteX11" fmla="*/ 17266 w 78825"/>
                  <a:gd name="connsiteY11" fmla="*/ 160659 h 163762"/>
                  <a:gd name="connsiteX12" fmla="*/ 20369 w 78825"/>
                  <a:gd name="connsiteY12" fmla="*/ 163763 h 163762"/>
                  <a:gd name="connsiteX13" fmla="*/ 47109 w 78825"/>
                  <a:gd name="connsiteY13" fmla="*/ 163763 h 163762"/>
                  <a:gd name="connsiteX14" fmla="*/ 50213 w 78825"/>
                  <a:gd name="connsiteY14" fmla="*/ 160659 h 163762"/>
                  <a:gd name="connsiteX15" fmla="*/ 50213 w 78825"/>
                  <a:gd name="connsiteY15" fmla="*/ 78990 h 163762"/>
                  <a:gd name="connsiteX16" fmla="*/ 71443 w 78825"/>
                  <a:gd name="connsiteY16" fmla="*/ 78990 h 163762"/>
                  <a:gd name="connsiteX17" fmla="*/ 74492 w 78825"/>
                  <a:gd name="connsiteY17" fmla="*/ 75941 h 163762"/>
                  <a:gd name="connsiteX18" fmla="*/ 74492 w 78825"/>
                  <a:gd name="connsiteY18" fmla="*/ 54902 h 163762"/>
                  <a:gd name="connsiteX19" fmla="*/ 71443 w 78825"/>
                  <a:gd name="connsiteY19" fmla="*/ 51853 h 163762"/>
                  <a:gd name="connsiteX20" fmla="*/ 50213 w 78825"/>
                  <a:gd name="connsiteY20" fmla="*/ 51853 h 163762"/>
                  <a:gd name="connsiteX21" fmla="*/ 50213 w 78825"/>
                  <a:gd name="connsiteY21" fmla="*/ 38565 h 163762"/>
                  <a:gd name="connsiteX22" fmla="*/ 59509 w 78825"/>
                  <a:gd name="connsiteY22" fmla="*/ 29269 h 163762"/>
                  <a:gd name="connsiteX23" fmla="*/ 75722 w 78825"/>
                  <a:gd name="connsiteY23" fmla="*/ 29269 h 163762"/>
                  <a:gd name="connsiteX24" fmla="*/ 78826 w 78825"/>
                  <a:gd name="connsiteY24" fmla="*/ 26166 h 163762"/>
                  <a:gd name="connsiteX25" fmla="*/ 78826 w 78825"/>
                  <a:gd name="connsiteY25" fmla="*/ 3103 h 163762"/>
                  <a:gd name="connsiteX26" fmla="*/ 75722 w 78825"/>
                  <a:gd name="connsiteY26" fmla="*/ 0 h 163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78825" h="163762">
                    <a:moveTo>
                      <a:pt x="75722" y="14"/>
                    </a:moveTo>
                    <a:lnTo>
                      <a:pt x="50377" y="14"/>
                    </a:lnTo>
                    <a:cubicBezTo>
                      <a:pt x="47916" y="14"/>
                      <a:pt x="45551" y="998"/>
                      <a:pt x="43801" y="2734"/>
                    </a:cubicBezTo>
                    <a:lnTo>
                      <a:pt x="19987" y="26549"/>
                    </a:lnTo>
                    <a:cubicBezTo>
                      <a:pt x="18237" y="28299"/>
                      <a:pt x="17266" y="30664"/>
                      <a:pt x="17266" y="33124"/>
                    </a:cubicBezTo>
                    <a:lnTo>
                      <a:pt x="17266" y="51867"/>
                    </a:lnTo>
                    <a:lnTo>
                      <a:pt x="3049" y="51867"/>
                    </a:lnTo>
                    <a:cubicBezTo>
                      <a:pt x="1367" y="51867"/>
                      <a:pt x="0" y="53234"/>
                      <a:pt x="0" y="54916"/>
                    </a:cubicBezTo>
                    <a:lnTo>
                      <a:pt x="0" y="75955"/>
                    </a:lnTo>
                    <a:cubicBezTo>
                      <a:pt x="0" y="77636"/>
                      <a:pt x="1367" y="79004"/>
                      <a:pt x="3049" y="79004"/>
                    </a:cubicBezTo>
                    <a:lnTo>
                      <a:pt x="17266" y="79004"/>
                    </a:lnTo>
                    <a:lnTo>
                      <a:pt x="17266" y="160659"/>
                    </a:lnTo>
                    <a:cubicBezTo>
                      <a:pt x="17266" y="162368"/>
                      <a:pt x="18661" y="163763"/>
                      <a:pt x="20369" y="163763"/>
                    </a:cubicBezTo>
                    <a:lnTo>
                      <a:pt x="47109" y="163763"/>
                    </a:lnTo>
                    <a:cubicBezTo>
                      <a:pt x="48818" y="163763"/>
                      <a:pt x="50213" y="162368"/>
                      <a:pt x="50213" y="160659"/>
                    </a:cubicBezTo>
                    <a:lnTo>
                      <a:pt x="50213" y="78990"/>
                    </a:lnTo>
                    <a:lnTo>
                      <a:pt x="71443" y="78990"/>
                    </a:lnTo>
                    <a:cubicBezTo>
                      <a:pt x="73125" y="78990"/>
                      <a:pt x="74492" y="77623"/>
                      <a:pt x="74492" y="75941"/>
                    </a:cubicBezTo>
                    <a:lnTo>
                      <a:pt x="74492" y="54902"/>
                    </a:lnTo>
                    <a:cubicBezTo>
                      <a:pt x="74492" y="53220"/>
                      <a:pt x="73125" y="51853"/>
                      <a:pt x="71443" y="51853"/>
                    </a:cubicBezTo>
                    <a:lnTo>
                      <a:pt x="50213" y="51853"/>
                    </a:lnTo>
                    <a:lnTo>
                      <a:pt x="50213" y="38565"/>
                    </a:lnTo>
                    <a:cubicBezTo>
                      <a:pt x="50213" y="33425"/>
                      <a:pt x="54382" y="29269"/>
                      <a:pt x="59509" y="29269"/>
                    </a:cubicBezTo>
                    <a:lnTo>
                      <a:pt x="75722" y="29269"/>
                    </a:lnTo>
                    <a:cubicBezTo>
                      <a:pt x="77431" y="29269"/>
                      <a:pt x="78826" y="27875"/>
                      <a:pt x="78826" y="26166"/>
                    </a:cubicBezTo>
                    <a:lnTo>
                      <a:pt x="78826" y="3103"/>
                    </a:lnTo>
                    <a:cubicBezTo>
                      <a:pt x="78826" y="1394"/>
                      <a:pt x="77431" y="0"/>
                      <a:pt x="75722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670C843E-04E8-084B-52D9-4603B10F2DF4}"/>
                  </a:ext>
                </a:extLst>
              </p:cNvPr>
              <p:cNvSpPr/>
              <p:nvPr/>
            </p:nvSpPr>
            <p:spPr>
              <a:xfrm>
                <a:off x="11896791" y="6612367"/>
                <a:ext cx="25659" cy="25660"/>
              </a:xfrm>
              <a:custGeom>
                <a:avLst/>
                <a:gdLst>
                  <a:gd name="connsiteX0" fmla="*/ 25660 w 25659"/>
                  <a:gd name="connsiteY0" fmla="*/ 12810 h 25660"/>
                  <a:gd name="connsiteX1" fmla="*/ 12782 w 25659"/>
                  <a:gd name="connsiteY1" fmla="*/ 25660 h 25660"/>
                  <a:gd name="connsiteX2" fmla="*/ 0 w 25659"/>
                  <a:gd name="connsiteY2" fmla="*/ 12810 h 25660"/>
                  <a:gd name="connsiteX3" fmla="*/ 12823 w 25659"/>
                  <a:gd name="connsiteY3" fmla="*/ 0 h 25660"/>
                  <a:gd name="connsiteX4" fmla="*/ 25646 w 25659"/>
                  <a:gd name="connsiteY4" fmla="*/ 12810 h 25660"/>
                  <a:gd name="connsiteX5" fmla="*/ 23691 w 25659"/>
                  <a:gd name="connsiteY5" fmla="*/ 12864 h 25660"/>
                  <a:gd name="connsiteX6" fmla="*/ 12837 w 25659"/>
                  <a:gd name="connsiteY6" fmla="*/ 1832 h 25660"/>
                  <a:gd name="connsiteX7" fmla="*/ 1982 w 25659"/>
                  <a:gd name="connsiteY7" fmla="*/ 12851 h 25660"/>
                  <a:gd name="connsiteX8" fmla="*/ 12782 w 25659"/>
                  <a:gd name="connsiteY8" fmla="*/ 23856 h 25660"/>
                  <a:gd name="connsiteX9" fmla="*/ 23691 w 25659"/>
                  <a:gd name="connsiteY9" fmla="*/ 12864 h 25660"/>
                  <a:gd name="connsiteX10" fmla="*/ 15585 w 25659"/>
                  <a:gd name="connsiteY10" fmla="*/ 14888 h 25660"/>
                  <a:gd name="connsiteX11" fmla="*/ 18811 w 25659"/>
                  <a:gd name="connsiteY11" fmla="*/ 19905 h 25660"/>
                  <a:gd name="connsiteX12" fmla="*/ 16678 w 25659"/>
                  <a:gd name="connsiteY12" fmla="*/ 19905 h 25660"/>
                  <a:gd name="connsiteX13" fmla="*/ 13097 w 25659"/>
                  <a:gd name="connsiteY13" fmla="*/ 14218 h 25660"/>
                  <a:gd name="connsiteX14" fmla="*/ 9829 w 25659"/>
                  <a:gd name="connsiteY14" fmla="*/ 14218 h 25660"/>
                  <a:gd name="connsiteX15" fmla="*/ 9829 w 25659"/>
                  <a:gd name="connsiteY15" fmla="*/ 19905 h 25660"/>
                  <a:gd name="connsiteX16" fmla="*/ 8038 w 25659"/>
                  <a:gd name="connsiteY16" fmla="*/ 19905 h 25660"/>
                  <a:gd name="connsiteX17" fmla="*/ 8038 w 25659"/>
                  <a:gd name="connsiteY17" fmla="*/ 5523 h 25660"/>
                  <a:gd name="connsiteX18" fmla="*/ 13616 w 25659"/>
                  <a:gd name="connsiteY18" fmla="*/ 5523 h 25660"/>
                  <a:gd name="connsiteX19" fmla="*/ 18155 w 25659"/>
                  <a:gd name="connsiteY19" fmla="*/ 9761 h 25660"/>
                  <a:gd name="connsiteX20" fmla="*/ 14887 w 25659"/>
                  <a:gd name="connsiteY20" fmla="*/ 13917 h 25660"/>
                  <a:gd name="connsiteX21" fmla="*/ 15585 w 25659"/>
                  <a:gd name="connsiteY21" fmla="*/ 14901 h 25660"/>
                  <a:gd name="connsiteX22" fmla="*/ 13015 w 25659"/>
                  <a:gd name="connsiteY22" fmla="*/ 12522 h 25660"/>
                  <a:gd name="connsiteX23" fmla="*/ 16282 w 25659"/>
                  <a:gd name="connsiteY23" fmla="*/ 9870 h 25660"/>
                  <a:gd name="connsiteX24" fmla="*/ 13657 w 25659"/>
                  <a:gd name="connsiteY24" fmla="*/ 7191 h 25660"/>
                  <a:gd name="connsiteX25" fmla="*/ 9816 w 25659"/>
                  <a:gd name="connsiteY25" fmla="*/ 7191 h 25660"/>
                  <a:gd name="connsiteX26" fmla="*/ 9816 w 25659"/>
                  <a:gd name="connsiteY26" fmla="*/ 12509 h 25660"/>
                  <a:gd name="connsiteX27" fmla="*/ 13015 w 25659"/>
                  <a:gd name="connsiteY27" fmla="*/ 12509 h 25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25659" h="25660">
                    <a:moveTo>
                      <a:pt x="25660" y="12810"/>
                    </a:moveTo>
                    <a:cubicBezTo>
                      <a:pt x="25660" y="19946"/>
                      <a:pt x="19946" y="25660"/>
                      <a:pt x="12782" y="25660"/>
                    </a:cubicBezTo>
                    <a:cubicBezTo>
                      <a:pt x="5619" y="25660"/>
                      <a:pt x="0" y="19891"/>
                      <a:pt x="0" y="12810"/>
                    </a:cubicBezTo>
                    <a:cubicBezTo>
                      <a:pt x="0" y="5728"/>
                      <a:pt x="5714" y="0"/>
                      <a:pt x="12823" y="0"/>
                    </a:cubicBezTo>
                    <a:cubicBezTo>
                      <a:pt x="19932" y="0"/>
                      <a:pt x="25646" y="5687"/>
                      <a:pt x="25646" y="12810"/>
                    </a:cubicBezTo>
                    <a:close/>
                    <a:moveTo>
                      <a:pt x="23691" y="12864"/>
                    </a:moveTo>
                    <a:cubicBezTo>
                      <a:pt x="23691" y="6712"/>
                      <a:pt x="18838" y="1832"/>
                      <a:pt x="12837" y="1832"/>
                    </a:cubicBezTo>
                    <a:cubicBezTo>
                      <a:pt x="6835" y="1832"/>
                      <a:pt x="1982" y="6658"/>
                      <a:pt x="1982" y="12851"/>
                    </a:cubicBezTo>
                    <a:cubicBezTo>
                      <a:pt x="1982" y="19043"/>
                      <a:pt x="6890" y="23856"/>
                      <a:pt x="12782" y="23856"/>
                    </a:cubicBezTo>
                    <a:cubicBezTo>
                      <a:pt x="18674" y="23856"/>
                      <a:pt x="23691" y="19002"/>
                      <a:pt x="23691" y="12864"/>
                    </a:cubicBezTo>
                    <a:close/>
                    <a:moveTo>
                      <a:pt x="15585" y="14888"/>
                    </a:moveTo>
                    <a:lnTo>
                      <a:pt x="18811" y="19905"/>
                    </a:lnTo>
                    <a:lnTo>
                      <a:pt x="16678" y="19905"/>
                    </a:lnTo>
                    <a:lnTo>
                      <a:pt x="13097" y="14218"/>
                    </a:lnTo>
                    <a:lnTo>
                      <a:pt x="9829" y="14218"/>
                    </a:lnTo>
                    <a:lnTo>
                      <a:pt x="9829" y="19905"/>
                    </a:lnTo>
                    <a:lnTo>
                      <a:pt x="8038" y="19905"/>
                    </a:lnTo>
                    <a:lnTo>
                      <a:pt x="8038" y="5523"/>
                    </a:lnTo>
                    <a:lnTo>
                      <a:pt x="13616" y="5523"/>
                    </a:lnTo>
                    <a:cubicBezTo>
                      <a:pt x="16364" y="5523"/>
                      <a:pt x="18155" y="6999"/>
                      <a:pt x="18155" y="9761"/>
                    </a:cubicBezTo>
                    <a:cubicBezTo>
                      <a:pt x="18155" y="11989"/>
                      <a:pt x="16801" y="13370"/>
                      <a:pt x="14887" y="13917"/>
                    </a:cubicBezTo>
                    <a:cubicBezTo>
                      <a:pt x="15147" y="14204"/>
                      <a:pt x="15407" y="14559"/>
                      <a:pt x="15585" y="14901"/>
                    </a:cubicBezTo>
                    <a:close/>
                    <a:moveTo>
                      <a:pt x="13015" y="12522"/>
                    </a:moveTo>
                    <a:cubicBezTo>
                      <a:pt x="15038" y="12522"/>
                      <a:pt x="16282" y="11565"/>
                      <a:pt x="16282" y="9870"/>
                    </a:cubicBezTo>
                    <a:cubicBezTo>
                      <a:pt x="16282" y="8175"/>
                      <a:pt x="15421" y="7191"/>
                      <a:pt x="13657" y="7191"/>
                    </a:cubicBezTo>
                    <a:lnTo>
                      <a:pt x="9816" y="7191"/>
                    </a:lnTo>
                    <a:lnTo>
                      <a:pt x="9816" y="12509"/>
                    </a:lnTo>
                    <a:lnTo>
                      <a:pt x="13015" y="12509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351A3970-AE39-1111-4E4D-3AED9D0806EE}"/>
                  </a:ext>
                </a:extLst>
              </p:cNvPr>
              <p:cNvSpPr/>
              <p:nvPr/>
            </p:nvSpPr>
            <p:spPr>
              <a:xfrm>
                <a:off x="11620956" y="6472487"/>
                <a:ext cx="32932" cy="163721"/>
              </a:xfrm>
              <a:custGeom>
                <a:avLst/>
                <a:gdLst>
                  <a:gd name="connsiteX0" fmla="*/ 29830 w 32932"/>
                  <a:gd name="connsiteY0" fmla="*/ 0 h 163721"/>
                  <a:gd name="connsiteX1" fmla="*/ 32933 w 32932"/>
                  <a:gd name="connsiteY1" fmla="*/ 3103 h 163721"/>
                  <a:gd name="connsiteX2" fmla="*/ 32933 w 32932"/>
                  <a:gd name="connsiteY2" fmla="*/ 160618 h 163721"/>
                  <a:gd name="connsiteX3" fmla="*/ 29830 w 32932"/>
                  <a:gd name="connsiteY3" fmla="*/ 163722 h 163721"/>
                  <a:gd name="connsiteX4" fmla="*/ 3103 w 32932"/>
                  <a:gd name="connsiteY4" fmla="*/ 163722 h 163721"/>
                  <a:gd name="connsiteX5" fmla="*/ 0 w 32932"/>
                  <a:gd name="connsiteY5" fmla="*/ 160618 h 163721"/>
                  <a:gd name="connsiteX6" fmla="*/ 0 w 32932"/>
                  <a:gd name="connsiteY6" fmla="*/ 3103 h 163721"/>
                  <a:gd name="connsiteX7" fmla="*/ 3103 w 32932"/>
                  <a:gd name="connsiteY7" fmla="*/ 0 h 163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2932" h="163721">
                    <a:moveTo>
                      <a:pt x="29830" y="0"/>
                    </a:moveTo>
                    <a:cubicBezTo>
                      <a:pt x="31544" y="0"/>
                      <a:pt x="32933" y="1389"/>
                      <a:pt x="32933" y="3103"/>
                    </a:cubicBezTo>
                    <a:lnTo>
                      <a:pt x="32933" y="160618"/>
                    </a:lnTo>
                    <a:cubicBezTo>
                      <a:pt x="32933" y="162332"/>
                      <a:pt x="31543" y="163722"/>
                      <a:pt x="29830" y="163722"/>
                    </a:cubicBezTo>
                    <a:lnTo>
                      <a:pt x="3103" y="163722"/>
                    </a:lnTo>
                    <a:cubicBezTo>
                      <a:pt x="1389" y="163722"/>
                      <a:pt x="0" y="162332"/>
                      <a:pt x="0" y="160618"/>
                    </a:cubicBezTo>
                    <a:lnTo>
                      <a:pt x="0" y="3103"/>
                    </a:lnTo>
                    <a:cubicBezTo>
                      <a:pt x="0" y="1389"/>
                      <a:pt x="1389" y="0"/>
                      <a:pt x="3103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8E5AB232-896A-C6CA-4B98-DAECCC8A7CE3}"/>
                  </a:ext>
                </a:extLst>
              </p:cNvPr>
              <p:cNvSpPr/>
              <p:nvPr/>
            </p:nvSpPr>
            <p:spPr>
              <a:xfrm>
                <a:off x="11488486" y="6472473"/>
                <a:ext cx="123638" cy="166086"/>
              </a:xfrm>
              <a:custGeom>
                <a:avLst/>
                <a:gdLst>
                  <a:gd name="connsiteX0" fmla="*/ 68737 w 123638"/>
                  <a:gd name="connsiteY0" fmla="*/ 44663 h 166086"/>
                  <a:gd name="connsiteX1" fmla="*/ 32947 w 123638"/>
                  <a:gd name="connsiteY1" fmla="*/ 62052 h 166086"/>
                  <a:gd name="connsiteX2" fmla="*/ 32947 w 123638"/>
                  <a:gd name="connsiteY2" fmla="*/ 3103 h 166086"/>
                  <a:gd name="connsiteX3" fmla="*/ 29843 w 123638"/>
                  <a:gd name="connsiteY3" fmla="*/ 0 h 166086"/>
                  <a:gd name="connsiteX4" fmla="*/ 3103 w 123638"/>
                  <a:gd name="connsiteY4" fmla="*/ 0 h 166086"/>
                  <a:gd name="connsiteX5" fmla="*/ 0 w 123638"/>
                  <a:gd name="connsiteY5" fmla="*/ 3103 h 166086"/>
                  <a:gd name="connsiteX6" fmla="*/ 0 w 123638"/>
                  <a:gd name="connsiteY6" fmla="*/ 160632 h 166086"/>
                  <a:gd name="connsiteX7" fmla="*/ 3103 w 123638"/>
                  <a:gd name="connsiteY7" fmla="*/ 163735 h 166086"/>
                  <a:gd name="connsiteX8" fmla="*/ 29843 w 123638"/>
                  <a:gd name="connsiteY8" fmla="*/ 163735 h 166086"/>
                  <a:gd name="connsiteX9" fmla="*/ 32947 w 123638"/>
                  <a:gd name="connsiteY9" fmla="*/ 160632 h 166086"/>
                  <a:gd name="connsiteX10" fmla="*/ 32947 w 123638"/>
                  <a:gd name="connsiteY10" fmla="*/ 149025 h 166086"/>
                  <a:gd name="connsiteX11" fmla="*/ 68983 w 123638"/>
                  <a:gd name="connsiteY11" fmla="*/ 166087 h 166086"/>
                  <a:gd name="connsiteX12" fmla="*/ 123638 w 123638"/>
                  <a:gd name="connsiteY12" fmla="*/ 105539 h 166086"/>
                  <a:gd name="connsiteX13" fmla="*/ 68750 w 123638"/>
                  <a:gd name="connsiteY13" fmla="*/ 44663 h 166086"/>
                  <a:gd name="connsiteX14" fmla="*/ 62188 w 123638"/>
                  <a:gd name="connsiteY14" fmla="*/ 135163 h 166086"/>
                  <a:gd name="connsiteX15" fmla="*/ 32947 w 123638"/>
                  <a:gd name="connsiteY15" fmla="*/ 105552 h 166086"/>
                  <a:gd name="connsiteX16" fmla="*/ 62188 w 123638"/>
                  <a:gd name="connsiteY16" fmla="*/ 76174 h 166086"/>
                  <a:gd name="connsiteX17" fmla="*/ 90965 w 123638"/>
                  <a:gd name="connsiteY17" fmla="*/ 105552 h 166086"/>
                  <a:gd name="connsiteX18" fmla="*/ 62188 w 123638"/>
                  <a:gd name="connsiteY18" fmla="*/ 135163 h 166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23638" h="166086">
                    <a:moveTo>
                      <a:pt x="68737" y="44663"/>
                    </a:moveTo>
                    <a:cubicBezTo>
                      <a:pt x="53535" y="44663"/>
                      <a:pt x="40889" y="51252"/>
                      <a:pt x="32947" y="62052"/>
                    </a:cubicBezTo>
                    <a:lnTo>
                      <a:pt x="32947" y="3103"/>
                    </a:lnTo>
                    <a:cubicBezTo>
                      <a:pt x="32947" y="1394"/>
                      <a:pt x="31552" y="0"/>
                      <a:pt x="29843" y="0"/>
                    </a:cubicBezTo>
                    <a:lnTo>
                      <a:pt x="3103" y="0"/>
                    </a:lnTo>
                    <a:cubicBezTo>
                      <a:pt x="1394" y="0"/>
                      <a:pt x="0" y="1394"/>
                      <a:pt x="0" y="3103"/>
                    </a:cubicBezTo>
                    <a:lnTo>
                      <a:pt x="0" y="160632"/>
                    </a:lnTo>
                    <a:cubicBezTo>
                      <a:pt x="0" y="162341"/>
                      <a:pt x="1394" y="163735"/>
                      <a:pt x="3103" y="163735"/>
                    </a:cubicBezTo>
                    <a:lnTo>
                      <a:pt x="29843" y="163735"/>
                    </a:lnTo>
                    <a:cubicBezTo>
                      <a:pt x="31552" y="163735"/>
                      <a:pt x="32947" y="162341"/>
                      <a:pt x="32947" y="160632"/>
                    </a:cubicBezTo>
                    <a:lnTo>
                      <a:pt x="32947" y="149025"/>
                    </a:lnTo>
                    <a:cubicBezTo>
                      <a:pt x="40903" y="159839"/>
                      <a:pt x="53535" y="166087"/>
                      <a:pt x="68983" y="166087"/>
                    </a:cubicBezTo>
                    <a:cubicBezTo>
                      <a:pt x="101505" y="166087"/>
                      <a:pt x="123638" y="139852"/>
                      <a:pt x="123638" y="105539"/>
                    </a:cubicBezTo>
                    <a:cubicBezTo>
                      <a:pt x="123638" y="71225"/>
                      <a:pt x="101505" y="44663"/>
                      <a:pt x="68750" y="44663"/>
                    </a:cubicBezTo>
                    <a:close/>
                    <a:moveTo>
                      <a:pt x="62188" y="135163"/>
                    </a:moveTo>
                    <a:cubicBezTo>
                      <a:pt x="45346" y="135163"/>
                      <a:pt x="32947" y="121533"/>
                      <a:pt x="32947" y="105552"/>
                    </a:cubicBezTo>
                    <a:cubicBezTo>
                      <a:pt x="32947" y="89571"/>
                      <a:pt x="45346" y="76174"/>
                      <a:pt x="62188" y="76174"/>
                    </a:cubicBezTo>
                    <a:cubicBezTo>
                      <a:pt x="79031" y="76174"/>
                      <a:pt x="90965" y="89571"/>
                      <a:pt x="90965" y="105552"/>
                    </a:cubicBezTo>
                    <a:cubicBezTo>
                      <a:pt x="90965" y="121533"/>
                      <a:pt x="78798" y="135163"/>
                      <a:pt x="62188" y="13516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587D3773-4F92-E1B2-63BF-087596C1396B}"/>
                  </a:ext>
                </a:extLst>
              </p:cNvPr>
              <p:cNvSpPr/>
              <p:nvPr/>
            </p:nvSpPr>
            <p:spPr>
              <a:xfrm>
                <a:off x="11359421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A8F17107-B436-DDA3-E9ED-996F3C7D98A3}"/>
                  </a:ext>
                </a:extLst>
              </p:cNvPr>
              <p:cNvSpPr/>
              <p:nvPr/>
            </p:nvSpPr>
            <p:spPr>
              <a:xfrm>
                <a:off x="11662542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5324F4FB-5E45-8E87-B7CA-2BDD1789E051}"/>
                  </a:ext>
                </a:extLst>
              </p:cNvPr>
              <p:cNvSpPr/>
              <p:nvPr/>
            </p:nvSpPr>
            <p:spPr>
              <a:xfrm>
                <a:off x="11122821" y="6519528"/>
                <a:ext cx="32932" cy="116680"/>
              </a:xfrm>
              <a:custGeom>
                <a:avLst/>
                <a:gdLst>
                  <a:gd name="connsiteX0" fmla="*/ 29843 w 32932"/>
                  <a:gd name="connsiteY0" fmla="*/ 116680 h 116680"/>
                  <a:gd name="connsiteX1" fmla="*/ 3103 w 32932"/>
                  <a:gd name="connsiteY1" fmla="*/ 116680 h 116680"/>
                  <a:gd name="connsiteX2" fmla="*/ 0 w 32932"/>
                  <a:gd name="connsiteY2" fmla="*/ 113577 h 116680"/>
                  <a:gd name="connsiteX3" fmla="*/ 0 w 32932"/>
                  <a:gd name="connsiteY3" fmla="*/ 30554 h 116680"/>
                  <a:gd name="connsiteX4" fmla="*/ 1859 w 32932"/>
                  <a:gd name="connsiteY4" fmla="*/ 26125 h 116680"/>
                  <a:gd name="connsiteX5" fmla="*/ 27670 w 32932"/>
                  <a:gd name="connsiteY5" fmla="*/ 888 h 116680"/>
                  <a:gd name="connsiteX6" fmla="*/ 32933 w 32932"/>
                  <a:gd name="connsiteY6" fmla="*/ 3103 h 116680"/>
                  <a:gd name="connsiteX7" fmla="*/ 32933 w 32932"/>
                  <a:gd name="connsiteY7" fmla="*/ 113577 h 116680"/>
                  <a:gd name="connsiteX8" fmla="*/ 29830 w 32932"/>
                  <a:gd name="connsiteY8" fmla="*/ 116680 h 116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932" h="116680">
                    <a:moveTo>
                      <a:pt x="29843" y="116680"/>
                    </a:moveTo>
                    <a:lnTo>
                      <a:pt x="3103" y="116680"/>
                    </a:lnTo>
                    <a:cubicBezTo>
                      <a:pt x="1394" y="116680"/>
                      <a:pt x="0" y="115286"/>
                      <a:pt x="0" y="113577"/>
                    </a:cubicBezTo>
                    <a:lnTo>
                      <a:pt x="0" y="30554"/>
                    </a:lnTo>
                    <a:cubicBezTo>
                      <a:pt x="0" y="28886"/>
                      <a:pt x="670" y="27287"/>
                      <a:pt x="1859" y="26125"/>
                    </a:cubicBezTo>
                    <a:lnTo>
                      <a:pt x="27670" y="888"/>
                    </a:lnTo>
                    <a:cubicBezTo>
                      <a:pt x="29638" y="-1026"/>
                      <a:pt x="32933" y="355"/>
                      <a:pt x="32933" y="3103"/>
                    </a:cubicBezTo>
                    <a:lnTo>
                      <a:pt x="32933" y="113577"/>
                    </a:lnTo>
                    <a:cubicBezTo>
                      <a:pt x="32933" y="115286"/>
                      <a:pt x="31538" y="116680"/>
                      <a:pt x="29830" y="11668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2C928FEB-CA8F-7AEC-A3D5-E1AFFC403744}"/>
                  </a:ext>
                </a:extLst>
              </p:cNvPr>
              <p:cNvSpPr/>
              <p:nvPr/>
            </p:nvSpPr>
            <p:spPr>
              <a:xfrm>
                <a:off x="11173074" y="6517105"/>
                <a:ext cx="107493" cy="119116"/>
              </a:xfrm>
              <a:custGeom>
                <a:avLst/>
                <a:gdLst>
                  <a:gd name="connsiteX0" fmla="*/ 107480 w 107493"/>
                  <a:gd name="connsiteY0" fmla="*/ 41877 h 119116"/>
                  <a:gd name="connsiteX1" fmla="*/ 65237 w 107493"/>
                  <a:gd name="connsiteY1" fmla="*/ 3 h 119116"/>
                  <a:gd name="connsiteX2" fmla="*/ 32947 w 107493"/>
                  <a:gd name="connsiteY2" fmla="*/ 17474 h 119116"/>
                  <a:gd name="connsiteX3" fmla="*/ 32947 w 107493"/>
                  <a:gd name="connsiteY3" fmla="*/ 5581 h 119116"/>
                  <a:gd name="connsiteX4" fmla="*/ 29843 w 107493"/>
                  <a:gd name="connsiteY4" fmla="*/ 2478 h 119116"/>
                  <a:gd name="connsiteX5" fmla="*/ 3103 w 107493"/>
                  <a:gd name="connsiteY5" fmla="*/ 2478 h 119116"/>
                  <a:gd name="connsiteX6" fmla="*/ 0 w 107493"/>
                  <a:gd name="connsiteY6" fmla="*/ 5581 h 119116"/>
                  <a:gd name="connsiteX7" fmla="*/ 0 w 107493"/>
                  <a:gd name="connsiteY7" fmla="*/ 116000 h 119116"/>
                  <a:gd name="connsiteX8" fmla="*/ 3103 w 107493"/>
                  <a:gd name="connsiteY8" fmla="*/ 119103 h 119116"/>
                  <a:gd name="connsiteX9" fmla="*/ 29843 w 107493"/>
                  <a:gd name="connsiteY9" fmla="*/ 119103 h 119116"/>
                  <a:gd name="connsiteX10" fmla="*/ 32947 w 107493"/>
                  <a:gd name="connsiteY10" fmla="*/ 116000 h 119116"/>
                  <a:gd name="connsiteX11" fmla="*/ 32947 w 107493"/>
                  <a:gd name="connsiteY11" fmla="*/ 51788 h 119116"/>
                  <a:gd name="connsiteX12" fmla="*/ 53740 w 107493"/>
                  <a:gd name="connsiteY12" fmla="*/ 31747 h 119116"/>
                  <a:gd name="connsiteX13" fmla="*/ 74547 w 107493"/>
                  <a:gd name="connsiteY13" fmla="*/ 53210 h 119116"/>
                  <a:gd name="connsiteX14" fmla="*/ 74547 w 107493"/>
                  <a:gd name="connsiteY14" fmla="*/ 116014 h 119116"/>
                  <a:gd name="connsiteX15" fmla="*/ 77650 w 107493"/>
                  <a:gd name="connsiteY15" fmla="*/ 119117 h 119116"/>
                  <a:gd name="connsiteX16" fmla="*/ 104390 w 107493"/>
                  <a:gd name="connsiteY16" fmla="*/ 119117 h 119116"/>
                  <a:gd name="connsiteX17" fmla="*/ 107493 w 107493"/>
                  <a:gd name="connsiteY17" fmla="*/ 116014 h 119116"/>
                  <a:gd name="connsiteX18" fmla="*/ 107493 w 107493"/>
                  <a:gd name="connsiteY18" fmla="*/ 41890 h 119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7493" h="119116">
                    <a:moveTo>
                      <a:pt x="107480" y="41877"/>
                    </a:moveTo>
                    <a:cubicBezTo>
                      <a:pt x="107480" y="19252"/>
                      <a:pt x="88792" y="277"/>
                      <a:pt x="65237" y="3"/>
                    </a:cubicBezTo>
                    <a:cubicBezTo>
                      <a:pt x="49912" y="-175"/>
                      <a:pt x="39563" y="7331"/>
                      <a:pt x="32947" y="17474"/>
                    </a:cubicBezTo>
                    <a:lnTo>
                      <a:pt x="32947" y="5581"/>
                    </a:lnTo>
                    <a:cubicBezTo>
                      <a:pt x="32947" y="3872"/>
                      <a:pt x="31552" y="2478"/>
                      <a:pt x="29843" y="2478"/>
                    </a:cubicBezTo>
                    <a:lnTo>
                      <a:pt x="3103" y="2478"/>
                    </a:lnTo>
                    <a:cubicBezTo>
                      <a:pt x="1394" y="2478"/>
                      <a:pt x="0" y="3872"/>
                      <a:pt x="0" y="5581"/>
                    </a:cubicBezTo>
                    <a:lnTo>
                      <a:pt x="0" y="116000"/>
                    </a:lnTo>
                    <a:cubicBezTo>
                      <a:pt x="0" y="117709"/>
                      <a:pt x="1394" y="119103"/>
                      <a:pt x="3103" y="119103"/>
                    </a:cubicBezTo>
                    <a:lnTo>
                      <a:pt x="29843" y="119103"/>
                    </a:lnTo>
                    <a:cubicBezTo>
                      <a:pt x="31552" y="119103"/>
                      <a:pt x="32947" y="117709"/>
                      <a:pt x="32947" y="116000"/>
                    </a:cubicBezTo>
                    <a:lnTo>
                      <a:pt x="32947" y="51788"/>
                    </a:lnTo>
                    <a:cubicBezTo>
                      <a:pt x="33685" y="39430"/>
                      <a:pt x="41518" y="31747"/>
                      <a:pt x="53740" y="31747"/>
                    </a:cubicBezTo>
                    <a:cubicBezTo>
                      <a:pt x="65961" y="31747"/>
                      <a:pt x="74547" y="40373"/>
                      <a:pt x="74547" y="53210"/>
                    </a:cubicBezTo>
                    <a:lnTo>
                      <a:pt x="74547" y="116014"/>
                    </a:lnTo>
                    <a:cubicBezTo>
                      <a:pt x="74547" y="117722"/>
                      <a:pt x="75941" y="119117"/>
                      <a:pt x="77650" y="119117"/>
                    </a:cubicBezTo>
                    <a:lnTo>
                      <a:pt x="104390" y="119117"/>
                    </a:lnTo>
                    <a:cubicBezTo>
                      <a:pt x="106099" y="119117"/>
                      <a:pt x="107493" y="117722"/>
                      <a:pt x="107493" y="116014"/>
                    </a:cubicBezTo>
                    <a:lnTo>
                      <a:pt x="107493" y="41890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2" name="Title 1">
            <a:extLst>
              <a:ext uri="{FF2B5EF4-FFF2-40B4-BE49-F238E27FC236}">
                <a16:creationId xmlns:a16="http://schemas.microsoft.com/office/drawing/2014/main" id="{D8781330-EA5B-8C83-A54A-C1B82CE78F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735" y="849285"/>
            <a:ext cx="4888865" cy="573115"/>
          </a:xfrm>
          <a:prstGeom prst="rect">
            <a:avLst/>
          </a:prstGeom>
          <a:noFill/>
        </p:spPr>
        <p:txBody>
          <a:bodyPr wrap="square" rtlCol="0" anchor="b">
            <a:noAutofit/>
          </a:bodyPr>
          <a:lstStyle>
            <a:lvl1pPr>
              <a:lnSpc>
                <a:spcPct val="85000"/>
              </a:lnSpc>
              <a:defRPr kumimoji="0" lang="en-US" sz="3400" b="1" i="0" u="none" strike="noStrike" cap="all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Lato" panose="020F0502020204030203" pitchFamily="34" charset="77"/>
                <a:ea typeface="Lato" panose="020F0502020204030203" pitchFamily="34" charset="77"/>
                <a:cs typeface="Arial" panose="020B0604020202020204" pitchFamily="34" charset="0"/>
              </a:defRPr>
            </a:lvl1pPr>
          </a:lstStyle>
          <a:p>
            <a:pPr marL="0"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Agenda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90C3CB1A-57B9-2763-AB64-A0AC3745409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00735" y="1856232"/>
            <a:ext cx="4888866" cy="444296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indent="0">
              <a:buNone/>
              <a:defRPr lang="en-US" sz="1800" b="0" i="0" dirty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US"/>
              <a:t>Click to edit Master text styles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9575CC9-9469-69F3-BAF1-FB74DFF18E40}"/>
              </a:ext>
            </a:extLst>
          </p:cNvPr>
          <p:cNvPicPr preferRelativeResize="0"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892096" y="1451603"/>
            <a:ext cx="4846320" cy="27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9197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E51364C2-0B33-AFC9-05DA-8650D86FF6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5C9B6833-13CE-5FF6-D3A2-AC1F153DF72D}"/>
              </a:ext>
            </a:extLst>
          </p:cNvPr>
          <p:cNvGrpSpPr/>
          <p:nvPr userDrawn="1"/>
        </p:nvGrpSpPr>
        <p:grpSpPr>
          <a:xfrm>
            <a:off x="11122821" y="6472473"/>
            <a:ext cx="799629" cy="166100"/>
            <a:chOff x="11122821" y="6472473"/>
            <a:chExt cx="799629" cy="166100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DC7D769E-9D0F-AE3B-F84F-21A906464D53}"/>
                </a:ext>
              </a:extLst>
            </p:cNvPr>
            <p:cNvSpPr/>
            <p:nvPr/>
          </p:nvSpPr>
          <p:spPr>
            <a:xfrm rot="18900000">
              <a:off x="11134957" y="6473485"/>
              <a:ext cx="35147" cy="35147"/>
            </a:xfrm>
            <a:custGeom>
              <a:avLst/>
              <a:gdLst>
                <a:gd name="connsiteX0" fmla="*/ 32044 w 35147"/>
                <a:gd name="connsiteY0" fmla="*/ 0 h 35147"/>
                <a:gd name="connsiteX1" fmla="*/ 35148 w 35147"/>
                <a:gd name="connsiteY1" fmla="*/ 3103 h 35147"/>
                <a:gd name="connsiteX2" fmla="*/ 35148 w 35147"/>
                <a:gd name="connsiteY2" fmla="*/ 32044 h 35147"/>
                <a:gd name="connsiteX3" fmla="*/ 32044 w 35147"/>
                <a:gd name="connsiteY3" fmla="*/ 35148 h 35147"/>
                <a:gd name="connsiteX4" fmla="*/ 3103 w 35147"/>
                <a:gd name="connsiteY4" fmla="*/ 35148 h 35147"/>
                <a:gd name="connsiteX5" fmla="*/ 0 w 35147"/>
                <a:gd name="connsiteY5" fmla="*/ 32044 h 35147"/>
                <a:gd name="connsiteX6" fmla="*/ 0 w 35147"/>
                <a:gd name="connsiteY6" fmla="*/ 3103 h 35147"/>
                <a:gd name="connsiteX7" fmla="*/ 3103 w 35147"/>
                <a:gd name="connsiteY7" fmla="*/ 0 h 35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147" h="35147">
                  <a:moveTo>
                    <a:pt x="32044" y="0"/>
                  </a:moveTo>
                  <a:cubicBezTo>
                    <a:pt x="33758" y="0"/>
                    <a:pt x="35148" y="1389"/>
                    <a:pt x="35148" y="3103"/>
                  </a:cubicBezTo>
                  <a:lnTo>
                    <a:pt x="35148" y="32044"/>
                  </a:lnTo>
                  <a:cubicBezTo>
                    <a:pt x="35148" y="33758"/>
                    <a:pt x="33758" y="35148"/>
                    <a:pt x="32044" y="35148"/>
                  </a:cubicBezTo>
                  <a:lnTo>
                    <a:pt x="3103" y="35148"/>
                  </a:lnTo>
                  <a:cubicBezTo>
                    <a:pt x="1389" y="35148"/>
                    <a:pt x="0" y="33758"/>
                    <a:pt x="0" y="32044"/>
                  </a:cubicBezTo>
                  <a:lnTo>
                    <a:pt x="0" y="3103"/>
                  </a:lnTo>
                  <a:cubicBezTo>
                    <a:pt x="0" y="1389"/>
                    <a:pt x="1389" y="0"/>
                    <a:pt x="3103" y="0"/>
                  </a:cubicBezTo>
                  <a:close/>
                </a:path>
              </a:pathLst>
            </a:custGeom>
            <a:solidFill>
              <a:srgbClr val="00BD4D"/>
            </a:solidFill>
            <a:ln w="135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49D3A9E8-8F71-959D-72F7-F0E1028766DF}"/>
                </a:ext>
              </a:extLst>
            </p:cNvPr>
            <p:cNvGrpSpPr/>
            <p:nvPr/>
          </p:nvGrpSpPr>
          <p:grpSpPr>
            <a:xfrm>
              <a:off x="11122821" y="6472473"/>
              <a:ext cx="799629" cy="166100"/>
              <a:chOff x="11122821" y="6472473"/>
              <a:chExt cx="799629" cy="166100"/>
            </a:xfrm>
            <a:solidFill>
              <a:schemeClr val="bg1"/>
            </a:solidFill>
          </p:grpSpPr>
          <p:sp>
            <p:nvSpPr>
              <p:cNvPr id="7" name="Freeform: Shape 6">
                <a:extLst>
                  <a:ext uri="{FF2B5EF4-FFF2-40B4-BE49-F238E27FC236}">
                    <a16:creationId xmlns:a16="http://schemas.microsoft.com/office/drawing/2014/main" id="{DC305258-1CEA-C0E8-69AC-A0D14D721A88}"/>
                  </a:ext>
                </a:extLst>
              </p:cNvPr>
              <p:cNvSpPr/>
              <p:nvPr/>
            </p:nvSpPr>
            <p:spPr>
              <a:xfrm>
                <a:off x="11774281" y="6519597"/>
                <a:ext cx="119385" cy="116611"/>
              </a:xfrm>
              <a:custGeom>
                <a:avLst/>
                <a:gdLst>
                  <a:gd name="connsiteX0" fmla="*/ 82523 w 119385"/>
                  <a:gd name="connsiteY0" fmla="*/ 58306 h 116611"/>
                  <a:gd name="connsiteX1" fmla="*/ 118887 w 119385"/>
                  <a:gd name="connsiteY1" fmla="*/ 112265 h 116611"/>
                  <a:gd name="connsiteX2" fmla="*/ 116385 w 119385"/>
                  <a:gd name="connsiteY2" fmla="*/ 116612 h 116611"/>
                  <a:gd name="connsiteX3" fmla="*/ 85831 w 119385"/>
                  <a:gd name="connsiteY3" fmla="*/ 116612 h 116611"/>
                  <a:gd name="connsiteX4" fmla="*/ 80718 w 119385"/>
                  <a:gd name="connsiteY4" fmla="*/ 113919 h 116611"/>
                  <a:gd name="connsiteX5" fmla="*/ 59693 w 119385"/>
                  <a:gd name="connsiteY5" fmla="*/ 81751 h 116611"/>
                  <a:gd name="connsiteX6" fmla="*/ 38667 w 119385"/>
                  <a:gd name="connsiteY6" fmla="*/ 113919 h 116611"/>
                  <a:gd name="connsiteX7" fmla="*/ 33554 w 119385"/>
                  <a:gd name="connsiteY7" fmla="*/ 116612 h 116611"/>
                  <a:gd name="connsiteX8" fmla="*/ 3000 w 119385"/>
                  <a:gd name="connsiteY8" fmla="*/ 116612 h 116611"/>
                  <a:gd name="connsiteX9" fmla="*/ 498 w 119385"/>
                  <a:gd name="connsiteY9" fmla="*/ 112265 h 116611"/>
                  <a:gd name="connsiteX10" fmla="*/ 36753 w 119385"/>
                  <a:gd name="connsiteY10" fmla="*/ 58306 h 116611"/>
                  <a:gd name="connsiteX11" fmla="*/ 498 w 119385"/>
                  <a:gd name="connsiteY11" fmla="*/ 4347 h 116611"/>
                  <a:gd name="connsiteX12" fmla="*/ 3000 w 119385"/>
                  <a:gd name="connsiteY12" fmla="*/ 0 h 116611"/>
                  <a:gd name="connsiteX13" fmla="*/ 34853 w 119385"/>
                  <a:gd name="connsiteY13" fmla="*/ 0 h 116611"/>
                  <a:gd name="connsiteX14" fmla="*/ 37778 w 119385"/>
                  <a:gd name="connsiteY14" fmla="*/ 1449 h 116611"/>
                  <a:gd name="connsiteX15" fmla="*/ 59679 w 119385"/>
                  <a:gd name="connsiteY15" fmla="*/ 34806 h 116611"/>
                  <a:gd name="connsiteX16" fmla="*/ 80240 w 119385"/>
                  <a:gd name="connsiteY16" fmla="*/ 1463 h 116611"/>
                  <a:gd name="connsiteX17" fmla="*/ 83165 w 119385"/>
                  <a:gd name="connsiteY17" fmla="*/ 0 h 116611"/>
                  <a:gd name="connsiteX18" fmla="*/ 115333 w 119385"/>
                  <a:gd name="connsiteY18" fmla="*/ 0 h 116611"/>
                  <a:gd name="connsiteX19" fmla="*/ 117834 w 119385"/>
                  <a:gd name="connsiteY19" fmla="*/ 4334 h 116611"/>
                  <a:gd name="connsiteX20" fmla="*/ 82495 w 119385"/>
                  <a:gd name="connsiteY20" fmla="*/ 58306 h 116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19385" h="116611">
                    <a:moveTo>
                      <a:pt x="82523" y="58306"/>
                    </a:moveTo>
                    <a:lnTo>
                      <a:pt x="118887" y="112265"/>
                    </a:lnTo>
                    <a:cubicBezTo>
                      <a:pt x="120199" y="114124"/>
                      <a:pt x="118764" y="116612"/>
                      <a:pt x="116385" y="116612"/>
                    </a:cubicBezTo>
                    <a:lnTo>
                      <a:pt x="85831" y="116612"/>
                    </a:lnTo>
                    <a:cubicBezTo>
                      <a:pt x="83794" y="116612"/>
                      <a:pt x="81880" y="115600"/>
                      <a:pt x="80718" y="113919"/>
                    </a:cubicBezTo>
                    <a:lnTo>
                      <a:pt x="59693" y="81751"/>
                    </a:lnTo>
                    <a:lnTo>
                      <a:pt x="38667" y="113919"/>
                    </a:lnTo>
                    <a:cubicBezTo>
                      <a:pt x="37505" y="115600"/>
                      <a:pt x="35605" y="116612"/>
                      <a:pt x="33554" y="116612"/>
                    </a:cubicBezTo>
                    <a:lnTo>
                      <a:pt x="3000" y="116612"/>
                    </a:lnTo>
                    <a:cubicBezTo>
                      <a:pt x="621" y="116612"/>
                      <a:pt x="-814" y="114138"/>
                      <a:pt x="498" y="112265"/>
                    </a:cubicBezTo>
                    <a:lnTo>
                      <a:pt x="36753" y="58306"/>
                    </a:lnTo>
                    <a:lnTo>
                      <a:pt x="498" y="4347"/>
                    </a:lnTo>
                    <a:cubicBezTo>
                      <a:pt x="-814" y="2488"/>
                      <a:pt x="621" y="0"/>
                      <a:pt x="3000" y="0"/>
                    </a:cubicBezTo>
                    <a:lnTo>
                      <a:pt x="34853" y="0"/>
                    </a:lnTo>
                    <a:cubicBezTo>
                      <a:pt x="36042" y="0"/>
                      <a:pt x="37149" y="547"/>
                      <a:pt x="37778" y="1449"/>
                    </a:cubicBezTo>
                    <a:lnTo>
                      <a:pt x="59679" y="34806"/>
                    </a:lnTo>
                    <a:lnTo>
                      <a:pt x="80240" y="1463"/>
                    </a:lnTo>
                    <a:cubicBezTo>
                      <a:pt x="80855" y="561"/>
                      <a:pt x="81976" y="0"/>
                      <a:pt x="83165" y="0"/>
                    </a:cubicBezTo>
                    <a:lnTo>
                      <a:pt x="115333" y="0"/>
                    </a:lnTo>
                    <a:cubicBezTo>
                      <a:pt x="117711" y="0"/>
                      <a:pt x="119133" y="2474"/>
                      <a:pt x="117834" y="4334"/>
                    </a:cubicBezTo>
                    <a:lnTo>
                      <a:pt x="82495" y="58306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" name="Freeform: Shape 7">
                <a:extLst>
                  <a:ext uri="{FF2B5EF4-FFF2-40B4-BE49-F238E27FC236}">
                    <a16:creationId xmlns:a16="http://schemas.microsoft.com/office/drawing/2014/main" id="{5FEF1BFA-2ACB-FD53-11EC-A594ED526450}"/>
                  </a:ext>
                </a:extLst>
              </p:cNvPr>
              <p:cNvSpPr/>
              <p:nvPr/>
            </p:nvSpPr>
            <p:spPr>
              <a:xfrm>
                <a:off x="11284928" y="6472473"/>
                <a:ext cx="78825" cy="163762"/>
              </a:xfrm>
              <a:custGeom>
                <a:avLst/>
                <a:gdLst>
                  <a:gd name="connsiteX0" fmla="*/ 75722 w 78825"/>
                  <a:gd name="connsiteY0" fmla="*/ 14 h 163762"/>
                  <a:gd name="connsiteX1" fmla="*/ 50377 w 78825"/>
                  <a:gd name="connsiteY1" fmla="*/ 14 h 163762"/>
                  <a:gd name="connsiteX2" fmla="*/ 43801 w 78825"/>
                  <a:gd name="connsiteY2" fmla="*/ 2734 h 163762"/>
                  <a:gd name="connsiteX3" fmla="*/ 19987 w 78825"/>
                  <a:gd name="connsiteY3" fmla="*/ 26549 h 163762"/>
                  <a:gd name="connsiteX4" fmla="*/ 17266 w 78825"/>
                  <a:gd name="connsiteY4" fmla="*/ 33124 h 163762"/>
                  <a:gd name="connsiteX5" fmla="*/ 17266 w 78825"/>
                  <a:gd name="connsiteY5" fmla="*/ 51867 h 163762"/>
                  <a:gd name="connsiteX6" fmla="*/ 3049 w 78825"/>
                  <a:gd name="connsiteY6" fmla="*/ 51867 h 163762"/>
                  <a:gd name="connsiteX7" fmla="*/ 0 w 78825"/>
                  <a:gd name="connsiteY7" fmla="*/ 54916 h 163762"/>
                  <a:gd name="connsiteX8" fmla="*/ 0 w 78825"/>
                  <a:gd name="connsiteY8" fmla="*/ 75955 h 163762"/>
                  <a:gd name="connsiteX9" fmla="*/ 3049 w 78825"/>
                  <a:gd name="connsiteY9" fmla="*/ 79004 h 163762"/>
                  <a:gd name="connsiteX10" fmla="*/ 17266 w 78825"/>
                  <a:gd name="connsiteY10" fmla="*/ 79004 h 163762"/>
                  <a:gd name="connsiteX11" fmla="*/ 17266 w 78825"/>
                  <a:gd name="connsiteY11" fmla="*/ 160659 h 163762"/>
                  <a:gd name="connsiteX12" fmla="*/ 20369 w 78825"/>
                  <a:gd name="connsiteY12" fmla="*/ 163763 h 163762"/>
                  <a:gd name="connsiteX13" fmla="*/ 47109 w 78825"/>
                  <a:gd name="connsiteY13" fmla="*/ 163763 h 163762"/>
                  <a:gd name="connsiteX14" fmla="*/ 50213 w 78825"/>
                  <a:gd name="connsiteY14" fmla="*/ 160659 h 163762"/>
                  <a:gd name="connsiteX15" fmla="*/ 50213 w 78825"/>
                  <a:gd name="connsiteY15" fmla="*/ 78990 h 163762"/>
                  <a:gd name="connsiteX16" fmla="*/ 71443 w 78825"/>
                  <a:gd name="connsiteY16" fmla="*/ 78990 h 163762"/>
                  <a:gd name="connsiteX17" fmla="*/ 74492 w 78825"/>
                  <a:gd name="connsiteY17" fmla="*/ 75941 h 163762"/>
                  <a:gd name="connsiteX18" fmla="*/ 74492 w 78825"/>
                  <a:gd name="connsiteY18" fmla="*/ 54902 h 163762"/>
                  <a:gd name="connsiteX19" fmla="*/ 71443 w 78825"/>
                  <a:gd name="connsiteY19" fmla="*/ 51853 h 163762"/>
                  <a:gd name="connsiteX20" fmla="*/ 50213 w 78825"/>
                  <a:gd name="connsiteY20" fmla="*/ 51853 h 163762"/>
                  <a:gd name="connsiteX21" fmla="*/ 50213 w 78825"/>
                  <a:gd name="connsiteY21" fmla="*/ 38565 h 163762"/>
                  <a:gd name="connsiteX22" fmla="*/ 59509 w 78825"/>
                  <a:gd name="connsiteY22" fmla="*/ 29269 h 163762"/>
                  <a:gd name="connsiteX23" fmla="*/ 75722 w 78825"/>
                  <a:gd name="connsiteY23" fmla="*/ 29269 h 163762"/>
                  <a:gd name="connsiteX24" fmla="*/ 78826 w 78825"/>
                  <a:gd name="connsiteY24" fmla="*/ 26166 h 163762"/>
                  <a:gd name="connsiteX25" fmla="*/ 78826 w 78825"/>
                  <a:gd name="connsiteY25" fmla="*/ 3103 h 163762"/>
                  <a:gd name="connsiteX26" fmla="*/ 75722 w 78825"/>
                  <a:gd name="connsiteY26" fmla="*/ 0 h 163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78825" h="163762">
                    <a:moveTo>
                      <a:pt x="75722" y="14"/>
                    </a:moveTo>
                    <a:lnTo>
                      <a:pt x="50377" y="14"/>
                    </a:lnTo>
                    <a:cubicBezTo>
                      <a:pt x="47916" y="14"/>
                      <a:pt x="45551" y="998"/>
                      <a:pt x="43801" y="2734"/>
                    </a:cubicBezTo>
                    <a:lnTo>
                      <a:pt x="19987" y="26549"/>
                    </a:lnTo>
                    <a:cubicBezTo>
                      <a:pt x="18237" y="28299"/>
                      <a:pt x="17266" y="30664"/>
                      <a:pt x="17266" y="33124"/>
                    </a:cubicBezTo>
                    <a:lnTo>
                      <a:pt x="17266" y="51867"/>
                    </a:lnTo>
                    <a:lnTo>
                      <a:pt x="3049" y="51867"/>
                    </a:lnTo>
                    <a:cubicBezTo>
                      <a:pt x="1367" y="51867"/>
                      <a:pt x="0" y="53234"/>
                      <a:pt x="0" y="54916"/>
                    </a:cubicBezTo>
                    <a:lnTo>
                      <a:pt x="0" y="75955"/>
                    </a:lnTo>
                    <a:cubicBezTo>
                      <a:pt x="0" y="77636"/>
                      <a:pt x="1367" y="79004"/>
                      <a:pt x="3049" y="79004"/>
                    </a:cubicBezTo>
                    <a:lnTo>
                      <a:pt x="17266" y="79004"/>
                    </a:lnTo>
                    <a:lnTo>
                      <a:pt x="17266" y="160659"/>
                    </a:lnTo>
                    <a:cubicBezTo>
                      <a:pt x="17266" y="162368"/>
                      <a:pt x="18661" y="163763"/>
                      <a:pt x="20369" y="163763"/>
                    </a:cubicBezTo>
                    <a:lnTo>
                      <a:pt x="47109" y="163763"/>
                    </a:lnTo>
                    <a:cubicBezTo>
                      <a:pt x="48818" y="163763"/>
                      <a:pt x="50213" y="162368"/>
                      <a:pt x="50213" y="160659"/>
                    </a:cubicBezTo>
                    <a:lnTo>
                      <a:pt x="50213" y="78990"/>
                    </a:lnTo>
                    <a:lnTo>
                      <a:pt x="71443" y="78990"/>
                    </a:lnTo>
                    <a:cubicBezTo>
                      <a:pt x="73125" y="78990"/>
                      <a:pt x="74492" y="77623"/>
                      <a:pt x="74492" y="75941"/>
                    </a:cubicBezTo>
                    <a:lnTo>
                      <a:pt x="74492" y="54902"/>
                    </a:lnTo>
                    <a:cubicBezTo>
                      <a:pt x="74492" y="53220"/>
                      <a:pt x="73125" y="51853"/>
                      <a:pt x="71443" y="51853"/>
                    </a:cubicBezTo>
                    <a:lnTo>
                      <a:pt x="50213" y="51853"/>
                    </a:lnTo>
                    <a:lnTo>
                      <a:pt x="50213" y="38565"/>
                    </a:lnTo>
                    <a:cubicBezTo>
                      <a:pt x="50213" y="33425"/>
                      <a:pt x="54382" y="29269"/>
                      <a:pt x="59509" y="29269"/>
                    </a:cubicBezTo>
                    <a:lnTo>
                      <a:pt x="75722" y="29269"/>
                    </a:lnTo>
                    <a:cubicBezTo>
                      <a:pt x="77431" y="29269"/>
                      <a:pt x="78826" y="27875"/>
                      <a:pt x="78826" y="26166"/>
                    </a:cubicBezTo>
                    <a:lnTo>
                      <a:pt x="78826" y="3103"/>
                    </a:lnTo>
                    <a:cubicBezTo>
                      <a:pt x="78826" y="1394"/>
                      <a:pt x="77431" y="0"/>
                      <a:pt x="75722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670C843E-04E8-084B-52D9-4603B10F2DF4}"/>
                  </a:ext>
                </a:extLst>
              </p:cNvPr>
              <p:cNvSpPr/>
              <p:nvPr/>
            </p:nvSpPr>
            <p:spPr>
              <a:xfrm>
                <a:off x="11896791" y="6612367"/>
                <a:ext cx="25659" cy="25660"/>
              </a:xfrm>
              <a:custGeom>
                <a:avLst/>
                <a:gdLst>
                  <a:gd name="connsiteX0" fmla="*/ 25660 w 25659"/>
                  <a:gd name="connsiteY0" fmla="*/ 12810 h 25660"/>
                  <a:gd name="connsiteX1" fmla="*/ 12782 w 25659"/>
                  <a:gd name="connsiteY1" fmla="*/ 25660 h 25660"/>
                  <a:gd name="connsiteX2" fmla="*/ 0 w 25659"/>
                  <a:gd name="connsiteY2" fmla="*/ 12810 h 25660"/>
                  <a:gd name="connsiteX3" fmla="*/ 12823 w 25659"/>
                  <a:gd name="connsiteY3" fmla="*/ 0 h 25660"/>
                  <a:gd name="connsiteX4" fmla="*/ 25646 w 25659"/>
                  <a:gd name="connsiteY4" fmla="*/ 12810 h 25660"/>
                  <a:gd name="connsiteX5" fmla="*/ 23691 w 25659"/>
                  <a:gd name="connsiteY5" fmla="*/ 12864 h 25660"/>
                  <a:gd name="connsiteX6" fmla="*/ 12837 w 25659"/>
                  <a:gd name="connsiteY6" fmla="*/ 1832 h 25660"/>
                  <a:gd name="connsiteX7" fmla="*/ 1982 w 25659"/>
                  <a:gd name="connsiteY7" fmla="*/ 12851 h 25660"/>
                  <a:gd name="connsiteX8" fmla="*/ 12782 w 25659"/>
                  <a:gd name="connsiteY8" fmla="*/ 23856 h 25660"/>
                  <a:gd name="connsiteX9" fmla="*/ 23691 w 25659"/>
                  <a:gd name="connsiteY9" fmla="*/ 12864 h 25660"/>
                  <a:gd name="connsiteX10" fmla="*/ 15585 w 25659"/>
                  <a:gd name="connsiteY10" fmla="*/ 14888 h 25660"/>
                  <a:gd name="connsiteX11" fmla="*/ 18811 w 25659"/>
                  <a:gd name="connsiteY11" fmla="*/ 19905 h 25660"/>
                  <a:gd name="connsiteX12" fmla="*/ 16678 w 25659"/>
                  <a:gd name="connsiteY12" fmla="*/ 19905 h 25660"/>
                  <a:gd name="connsiteX13" fmla="*/ 13097 w 25659"/>
                  <a:gd name="connsiteY13" fmla="*/ 14218 h 25660"/>
                  <a:gd name="connsiteX14" fmla="*/ 9829 w 25659"/>
                  <a:gd name="connsiteY14" fmla="*/ 14218 h 25660"/>
                  <a:gd name="connsiteX15" fmla="*/ 9829 w 25659"/>
                  <a:gd name="connsiteY15" fmla="*/ 19905 h 25660"/>
                  <a:gd name="connsiteX16" fmla="*/ 8038 w 25659"/>
                  <a:gd name="connsiteY16" fmla="*/ 19905 h 25660"/>
                  <a:gd name="connsiteX17" fmla="*/ 8038 w 25659"/>
                  <a:gd name="connsiteY17" fmla="*/ 5523 h 25660"/>
                  <a:gd name="connsiteX18" fmla="*/ 13616 w 25659"/>
                  <a:gd name="connsiteY18" fmla="*/ 5523 h 25660"/>
                  <a:gd name="connsiteX19" fmla="*/ 18155 w 25659"/>
                  <a:gd name="connsiteY19" fmla="*/ 9761 h 25660"/>
                  <a:gd name="connsiteX20" fmla="*/ 14887 w 25659"/>
                  <a:gd name="connsiteY20" fmla="*/ 13917 h 25660"/>
                  <a:gd name="connsiteX21" fmla="*/ 15585 w 25659"/>
                  <a:gd name="connsiteY21" fmla="*/ 14901 h 25660"/>
                  <a:gd name="connsiteX22" fmla="*/ 13015 w 25659"/>
                  <a:gd name="connsiteY22" fmla="*/ 12522 h 25660"/>
                  <a:gd name="connsiteX23" fmla="*/ 16282 w 25659"/>
                  <a:gd name="connsiteY23" fmla="*/ 9870 h 25660"/>
                  <a:gd name="connsiteX24" fmla="*/ 13657 w 25659"/>
                  <a:gd name="connsiteY24" fmla="*/ 7191 h 25660"/>
                  <a:gd name="connsiteX25" fmla="*/ 9816 w 25659"/>
                  <a:gd name="connsiteY25" fmla="*/ 7191 h 25660"/>
                  <a:gd name="connsiteX26" fmla="*/ 9816 w 25659"/>
                  <a:gd name="connsiteY26" fmla="*/ 12509 h 25660"/>
                  <a:gd name="connsiteX27" fmla="*/ 13015 w 25659"/>
                  <a:gd name="connsiteY27" fmla="*/ 12509 h 25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25659" h="25660">
                    <a:moveTo>
                      <a:pt x="25660" y="12810"/>
                    </a:moveTo>
                    <a:cubicBezTo>
                      <a:pt x="25660" y="19946"/>
                      <a:pt x="19946" y="25660"/>
                      <a:pt x="12782" y="25660"/>
                    </a:cubicBezTo>
                    <a:cubicBezTo>
                      <a:pt x="5619" y="25660"/>
                      <a:pt x="0" y="19891"/>
                      <a:pt x="0" y="12810"/>
                    </a:cubicBezTo>
                    <a:cubicBezTo>
                      <a:pt x="0" y="5728"/>
                      <a:pt x="5714" y="0"/>
                      <a:pt x="12823" y="0"/>
                    </a:cubicBezTo>
                    <a:cubicBezTo>
                      <a:pt x="19932" y="0"/>
                      <a:pt x="25646" y="5687"/>
                      <a:pt x="25646" y="12810"/>
                    </a:cubicBezTo>
                    <a:close/>
                    <a:moveTo>
                      <a:pt x="23691" y="12864"/>
                    </a:moveTo>
                    <a:cubicBezTo>
                      <a:pt x="23691" y="6712"/>
                      <a:pt x="18838" y="1832"/>
                      <a:pt x="12837" y="1832"/>
                    </a:cubicBezTo>
                    <a:cubicBezTo>
                      <a:pt x="6835" y="1832"/>
                      <a:pt x="1982" y="6658"/>
                      <a:pt x="1982" y="12851"/>
                    </a:cubicBezTo>
                    <a:cubicBezTo>
                      <a:pt x="1982" y="19043"/>
                      <a:pt x="6890" y="23856"/>
                      <a:pt x="12782" y="23856"/>
                    </a:cubicBezTo>
                    <a:cubicBezTo>
                      <a:pt x="18674" y="23856"/>
                      <a:pt x="23691" y="19002"/>
                      <a:pt x="23691" y="12864"/>
                    </a:cubicBezTo>
                    <a:close/>
                    <a:moveTo>
                      <a:pt x="15585" y="14888"/>
                    </a:moveTo>
                    <a:lnTo>
                      <a:pt x="18811" y="19905"/>
                    </a:lnTo>
                    <a:lnTo>
                      <a:pt x="16678" y="19905"/>
                    </a:lnTo>
                    <a:lnTo>
                      <a:pt x="13097" y="14218"/>
                    </a:lnTo>
                    <a:lnTo>
                      <a:pt x="9829" y="14218"/>
                    </a:lnTo>
                    <a:lnTo>
                      <a:pt x="9829" y="19905"/>
                    </a:lnTo>
                    <a:lnTo>
                      <a:pt x="8038" y="19905"/>
                    </a:lnTo>
                    <a:lnTo>
                      <a:pt x="8038" y="5523"/>
                    </a:lnTo>
                    <a:lnTo>
                      <a:pt x="13616" y="5523"/>
                    </a:lnTo>
                    <a:cubicBezTo>
                      <a:pt x="16364" y="5523"/>
                      <a:pt x="18155" y="6999"/>
                      <a:pt x="18155" y="9761"/>
                    </a:cubicBezTo>
                    <a:cubicBezTo>
                      <a:pt x="18155" y="11989"/>
                      <a:pt x="16801" y="13370"/>
                      <a:pt x="14887" y="13917"/>
                    </a:cubicBezTo>
                    <a:cubicBezTo>
                      <a:pt x="15147" y="14204"/>
                      <a:pt x="15407" y="14559"/>
                      <a:pt x="15585" y="14901"/>
                    </a:cubicBezTo>
                    <a:close/>
                    <a:moveTo>
                      <a:pt x="13015" y="12522"/>
                    </a:moveTo>
                    <a:cubicBezTo>
                      <a:pt x="15038" y="12522"/>
                      <a:pt x="16282" y="11565"/>
                      <a:pt x="16282" y="9870"/>
                    </a:cubicBezTo>
                    <a:cubicBezTo>
                      <a:pt x="16282" y="8175"/>
                      <a:pt x="15421" y="7191"/>
                      <a:pt x="13657" y="7191"/>
                    </a:cubicBezTo>
                    <a:lnTo>
                      <a:pt x="9816" y="7191"/>
                    </a:lnTo>
                    <a:lnTo>
                      <a:pt x="9816" y="12509"/>
                    </a:lnTo>
                    <a:lnTo>
                      <a:pt x="13015" y="12509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351A3970-AE39-1111-4E4D-3AED9D0806EE}"/>
                  </a:ext>
                </a:extLst>
              </p:cNvPr>
              <p:cNvSpPr/>
              <p:nvPr/>
            </p:nvSpPr>
            <p:spPr>
              <a:xfrm>
                <a:off x="11620956" y="6472487"/>
                <a:ext cx="32932" cy="163721"/>
              </a:xfrm>
              <a:custGeom>
                <a:avLst/>
                <a:gdLst>
                  <a:gd name="connsiteX0" fmla="*/ 29830 w 32932"/>
                  <a:gd name="connsiteY0" fmla="*/ 0 h 163721"/>
                  <a:gd name="connsiteX1" fmla="*/ 32933 w 32932"/>
                  <a:gd name="connsiteY1" fmla="*/ 3103 h 163721"/>
                  <a:gd name="connsiteX2" fmla="*/ 32933 w 32932"/>
                  <a:gd name="connsiteY2" fmla="*/ 160618 h 163721"/>
                  <a:gd name="connsiteX3" fmla="*/ 29830 w 32932"/>
                  <a:gd name="connsiteY3" fmla="*/ 163722 h 163721"/>
                  <a:gd name="connsiteX4" fmla="*/ 3103 w 32932"/>
                  <a:gd name="connsiteY4" fmla="*/ 163722 h 163721"/>
                  <a:gd name="connsiteX5" fmla="*/ 0 w 32932"/>
                  <a:gd name="connsiteY5" fmla="*/ 160618 h 163721"/>
                  <a:gd name="connsiteX6" fmla="*/ 0 w 32932"/>
                  <a:gd name="connsiteY6" fmla="*/ 3103 h 163721"/>
                  <a:gd name="connsiteX7" fmla="*/ 3103 w 32932"/>
                  <a:gd name="connsiteY7" fmla="*/ 0 h 163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2932" h="163721">
                    <a:moveTo>
                      <a:pt x="29830" y="0"/>
                    </a:moveTo>
                    <a:cubicBezTo>
                      <a:pt x="31544" y="0"/>
                      <a:pt x="32933" y="1389"/>
                      <a:pt x="32933" y="3103"/>
                    </a:cubicBezTo>
                    <a:lnTo>
                      <a:pt x="32933" y="160618"/>
                    </a:lnTo>
                    <a:cubicBezTo>
                      <a:pt x="32933" y="162332"/>
                      <a:pt x="31543" y="163722"/>
                      <a:pt x="29830" y="163722"/>
                    </a:cubicBezTo>
                    <a:lnTo>
                      <a:pt x="3103" y="163722"/>
                    </a:lnTo>
                    <a:cubicBezTo>
                      <a:pt x="1389" y="163722"/>
                      <a:pt x="0" y="162332"/>
                      <a:pt x="0" y="160618"/>
                    </a:cubicBezTo>
                    <a:lnTo>
                      <a:pt x="0" y="3103"/>
                    </a:lnTo>
                    <a:cubicBezTo>
                      <a:pt x="0" y="1389"/>
                      <a:pt x="1389" y="0"/>
                      <a:pt x="3103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8E5AB232-896A-C6CA-4B98-DAECCC8A7CE3}"/>
                  </a:ext>
                </a:extLst>
              </p:cNvPr>
              <p:cNvSpPr/>
              <p:nvPr/>
            </p:nvSpPr>
            <p:spPr>
              <a:xfrm>
                <a:off x="11488486" y="6472473"/>
                <a:ext cx="123638" cy="166086"/>
              </a:xfrm>
              <a:custGeom>
                <a:avLst/>
                <a:gdLst>
                  <a:gd name="connsiteX0" fmla="*/ 68737 w 123638"/>
                  <a:gd name="connsiteY0" fmla="*/ 44663 h 166086"/>
                  <a:gd name="connsiteX1" fmla="*/ 32947 w 123638"/>
                  <a:gd name="connsiteY1" fmla="*/ 62052 h 166086"/>
                  <a:gd name="connsiteX2" fmla="*/ 32947 w 123638"/>
                  <a:gd name="connsiteY2" fmla="*/ 3103 h 166086"/>
                  <a:gd name="connsiteX3" fmla="*/ 29843 w 123638"/>
                  <a:gd name="connsiteY3" fmla="*/ 0 h 166086"/>
                  <a:gd name="connsiteX4" fmla="*/ 3103 w 123638"/>
                  <a:gd name="connsiteY4" fmla="*/ 0 h 166086"/>
                  <a:gd name="connsiteX5" fmla="*/ 0 w 123638"/>
                  <a:gd name="connsiteY5" fmla="*/ 3103 h 166086"/>
                  <a:gd name="connsiteX6" fmla="*/ 0 w 123638"/>
                  <a:gd name="connsiteY6" fmla="*/ 160632 h 166086"/>
                  <a:gd name="connsiteX7" fmla="*/ 3103 w 123638"/>
                  <a:gd name="connsiteY7" fmla="*/ 163735 h 166086"/>
                  <a:gd name="connsiteX8" fmla="*/ 29843 w 123638"/>
                  <a:gd name="connsiteY8" fmla="*/ 163735 h 166086"/>
                  <a:gd name="connsiteX9" fmla="*/ 32947 w 123638"/>
                  <a:gd name="connsiteY9" fmla="*/ 160632 h 166086"/>
                  <a:gd name="connsiteX10" fmla="*/ 32947 w 123638"/>
                  <a:gd name="connsiteY10" fmla="*/ 149025 h 166086"/>
                  <a:gd name="connsiteX11" fmla="*/ 68983 w 123638"/>
                  <a:gd name="connsiteY11" fmla="*/ 166087 h 166086"/>
                  <a:gd name="connsiteX12" fmla="*/ 123638 w 123638"/>
                  <a:gd name="connsiteY12" fmla="*/ 105539 h 166086"/>
                  <a:gd name="connsiteX13" fmla="*/ 68750 w 123638"/>
                  <a:gd name="connsiteY13" fmla="*/ 44663 h 166086"/>
                  <a:gd name="connsiteX14" fmla="*/ 62188 w 123638"/>
                  <a:gd name="connsiteY14" fmla="*/ 135163 h 166086"/>
                  <a:gd name="connsiteX15" fmla="*/ 32947 w 123638"/>
                  <a:gd name="connsiteY15" fmla="*/ 105552 h 166086"/>
                  <a:gd name="connsiteX16" fmla="*/ 62188 w 123638"/>
                  <a:gd name="connsiteY16" fmla="*/ 76174 h 166086"/>
                  <a:gd name="connsiteX17" fmla="*/ 90965 w 123638"/>
                  <a:gd name="connsiteY17" fmla="*/ 105552 h 166086"/>
                  <a:gd name="connsiteX18" fmla="*/ 62188 w 123638"/>
                  <a:gd name="connsiteY18" fmla="*/ 135163 h 166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23638" h="166086">
                    <a:moveTo>
                      <a:pt x="68737" y="44663"/>
                    </a:moveTo>
                    <a:cubicBezTo>
                      <a:pt x="53535" y="44663"/>
                      <a:pt x="40889" y="51252"/>
                      <a:pt x="32947" y="62052"/>
                    </a:cubicBezTo>
                    <a:lnTo>
                      <a:pt x="32947" y="3103"/>
                    </a:lnTo>
                    <a:cubicBezTo>
                      <a:pt x="32947" y="1394"/>
                      <a:pt x="31552" y="0"/>
                      <a:pt x="29843" y="0"/>
                    </a:cubicBezTo>
                    <a:lnTo>
                      <a:pt x="3103" y="0"/>
                    </a:lnTo>
                    <a:cubicBezTo>
                      <a:pt x="1394" y="0"/>
                      <a:pt x="0" y="1394"/>
                      <a:pt x="0" y="3103"/>
                    </a:cubicBezTo>
                    <a:lnTo>
                      <a:pt x="0" y="160632"/>
                    </a:lnTo>
                    <a:cubicBezTo>
                      <a:pt x="0" y="162341"/>
                      <a:pt x="1394" y="163735"/>
                      <a:pt x="3103" y="163735"/>
                    </a:cubicBezTo>
                    <a:lnTo>
                      <a:pt x="29843" y="163735"/>
                    </a:lnTo>
                    <a:cubicBezTo>
                      <a:pt x="31552" y="163735"/>
                      <a:pt x="32947" y="162341"/>
                      <a:pt x="32947" y="160632"/>
                    </a:cubicBezTo>
                    <a:lnTo>
                      <a:pt x="32947" y="149025"/>
                    </a:lnTo>
                    <a:cubicBezTo>
                      <a:pt x="40903" y="159839"/>
                      <a:pt x="53535" y="166087"/>
                      <a:pt x="68983" y="166087"/>
                    </a:cubicBezTo>
                    <a:cubicBezTo>
                      <a:pt x="101505" y="166087"/>
                      <a:pt x="123638" y="139852"/>
                      <a:pt x="123638" y="105539"/>
                    </a:cubicBezTo>
                    <a:cubicBezTo>
                      <a:pt x="123638" y="71225"/>
                      <a:pt x="101505" y="44663"/>
                      <a:pt x="68750" y="44663"/>
                    </a:cubicBezTo>
                    <a:close/>
                    <a:moveTo>
                      <a:pt x="62188" y="135163"/>
                    </a:moveTo>
                    <a:cubicBezTo>
                      <a:pt x="45346" y="135163"/>
                      <a:pt x="32947" y="121533"/>
                      <a:pt x="32947" y="105552"/>
                    </a:cubicBezTo>
                    <a:cubicBezTo>
                      <a:pt x="32947" y="89571"/>
                      <a:pt x="45346" y="76174"/>
                      <a:pt x="62188" y="76174"/>
                    </a:cubicBezTo>
                    <a:cubicBezTo>
                      <a:pt x="79031" y="76174"/>
                      <a:pt x="90965" y="89571"/>
                      <a:pt x="90965" y="105552"/>
                    </a:cubicBezTo>
                    <a:cubicBezTo>
                      <a:pt x="90965" y="121533"/>
                      <a:pt x="78798" y="135163"/>
                      <a:pt x="62188" y="13516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587D3773-4F92-E1B2-63BF-087596C1396B}"/>
                  </a:ext>
                </a:extLst>
              </p:cNvPr>
              <p:cNvSpPr/>
              <p:nvPr/>
            </p:nvSpPr>
            <p:spPr>
              <a:xfrm>
                <a:off x="11359421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A8F17107-B436-DDA3-E9ED-996F3C7D98A3}"/>
                  </a:ext>
                </a:extLst>
              </p:cNvPr>
              <p:cNvSpPr/>
              <p:nvPr/>
            </p:nvSpPr>
            <p:spPr>
              <a:xfrm>
                <a:off x="11662542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5324F4FB-5E45-8E87-B7CA-2BDD1789E051}"/>
                  </a:ext>
                </a:extLst>
              </p:cNvPr>
              <p:cNvSpPr/>
              <p:nvPr/>
            </p:nvSpPr>
            <p:spPr>
              <a:xfrm>
                <a:off x="11122821" y="6519528"/>
                <a:ext cx="32932" cy="116680"/>
              </a:xfrm>
              <a:custGeom>
                <a:avLst/>
                <a:gdLst>
                  <a:gd name="connsiteX0" fmla="*/ 29843 w 32932"/>
                  <a:gd name="connsiteY0" fmla="*/ 116680 h 116680"/>
                  <a:gd name="connsiteX1" fmla="*/ 3103 w 32932"/>
                  <a:gd name="connsiteY1" fmla="*/ 116680 h 116680"/>
                  <a:gd name="connsiteX2" fmla="*/ 0 w 32932"/>
                  <a:gd name="connsiteY2" fmla="*/ 113577 h 116680"/>
                  <a:gd name="connsiteX3" fmla="*/ 0 w 32932"/>
                  <a:gd name="connsiteY3" fmla="*/ 30554 h 116680"/>
                  <a:gd name="connsiteX4" fmla="*/ 1859 w 32932"/>
                  <a:gd name="connsiteY4" fmla="*/ 26125 h 116680"/>
                  <a:gd name="connsiteX5" fmla="*/ 27670 w 32932"/>
                  <a:gd name="connsiteY5" fmla="*/ 888 h 116680"/>
                  <a:gd name="connsiteX6" fmla="*/ 32933 w 32932"/>
                  <a:gd name="connsiteY6" fmla="*/ 3103 h 116680"/>
                  <a:gd name="connsiteX7" fmla="*/ 32933 w 32932"/>
                  <a:gd name="connsiteY7" fmla="*/ 113577 h 116680"/>
                  <a:gd name="connsiteX8" fmla="*/ 29830 w 32932"/>
                  <a:gd name="connsiteY8" fmla="*/ 116680 h 116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932" h="116680">
                    <a:moveTo>
                      <a:pt x="29843" y="116680"/>
                    </a:moveTo>
                    <a:lnTo>
                      <a:pt x="3103" y="116680"/>
                    </a:lnTo>
                    <a:cubicBezTo>
                      <a:pt x="1394" y="116680"/>
                      <a:pt x="0" y="115286"/>
                      <a:pt x="0" y="113577"/>
                    </a:cubicBezTo>
                    <a:lnTo>
                      <a:pt x="0" y="30554"/>
                    </a:lnTo>
                    <a:cubicBezTo>
                      <a:pt x="0" y="28886"/>
                      <a:pt x="670" y="27287"/>
                      <a:pt x="1859" y="26125"/>
                    </a:cubicBezTo>
                    <a:lnTo>
                      <a:pt x="27670" y="888"/>
                    </a:lnTo>
                    <a:cubicBezTo>
                      <a:pt x="29638" y="-1026"/>
                      <a:pt x="32933" y="355"/>
                      <a:pt x="32933" y="3103"/>
                    </a:cubicBezTo>
                    <a:lnTo>
                      <a:pt x="32933" y="113577"/>
                    </a:lnTo>
                    <a:cubicBezTo>
                      <a:pt x="32933" y="115286"/>
                      <a:pt x="31538" y="116680"/>
                      <a:pt x="29830" y="11668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2C928FEB-CA8F-7AEC-A3D5-E1AFFC403744}"/>
                  </a:ext>
                </a:extLst>
              </p:cNvPr>
              <p:cNvSpPr/>
              <p:nvPr/>
            </p:nvSpPr>
            <p:spPr>
              <a:xfrm>
                <a:off x="11173074" y="6517105"/>
                <a:ext cx="107493" cy="119116"/>
              </a:xfrm>
              <a:custGeom>
                <a:avLst/>
                <a:gdLst>
                  <a:gd name="connsiteX0" fmla="*/ 107480 w 107493"/>
                  <a:gd name="connsiteY0" fmla="*/ 41877 h 119116"/>
                  <a:gd name="connsiteX1" fmla="*/ 65237 w 107493"/>
                  <a:gd name="connsiteY1" fmla="*/ 3 h 119116"/>
                  <a:gd name="connsiteX2" fmla="*/ 32947 w 107493"/>
                  <a:gd name="connsiteY2" fmla="*/ 17474 h 119116"/>
                  <a:gd name="connsiteX3" fmla="*/ 32947 w 107493"/>
                  <a:gd name="connsiteY3" fmla="*/ 5581 h 119116"/>
                  <a:gd name="connsiteX4" fmla="*/ 29843 w 107493"/>
                  <a:gd name="connsiteY4" fmla="*/ 2478 h 119116"/>
                  <a:gd name="connsiteX5" fmla="*/ 3103 w 107493"/>
                  <a:gd name="connsiteY5" fmla="*/ 2478 h 119116"/>
                  <a:gd name="connsiteX6" fmla="*/ 0 w 107493"/>
                  <a:gd name="connsiteY6" fmla="*/ 5581 h 119116"/>
                  <a:gd name="connsiteX7" fmla="*/ 0 w 107493"/>
                  <a:gd name="connsiteY7" fmla="*/ 116000 h 119116"/>
                  <a:gd name="connsiteX8" fmla="*/ 3103 w 107493"/>
                  <a:gd name="connsiteY8" fmla="*/ 119103 h 119116"/>
                  <a:gd name="connsiteX9" fmla="*/ 29843 w 107493"/>
                  <a:gd name="connsiteY9" fmla="*/ 119103 h 119116"/>
                  <a:gd name="connsiteX10" fmla="*/ 32947 w 107493"/>
                  <a:gd name="connsiteY10" fmla="*/ 116000 h 119116"/>
                  <a:gd name="connsiteX11" fmla="*/ 32947 w 107493"/>
                  <a:gd name="connsiteY11" fmla="*/ 51788 h 119116"/>
                  <a:gd name="connsiteX12" fmla="*/ 53740 w 107493"/>
                  <a:gd name="connsiteY12" fmla="*/ 31747 h 119116"/>
                  <a:gd name="connsiteX13" fmla="*/ 74547 w 107493"/>
                  <a:gd name="connsiteY13" fmla="*/ 53210 h 119116"/>
                  <a:gd name="connsiteX14" fmla="*/ 74547 w 107493"/>
                  <a:gd name="connsiteY14" fmla="*/ 116014 h 119116"/>
                  <a:gd name="connsiteX15" fmla="*/ 77650 w 107493"/>
                  <a:gd name="connsiteY15" fmla="*/ 119117 h 119116"/>
                  <a:gd name="connsiteX16" fmla="*/ 104390 w 107493"/>
                  <a:gd name="connsiteY16" fmla="*/ 119117 h 119116"/>
                  <a:gd name="connsiteX17" fmla="*/ 107493 w 107493"/>
                  <a:gd name="connsiteY17" fmla="*/ 116014 h 119116"/>
                  <a:gd name="connsiteX18" fmla="*/ 107493 w 107493"/>
                  <a:gd name="connsiteY18" fmla="*/ 41890 h 119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7493" h="119116">
                    <a:moveTo>
                      <a:pt x="107480" y="41877"/>
                    </a:moveTo>
                    <a:cubicBezTo>
                      <a:pt x="107480" y="19252"/>
                      <a:pt x="88792" y="277"/>
                      <a:pt x="65237" y="3"/>
                    </a:cubicBezTo>
                    <a:cubicBezTo>
                      <a:pt x="49912" y="-175"/>
                      <a:pt x="39563" y="7331"/>
                      <a:pt x="32947" y="17474"/>
                    </a:cubicBezTo>
                    <a:lnTo>
                      <a:pt x="32947" y="5581"/>
                    </a:lnTo>
                    <a:cubicBezTo>
                      <a:pt x="32947" y="3872"/>
                      <a:pt x="31552" y="2478"/>
                      <a:pt x="29843" y="2478"/>
                    </a:cubicBezTo>
                    <a:lnTo>
                      <a:pt x="3103" y="2478"/>
                    </a:lnTo>
                    <a:cubicBezTo>
                      <a:pt x="1394" y="2478"/>
                      <a:pt x="0" y="3872"/>
                      <a:pt x="0" y="5581"/>
                    </a:cubicBezTo>
                    <a:lnTo>
                      <a:pt x="0" y="116000"/>
                    </a:lnTo>
                    <a:cubicBezTo>
                      <a:pt x="0" y="117709"/>
                      <a:pt x="1394" y="119103"/>
                      <a:pt x="3103" y="119103"/>
                    </a:cubicBezTo>
                    <a:lnTo>
                      <a:pt x="29843" y="119103"/>
                    </a:lnTo>
                    <a:cubicBezTo>
                      <a:pt x="31552" y="119103"/>
                      <a:pt x="32947" y="117709"/>
                      <a:pt x="32947" y="116000"/>
                    </a:cubicBezTo>
                    <a:lnTo>
                      <a:pt x="32947" y="51788"/>
                    </a:lnTo>
                    <a:cubicBezTo>
                      <a:pt x="33685" y="39430"/>
                      <a:pt x="41518" y="31747"/>
                      <a:pt x="53740" y="31747"/>
                    </a:cubicBezTo>
                    <a:cubicBezTo>
                      <a:pt x="65961" y="31747"/>
                      <a:pt x="74547" y="40373"/>
                      <a:pt x="74547" y="53210"/>
                    </a:cubicBezTo>
                    <a:lnTo>
                      <a:pt x="74547" y="116014"/>
                    </a:lnTo>
                    <a:cubicBezTo>
                      <a:pt x="74547" y="117722"/>
                      <a:pt x="75941" y="119117"/>
                      <a:pt x="77650" y="119117"/>
                    </a:cubicBezTo>
                    <a:lnTo>
                      <a:pt x="104390" y="119117"/>
                    </a:lnTo>
                    <a:cubicBezTo>
                      <a:pt x="106099" y="119117"/>
                      <a:pt x="107493" y="117722"/>
                      <a:pt x="107493" y="116014"/>
                    </a:cubicBezTo>
                    <a:lnTo>
                      <a:pt x="107493" y="41890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90C3CB1A-57B9-2763-AB64-A0AC3745409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00734" y="1863090"/>
            <a:ext cx="10606961" cy="443611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indent="0">
              <a:buNone/>
              <a:defRPr lang="en-US" sz="1800" b="0" i="0" dirty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US"/>
              <a:t>Click to edit Master text style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B82CDC92-4F14-92A8-8196-53DF169295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735" y="849285"/>
            <a:ext cx="8637179" cy="573115"/>
          </a:xfrm>
          <a:prstGeom prst="rect">
            <a:avLst/>
          </a:prstGeom>
          <a:noFill/>
        </p:spPr>
        <p:txBody>
          <a:bodyPr wrap="square" rtlCol="0" anchor="b">
            <a:noAutofit/>
          </a:bodyPr>
          <a:lstStyle>
            <a:lvl1pPr>
              <a:lnSpc>
                <a:spcPct val="85000"/>
              </a:lnSpc>
              <a:defRPr kumimoji="0" lang="en-US" sz="3400" b="1" i="0" u="none" strike="noStrike" cap="all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Lato" panose="020F0502020204030203" pitchFamily="34" charset="77"/>
                <a:ea typeface="Lato" panose="020F0502020204030203" pitchFamily="34" charset="77"/>
                <a:cs typeface="Arial" panose="020B0604020202020204" pitchFamily="34" charset="0"/>
              </a:defRPr>
            </a:lvl1pPr>
          </a:lstStyle>
          <a:p>
            <a:pPr marL="0"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Long detail Agenda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6EC12E0-1BB7-9D15-D899-E14038447E0C}"/>
              </a:ext>
            </a:extLst>
          </p:cNvPr>
          <p:cNvPicPr preferRelativeResize="0"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892096" y="1451603"/>
            <a:ext cx="10515600" cy="27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6593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 Same Side Corner Rectangle 1">
            <a:extLst>
              <a:ext uri="{FF2B5EF4-FFF2-40B4-BE49-F238E27FC236}">
                <a16:creationId xmlns:a16="http://schemas.microsoft.com/office/drawing/2014/main" id="{20DBCE9D-C632-1F32-EEF6-80D25D29F7A4}"/>
              </a:ext>
            </a:extLst>
          </p:cNvPr>
          <p:cNvSpPr/>
          <p:nvPr userDrawn="1"/>
        </p:nvSpPr>
        <p:spPr>
          <a:xfrm rot="5400000">
            <a:off x="5371511" y="-4103450"/>
            <a:ext cx="1073840" cy="11816862"/>
          </a:xfrm>
          <a:prstGeom prst="round2SameRect">
            <a:avLst>
              <a:gd name="adj1" fmla="val 7623"/>
              <a:gd name="adj2" fmla="val 0"/>
            </a:avLst>
          </a:prstGeom>
          <a:solidFill>
            <a:srgbClr val="D9E1E2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err="1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7F5D5F88-1DC6-8475-5E87-38C2AEFDC1BB}"/>
              </a:ext>
            </a:extLst>
          </p:cNvPr>
          <p:cNvSpPr/>
          <p:nvPr userDrawn="1"/>
        </p:nvSpPr>
        <p:spPr>
          <a:xfrm>
            <a:off x="501978" y="1370682"/>
            <a:ext cx="2380922" cy="878352"/>
          </a:xfrm>
          <a:prstGeom prst="roundRect">
            <a:avLst>
              <a:gd name="adj" fmla="val 11409"/>
            </a:avLst>
          </a:prstGeom>
          <a:solidFill>
            <a:srgbClr val="00BD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err="1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F8BDF23-9321-4A10-4321-D22F2F86401B}"/>
              </a:ext>
            </a:extLst>
          </p:cNvPr>
          <p:cNvSpPr/>
          <p:nvPr userDrawn="1"/>
        </p:nvSpPr>
        <p:spPr>
          <a:xfrm rot="2700000">
            <a:off x="2772629" y="1719618"/>
            <a:ext cx="180481" cy="180481"/>
          </a:xfrm>
          <a:prstGeom prst="roundRect">
            <a:avLst/>
          </a:prstGeom>
          <a:solidFill>
            <a:srgbClr val="00BD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err="1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494BAD03-B707-9C98-96A1-893D18E6196D}"/>
              </a:ext>
            </a:extLst>
          </p:cNvPr>
          <p:cNvSpPr/>
          <p:nvPr userDrawn="1"/>
        </p:nvSpPr>
        <p:spPr>
          <a:xfrm>
            <a:off x="501978" y="2668470"/>
            <a:ext cx="2380922" cy="878352"/>
          </a:xfrm>
          <a:prstGeom prst="roundRect">
            <a:avLst>
              <a:gd name="adj" fmla="val 11409"/>
            </a:avLst>
          </a:prstGeom>
          <a:solidFill>
            <a:srgbClr val="00BD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err="1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7426990A-7DCD-5744-E933-C70DBD4F59CF}"/>
              </a:ext>
            </a:extLst>
          </p:cNvPr>
          <p:cNvSpPr/>
          <p:nvPr userDrawn="1"/>
        </p:nvSpPr>
        <p:spPr>
          <a:xfrm rot="2700000">
            <a:off x="2772629" y="3017406"/>
            <a:ext cx="180481" cy="180481"/>
          </a:xfrm>
          <a:prstGeom prst="roundRect">
            <a:avLst/>
          </a:prstGeom>
          <a:solidFill>
            <a:srgbClr val="00BD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err="1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391A6061-DE55-199D-A814-7BC2B7AD9CDF}"/>
              </a:ext>
            </a:extLst>
          </p:cNvPr>
          <p:cNvSpPr/>
          <p:nvPr userDrawn="1"/>
        </p:nvSpPr>
        <p:spPr>
          <a:xfrm>
            <a:off x="501978" y="3966258"/>
            <a:ext cx="2380922" cy="878352"/>
          </a:xfrm>
          <a:prstGeom prst="roundRect">
            <a:avLst>
              <a:gd name="adj" fmla="val 11409"/>
            </a:avLst>
          </a:prstGeom>
          <a:solidFill>
            <a:srgbClr val="00BD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err="1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60837D3-0709-C43F-F5C6-8F5461D19D10}"/>
              </a:ext>
            </a:extLst>
          </p:cNvPr>
          <p:cNvSpPr/>
          <p:nvPr userDrawn="1"/>
        </p:nvSpPr>
        <p:spPr>
          <a:xfrm rot="2700000">
            <a:off x="2772629" y="4315194"/>
            <a:ext cx="180481" cy="180481"/>
          </a:xfrm>
          <a:prstGeom prst="roundRect">
            <a:avLst/>
          </a:prstGeom>
          <a:solidFill>
            <a:srgbClr val="00BD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err="1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20F83B1E-D9C7-51E2-76FC-50978E8F466D}"/>
              </a:ext>
            </a:extLst>
          </p:cNvPr>
          <p:cNvSpPr/>
          <p:nvPr userDrawn="1"/>
        </p:nvSpPr>
        <p:spPr>
          <a:xfrm>
            <a:off x="501978" y="5264046"/>
            <a:ext cx="2380922" cy="878352"/>
          </a:xfrm>
          <a:prstGeom prst="roundRect">
            <a:avLst>
              <a:gd name="adj" fmla="val 11409"/>
            </a:avLst>
          </a:prstGeom>
          <a:solidFill>
            <a:srgbClr val="00BD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err="1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614DC7B4-3DF6-C275-D565-97FC303EE836}"/>
              </a:ext>
            </a:extLst>
          </p:cNvPr>
          <p:cNvSpPr/>
          <p:nvPr userDrawn="1"/>
        </p:nvSpPr>
        <p:spPr>
          <a:xfrm rot="2700000">
            <a:off x="2772629" y="5612982"/>
            <a:ext cx="180481" cy="180481"/>
          </a:xfrm>
          <a:prstGeom prst="roundRect">
            <a:avLst/>
          </a:prstGeom>
          <a:solidFill>
            <a:srgbClr val="00BD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err="1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5AF91CCE-AAA9-D0B6-0978-CA3617235B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978" y="297451"/>
            <a:ext cx="11118522" cy="630213"/>
          </a:xfrm>
          <a:prstGeom prst="rect">
            <a:avLst/>
          </a:prstGeom>
        </p:spPr>
        <p:txBody>
          <a:bodyPr/>
          <a:lstStyle>
            <a:lvl1pPr>
              <a:defRPr sz="3400" b="1" i="0" cap="all" baseline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r>
              <a:rPr lang="en-US"/>
              <a:t>title style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22CC3746-F807-C08C-6417-2CA3EB4E1CE3}"/>
              </a:ext>
            </a:extLst>
          </p:cNvPr>
          <p:cNvGrpSpPr/>
          <p:nvPr userDrawn="1"/>
        </p:nvGrpSpPr>
        <p:grpSpPr>
          <a:xfrm>
            <a:off x="11122821" y="6472473"/>
            <a:ext cx="799629" cy="166100"/>
            <a:chOff x="11122821" y="6472473"/>
            <a:chExt cx="799629" cy="166100"/>
          </a:xfrm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70B17F5D-D432-A88D-B19D-876063531FE2}"/>
                </a:ext>
              </a:extLst>
            </p:cNvPr>
            <p:cNvSpPr/>
            <p:nvPr/>
          </p:nvSpPr>
          <p:spPr>
            <a:xfrm rot="18900000">
              <a:off x="11134957" y="6473485"/>
              <a:ext cx="35147" cy="35147"/>
            </a:xfrm>
            <a:custGeom>
              <a:avLst/>
              <a:gdLst>
                <a:gd name="connsiteX0" fmla="*/ 32044 w 35147"/>
                <a:gd name="connsiteY0" fmla="*/ 0 h 35147"/>
                <a:gd name="connsiteX1" fmla="*/ 35148 w 35147"/>
                <a:gd name="connsiteY1" fmla="*/ 3103 h 35147"/>
                <a:gd name="connsiteX2" fmla="*/ 35148 w 35147"/>
                <a:gd name="connsiteY2" fmla="*/ 32044 h 35147"/>
                <a:gd name="connsiteX3" fmla="*/ 32044 w 35147"/>
                <a:gd name="connsiteY3" fmla="*/ 35148 h 35147"/>
                <a:gd name="connsiteX4" fmla="*/ 3103 w 35147"/>
                <a:gd name="connsiteY4" fmla="*/ 35148 h 35147"/>
                <a:gd name="connsiteX5" fmla="*/ 0 w 35147"/>
                <a:gd name="connsiteY5" fmla="*/ 32044 h 35147"/>
                <a:gd name="connsiteX6" fmla="*/ 0 w 35147"/>
                <a:gd name="connsiteY6" fmla="*/ 3103 h 35147"/>
                <a:gd name="connsiteX7" fmla="*/ 3103 w 35147"/>
                <a:gd name="connsiteY7" fmla="*/ 0 h 35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147" h="35147">
                  <a:moveTo>
                    <a:pt x="32044" y="0"/>
                  </a:moveTo>
                  <a:cubicBezTo>
                    <a:pt x="33758" y="0"/>
                    <a:pt x="35148" y="1389"/>
                    <a:pt x="35148" y="3103"/>
                  </a:cubicBezTo>
                  <a:lnTo>
                    <a:pt x="35148" y="32044"/>
                  </a:lnTo>
                  <a:cubicBezTo>
                    <a:pt x="35148" y="33758"/>
                    <a:pt x="33758" y="35148"/>
                    <a:pt x="32044" y="35148"/>
                  </a:cubicBezTo>
                  <a:lnTo>
                    <a:pt x="3103" y="35148"/>
                  </a:lnTo>
                  <a:cubicBezTo>
                    <a:pt x="1389" y="35148"/>
                    <a:pt x="0" y="33758"/>
                    <a:pt x="0" y="32044"/>
                  </a:cubicBezTo>
                  <a:lnTo>
                    <a:pt x="0" y="3103"/>
                  </a:lnTo>
                  <a:cubicBezTo>
                    <a:pt x="0" y="1389"/>
                    <a:pt x="1389" y="0"/>
                    <a:pt x="3103" y="0"/>
                  </a:cubicBezTo>
                  <a:close/>
                </a:path>
              </a:pathLst>
            </a:custGeom>
            <a:solidFill>
              <a:srgbClr val="00BD4D"/>
            </a:solidFill>
            <a:ln w="135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6F19189F-3FF6-B312-A5FD-8996C4F9AAE3}"/>
                </a:ext>
              </a:extLst>
            </p:cNvPr>
            <p:cNvGrpSpPr/>
            <p:nvPr/>
          </p:nvGrpSpPr>
          <p:grpSpPr>
            <a:xfrm>
              <a:off x="11122821" y="6472473"/>
              <a:ext cx="799629" cy="166100"/>
              <a:chOff x="11122821" y="6472473"/>
              <a:chExt cx="799629" cy="166100"/>
            </a:xfrm>
            <a:solidFill>
              <a:schemeClr val="bg1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FB9A7F89-FAEC-F512-FA17-90ABC079E70E}"/>
                  </a:ext>
                </a:extLst>
              </p:cNvPr>
              <p:cNvSpPr/>
              <p:nvPr/>
            </p:nvSpPr>
            <p:spPr>
              <a:xfrm>
                <a:off x="11774281" y="6519597"/>
                <a:ext cx="119385" cy="116611"/>
              </a:xfrm>
              <a:custGeom>
                <a:avLst/>
                <a:gdLst>
                  <a:gd name="connsiteX0" fmla="*/ 82523 w 119385"/>
                  <a:gd name="connsiteY0" fmla="*/ 58306 h 116611"/>
                  <a:gd name="connsiteX1" fmla="*/ 118887 w 119385"/>
                  <a:gd name="connsiteY1" fmla="*/ 112265 h 116611"/>
                  <a:gd name="connsiteX2" fmla="*/ 116385 w 119385"/>
                  <a:gd name="connsiteY2" fmla="*/ 116612 h 116611"/>
                  <a:gd name="connsiteX3" fmla="*/ 85831 w 119385"/>
                  <a:gd name="connsiteY3" fmla="*/ 116612 h 116611"/>
                  <a:gd name="connsiteX4" fmla="*/ 80718 w 119385"/>
                  <a:gd name="connsiteY4" fmla="*/ 113919 h 116611"/>
                  <a:gd name="connsiteX5" fmla="*/ 59693 w 119385"/>
                  <a:gd name="connsiteY5" fmla="*/ 81751 h 116611"/>
                  <a:gd name="connsiteX6" fmla="*/ 38667 w 119385"/>
                  <a:gd name="connsiteY6" fmla="*/ 113919 h 116611"/>
                  <a:gd name="connsiteX7" fmla="*/ 33554 w 119385"/>
                  <a:gd name="connsiteY7" fmla="*/ 116612 h 116611"/>
                  <a:gd name="connsiteX8" fmla="*/ 3000 w 119385"/>
                  <a:gd name="connsiteY8" fmla="*/ 116612 h 116611"/>
                  <a:gd name="connsiteX9" fmla="*/ 498 w 119385"/>
                  <a:gd name="connsiteY9" fmla="*/ 112265 h 116611"/>
                  <a:gd name="connsiteX10" fmla="*/ 36753 w 119385"/>
                  <a:gd name="connsiteY10" fmla="*/ 58306 h 116611"/>
                  <a:gd name="connsiteX11" fmla="*/ 498 w 119385"/>
                  <a:gd name="connsiteY11" fmla="*/ 4347 h 116611"/>
                  <a:gd name="connsiteX12" fmla="*/ 3000 w 119385"/>
                  <a:gd name="connsiteY12" fmla="*/ 0 h 116611"/>
                  <a:gd name="connsiteX13" fmla="*/ 34853 w 119385"/>
                  <a:gd name="connsiteY13" fmla="*/ 0 h 116611"/>
                  <a:gd name="connsiteX14" fmla="*/ 37778 w 119385"/>
                  <a:gd name="connsiteY14" fmla="*/ 1449 h 116611"/>
                  <a:gd name="connsiteX15" fmla="*/ 59679 w 119385"/>
                  <a:gd name="connsiteY15" fmla="*/ 34806 h 116611"/>
                  <a:gd name="connsiteX16" fmla="*/ 80240 w 119385"/>
                  <a:gd name="connsiteY16" fmla="*/ 1463 h 116611"/>
                  <a:gd name="connsiteX17" fmla="*/ 83165 w 119385"/>
                  <a:gd name="connsiteY17" fmla="*/ 0 h 116611"/>
                  <a:gd name="connsiteX18" fmla="*/ 115333 w 119385"/>
                  <a:gd name="connsiteY18" fmla="*/ 0 h 116611"/>
                  <a:gd name="connsiteX19" fmla="*/ 117834 w 119385"/>
                  <a:gd name="connsiteY19" fmla="*/ 4334 h 116611"/>
                  <a:gd name="connsiteX20" fmla="*/ 82495 w 119385"/>
                  <a:gd name="connsiteY20" fmla="*/ 58306 h 116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19385" h="116611">
                    <a:moveTo>
                      <a:pt x="82523" y="58306"/>
                    </a:moveTo>
                    <a:lnTo>
                      <a:pt x="118887" y="112265"/>
                    </a:lnTo>
                    <a:cubicBezTo>
                      <a:pt x="120199" y="114124"/>
                      <a:pt x="118764" y="116612"/>
                      <a:pt x="116385" y="116612"/>
                    </a:cubicBezTo>
                    <a:lnTo>
                      <a:pt x="85831" y="116612"/>
                    </a:lnTo>
                    <a:cubicBezTo>
                      <a:pt x="83794" y="116612"/>
                      <a:pt x="81880" y="115600"/>
                      <a:pt x="80718" y="113919"/>
                    </a:cubicBezTo>
                    <a:lnTo>
                      <a:pt x="59693" y="81751"/>
                    </a:lnTo>
                    <a:lnTo>
                      <a:pt x="38667" y="113919"/>
                    </a:lnTo>
                    <a:cubicBezTo>
                      <a:pt x="37505" y="115600"/>
                      <a:pt x="35605" y="116612"/>
                      <a:pt x="33554" y="116612"/>
                    </a:cubicBezTo>
                    <a:lnTo>
                      <a:pt x="3000" y="116612"/>
                    </a:lnTo>
                    <a:cubicBezTo>
                      <a:pt x="621" y="116612"/>
                      <a:pt x="-814" y="114138"/>
                      <a:pt x="498" y="112265"/>
                    </a:cubicBezTo>
                    <a:lnTo>
                      <a:pt x="36753" y="58306"/>
                    </a:lnTo>
                    <a:lnTo>
                      <a:pt x="498" y="4347"/>
                    </a:lnTo>
                    <a:cubicBezTo>
                      <a:pt x="-814" y="2488"/>
                      <a:pt x="621" y="0"/>
                      <a:pt x="3000" y="0"/>
                    </a:cubicBezTo>
                    <a:lnTo>
                      <a:pt x="34853" y="0"/>
                    </a:lnTo>
                    <a:cubicBezTo>
                      <a:pt x="36042" y="0"/>
                      <a:pt x="37149" y="547"/>
                      <a:pt x="37778" y="1449"/>
                    </a:cubicBezTo>
                    <a:lnTo>
                      <a:pt x="59679" y="34806"/>
                    </a:lnTo>
                    <a:lnTo>
                      <a:pt x="80240" y="1463"/>
                    </a:lnTo>
                    <a:cubicBezTo>
                      <a:pt x="80855" y="561"/>
                      <a:pt x="81976" y="0"/>
                      <a:pt x="83165" y="0"/>
                    </a:cubicBezTo>
                    <a:lnTo>
                      <a:pt x="115333" y="0"/>
                    </a:lnTo>
                    <a:cubicBezTo>
                      <a:pt x="117711" y="0"/>
                      <a:pt x="119133" y="2474"/>
                      <a:pt x="117834" y="4334"/>
                    </a:cubicBezTo>
                    <a:lnTo>
                      <a:pt x="82495" y="58306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A966563D-FE0A-072A-0F7F-B620E2E554B8}"/>
                  </a:ext>
                </a:extLst>
              </p:cNvPr>
              <p:cNvSpPr/>
              <p:nvPr/>
            </p:nvSpPr>
            <p:spPr>
              <a:xfrm>
                <a:off x="11284928" y="6472473"/>
                <a:ext cx="78825" cy="163762"/>
              </a:xfrm>
              <a:custGeom>
                <a:avLst/>
                <a:gdLst>
                  <a:gd name="connsiteX0" fmla="*/ 75722 w 78825"/>
                  <a:gd name="connsiteY0" fmla="*/ 14 h 163762"/>
                  <a:gd name="connsiteX1" fmla="*/ 50377 w 78825"/>
                  <a:gd name="connsiteY1" fmla="*/ 14 h 163762"/>
                  <a:gd name="connsiteX2" fmla="*/ 43801 w 78825"/>
                  <a:gd name="connsiteY2" fmla="*/ 2734 h 163762"/>
                  <a:gd name="connsiteX3" fmla="*/ 19987 w 78825"/>
                  <a:gd name="connsiteY3" fmla="*/ 26549 h 163762"/>
                  <a:gd name="connsiteX4" fmla="*/ 17266 w 78825"/>
                  <a:gd name="connsiteY4" fmla="*/ 33124 h 163762"/>
                  <a:gd name="connsiteX5" fmla="*/ 17266 w 78825"/>
                  <a:gd name="connsiteY5" fmla="*/ 51867 h 163762"/>
                  <a:gd name="connsiteX6" fmla="*/ 3049 w 78825"/>
                  <a:gd name="connsiteY6" fmla="*/ 51867 h 163762"/>
                  <a:gd name="connsiteX7" fmla="*/ 0 w 78825"/>
                  <a:gd name="connsiteY7" fmla="*/ 54916 h 163762"/>
                  <a:gd name="connsiteX8" fmla="*/ 0 w 78825"/>
                  <a:gd name="connsiteY8" fmla="*/ 75955 h 163762"/>
                  <a:gd name="connsiteX9" fmla="*/ 3049 w 78825"/>
                  <a:gd name="connsiteY9" fmla="*/ 79004 h 163762"/>
                  <a:gd name="connsiteX10" fmla="*/ 17266 w 78825"/>
                  <a:gd name="connsiteY10" fmla="*/ 79004 h 163762"/>
                  <a:gd name="connsiteX11" fmla="*/ 17266 w 78825"/>
                  <a:gd name="connsiteY11" fmla="*/ 160659 h 163762"/>
                  <a:gd name="connsiteX12" fmla="*/ 20369 w 78825"/>
                  <a:gd name="connsiteY12" fmla="*/ 163763 h 163762"/>
                  <a:gd name="connsiteX13" fmla="*/ 47109 w 78825"/>
                  <a:gd name="connsiteY13" fmla="*/ 163763 h 163762"/>
                  <a:gd name="connsiteX14" fmla="*/ 50213 w 78825"/>
                  <a:gd name="connsiteY14" fmla="*/ 160659 h 163762"/>
                  <a:gd name="connsiteX15" fmla="*/ 50213 w 78825"/>
                  <a:gd name="connsiteY15" fmla="*/ 78990 h 163762"/>
                  <a:gd name="connsiteX16" fmla="*/ 71443 w 78825"/>
                  <a:gd name="connsiteY16" fmla="*/ 78990 h 163762"/>
                  <a:gd name="connsiteX17" fmla="*/ 74492 w 78825"/>
                  <a:gd name="connsiteY17" fmla="*/ 75941 h 163762"/>
                  <a:gd name="connsiteX18" fmla="*/ 74492 w 78825"/>
                  <a:gd name="connsiteY18" fmla="*/ 54902 h 163762"/>
                  <a:gd name="connsiteX19" fmla="*/ 71443 w 78825"/>
                  <a:gd name="connsiteY19" fmla="*/ 51853 h 163762"/>
                  <a:gd name="connsiteX20" fmla="*/ 50213 w 78825"/>
                  <a:gd name="connsiteY20" fmla="*/ 51853 h 163762"/>
                  <a:gd name="connsiteX21" fmla="*/ 50213 w 78825"/>
                  <a:gd name="connsiteY21" fmla="*/ 38565 h 163762"/>
                  <a:gd name="connsiteX22" fmla="*/ 59509 w 78825"/>
                  <a:gd name="connsiteY22" fmla="*/ 29269 h 163762"/>
                  <a:gd name="connsiteX23" fmla="*/ 75722 w 78825"/>
                  <a:gd name="connsiteY23" fmla="*/ 29269 h 163762"/>
                  <a:gd name="connsiteX24" fmla="*/ 78826 w 78825"/>
                  <a:gd name="connsiteY24" fmla="*/ 26166 h 163762"/>
                  <a:gd name="connsiteX25" fmla="*/ 78826 w 78825"/>
                  <a:gd name="connsiteY25" fmla="*/ 3103 h 163762"/>
                  <a:gd name="connsiteX26" fmla="*/ 75722 w 78825"/>
                  <a:gd name="connsiteY26" fmla="*/ 0 h 163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78825" h="163762">
                    <a:moveTo>
                      <a:pt x="75722" y="14"/>
                    </a:moveTo>
                    <a:lnTo>
                      <a:pt x="50377" y="14"/>
                    </a:lnTo>
                    <a:cubicBezTo>
                      <a:pt x="47916" y="14"/>
                      <a:pt x="45551" y="998"/>
                      <a:pt x="43801" y="2734"/>
                    </a:cubicBezTo>
                    <a:lnTo>
                      <a:pt x="19987" y="26549"/>
                    </a:lnTo>
                    <a:cubicBezTo>
                      <a:pt x="18237" y="28299"/>
                      <a:pt x="17266" y="30664"/>
                      <a:pt x="17266" y="33124"/>
                    </a:cubicBezTo>
                    <a:lnTo>
                      <a:pt x="17266" y="51867"/>
                    </a:lnTo>
                    <a:lnTo>
                      <a:pt x="3049" y="51867"/>
                    </a:lnTo>
                    <a:cubicBezTo>
                      <a:pt x="1367" y="51867"/>
                      <a:pt x="0" y="53234"/>
                      <a:pt x="0" y="54916"/>
                    </a:cubicBezTo>
                    <a:lnTo>
                      <a:pt x="0" y="75955"/>
                    </a:lnTo>
                    <a:cubicBezTo>
                      <a:pt x="0" y="77636"/>
                      <a:pt x="1367" y="79004"/>
                      <a:pt x="3049" y="79004"/>
                    </a:cubicBezTo>
                    <a:lnTo>
                      <a:pt x="17266" y="79004"/>
                    </a:lnTo>
                    <a:lnTo>
                      <a:pt x="17266" y="160659"/>
                    </a:lnTo>
                    <a:cubicBezTo>
                      <a:pt x="17266" y="162368"/>
                      <a:pt x="18661" y="163763"/>
                      <a:pt x="20369" y="163763"/>
                    </a:cubicBezTo>
                    <a:lnTo>
                      <a:pt x="47109" y="163763"/>
                    </a:lnTo>
                    <a:cubicBezTo>
                      <a:pt x="48818" y="163763"/>
                      <a:pt x="50213" y="162368"/>
                      <a:pt x="50213" y="160659"/>
                    </a:cubicBezTo>
                    <a:lnTo>
                      <a:pt x="50213" y="78990"/>
                    </a:lnTo>
                    <a:lnTo>
                      <a:pt x="71443" y="78990"/>
                    </a:lnTo>
                    <a:cubicBezTo>
                      <a:pt x="73125" y="78990"/>
                      <a:pt x="74492" y="77623"/>
                      <a:pt x="74492" y="75941"/>
                    </a:cubicBezTo>
                    <a:lnTo>
                      <a:pt x="74492" y="54902"/>
                    </a:lnTo>
                    <a:cubicBezTo>
                      <a:pt x="74492" y="53220"/>
                      <a:pt x="73125" y="51853"/>
                      <a:pt x="71443" y="51853"/>
                    </a:cubicBezTo>
                    <a:lnTo>
                      <a:pt x="50213" y="51853"/>
                    </a:lnTo>
                    <a:lnTo>
                      <a:pt x="50213" y="38565"/>
                    </a:lnTo>
                    <a:cubicBezTo>
                      <a:pt x="50213" y="33425"/>
                      <a:pt x="54382" y="29269"/>
                      <a:pt x="59509" y="29269"/>
                    </a:cubicBezTo>
                    <a:lnTo>
                      <a:pt x="75722" y="29269"/>
                    </a:lnTo>
                    <a:cubicBezTo>
                      <a:pt x="77431" y="29269"/>
                      <a:pt x="78826" y="27875"/>
                      <a:pt x="78826" y="26166"/>
                    </a:cubicBezTo>
                    <a:lnTo>
                      <a:pt x="78826" y="3103"/>
                    </a:lnTo>
                    <a:cubicBezTo>
                      <a:pt x="78826" y="1394"/>
                      <a:pt x="77431" y="0"/>
                      <a:pt x="75722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B3B32883-E61E-04BF-F66B-FD6A49C88407}"/>
                  </a:ext>
                </a:extLst>
              </p:cNvPr>
              <p:cNvSpPr/>
              <p:nvPr/>
            </p:nvSpPr>
            <p:spPr>
              <a:xfrm>
                <a:off x="11896791" y="6612367"/>
                <a:ext cx="25659" cy="25660"/>
              </a:xfrm>
              <a:custGeom>
                <a:avLst/>
                <a:gdLst>
                  <a:gd name="connsiteX0" fmla="*/ 25660 w 25659"/>
                  <a:gd name="connsiteY0" fmla="*/ 12810 h 25660"/>
                  <a:gd name="connsiteX1" fmla="*/ 12782 w 25659"/>
                  <a:gd name="connsiteY1" fmla="*/ 25660 h 25660"/>
                  <a:gd name="connsiteX2" fmla="*/ 0 w 25659"/>
                  <a:gd name="connsiteY2" fmla="*/ 12810 h 25660"/>
                  <a:gd name="connsiteX3" fmla="*/ 12823 w 25659"/>
                  <a:gd name="connsiteY3" fmla="*/ 0 h 25660"/>
                  <a:gd name="connsiteX4" fmla="*/ 25646 w 25659"/>
                  <a:gd name="connsiteY4" fmla="*/ 12810 h 25660"/>
                  <a:gd name="connsiteX5" fmla="*/ 23691 w 25659"/>
                  <a:gd name="connsiteY5" fmla="*/ 12864 h 25660"/>
                  <a:gd name="connsiteX6" fmla="*/ 12837 w 25659"/>
                  <a:gd name="connsiteY6" fmla="*/ 1832 h 25660"/>
                  <a:gd name="connsiteX7" fmla="*/ 1982 w 25659"/>
                  <a:gd name="connsiteY7" fmla="*/ 12851 h 25660"/>
                  <a:gd name="connsiteX8" fmla="*/ 12782 w 25659"/>
                  <a:gd name="connsiteY8" fmla="*/ 23856 h 25660"/>
                  <a:gd name="connsiteX9" fmla="*/ 23691 w 25659"/>
                  <a:gd name="connsiteY9" fmla="*/ 12864 h 25660"/>
                  <a:gd name="connsiteX10" fmla="*/ 15585 w 25659"/>
                  <a:gd name="connsiteY10" fmla="*/ 14888 h 25660"/>
                  <a:gd name="connsiteX11" fmla="*/ 18811 w 25659"/>
                  <a:gd name="connsiteY11" fmla="*/ 19905 h 25660"/>
                  <a:gd name="connsiteX12" fmla="*/ 16678 w 25659"/>
                  <a:gd name="connsiteY12" fmla="*/ 19905 h 25660"/>
                  <a:gd name="connsiteX13" fmla="*/ 13097 w 25659"/>
                  <a:gd name="connsiteY13" fmla="*/ 14218 h 25660"/>
                  <a:gd name="connsiteX14" fmla="*/ 9829 w 25659"/>
                  <a:gd name="connsiteY14" fmla="*/ 14218 h 25660"/>
                  <a:gd name="connsiteX15" fmla="*/ 9829 w 25659"/>
                  <a:gd name="connsiteY15" fmla="*/ 19905 h 25660"/>
                  <a:gd name="connsiteX16" fmla="*/ 8038 w 25659"/>
                  <a:gd name="connsiteY16" fmla="*/ 19905 h 25660"/>
                  <a:gd name="connsiteX17" fmla="*/ 8038 w 25659"/>
                  <a:gd name="connsiteY17" fmla="*/ 5523 h 25660"/>
                  <a:gd name="connsiteX18" fmla="*/ 13616 w 25659"/>
                  <a:gd name="connsiteY18" fmla="*/ 5523 h 25660"/>
                  <a:gd name="connsiteX19" fmla="*/ 18155 w 25659"/>
                  <a:gd name="connsiteY19" fmla="*/ 9761 h 25660"/>
                  <a:gd name="connsiteX20" fmla="*/ 14887 w 25659"/>
                  <a:gd name="connsiteY20" fmla="*/ 13917 h 25660"/>
                  <a:gd name="connsiteX21" fmla="*/ 15585 w 25659"/>
                  <a:gd name="connsiteY21" fmla="*/ 14901 h 25660"/>
                  <a:gd name="connsiteX22" fmla="*/ 13015 w 25659"/>
                  <a:gd name="connsiteY22" fmla="*/ 12522 h 25660"/>
                  <a:gd name="connsiteX23" fmla="*/ 16282 w 25659"/>
                  <a:gd name="connsiteY23" fmla="*/ 9870 h 25660"/>
                  <a:gd name="connsiteX24" fmla="*/ 13657 w 25659"/>
                  <a:gd name="connsiteY24" fmla="*/ 7191 h 25660"/>
                  <a:gd name="connsiteX25" fmla="*/ 9816 w 25659"/>
                  <a:gd name="connsiteY25" fmla="*/ 7191 h 25660"/>
                  <a:gd name="connsiteX26" fmla="*/ 9816 w 25659"/>
                  <a:gd name="connsiteY26" fmla="*/ 12509 h 25660"/>
                  <a:gd name="connsiteX27" fmla="*/ 13015 w 25659"/>
                  <a:gd name="connsiteY27" fmla="*/ 12509 h 25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25659" h="25660">
                    <a:moveTo>
                      <a:pt x="25660" y="12810"/>
                    </a:moveTo>
                    <a:cubicBezTo>
                      <a:pt x="25660" y="19946"/>
                      <a:pt x="19946" y="25660"/>
                      <a:pt x="12782" y="25660"/>
                    </a:cubicBezTo>
                    <a:cubicBezTo>
                      <a:pt x="5619" y="25660"/>
                      <a:pt x="0" y="19891"/>
                      <a:pt x="0" y="12810"/>
                    </a:cubicBezTo>
                    <a:cubicBezTo>
                      <a:pt x="0" y="5728"/>
                      <a:pt x="5714" y="0"/>
                      <a:pt x="12823" y="0"/>
                    </a:cubicBezTo>
                    <a:cubicBezTo>
                      <a:pt x="19932" y="0"/>
                      <a:pt x="25646" y="5687"/>
                      <a:pt x="25646" y="12810"/>
                    </a:cubicBezTo>
                    <a:close/>
                    <a:moveTo>
                      <a:pt x="23691" y="12864"/>
                    </a:moveTo>
                    <a:cubicBezTo>
                      <a:pt x="23691" y="6712"/>
                      <a:pt x="18838" y="1832"/>
                      <a:pt x="12837" y="1832"/>
                    </a:cubicBezTo>
                    <a:cubicBezTo>
                      <a:pt x="6835" y="1832"/>
                      <a:pt x="1982" y="6658"/>
                      <a:pt x="1982" y="12851"/>
                    </a:cubicBezTo>
                    <a:cubicBezTo>
                      <a:pt x="1982" y="19043"/>
                      <a:pt x="6890" y="23856"/>
                      <a:pt x="12782" y="23856"/>
                    </a:cubicBezTo>
                    <a:cubicBezTo>
                      <a:pt x="18674" y="23856"/>
                      <a:pt x="23691" y="19002"/>
                      <a:pt x="23691" y="12864"/>
                    </a:cubicBezTo>
                    <a:close/>
                    <a:moveTo>
                      <a:pt x="15585" y="14888"/>
                    </a:moveTo>
                    <a:lnTo>
                      <a:pt x="18811" y="19905"/>
                    </a:lnTo>
                    <a:lnTo>
                      <a:pt x="16678" y="19905"/>
                    </a:lnTo>
                    <a:lnTo>
                      <a:pt x="13097" y="14218"/>
                    </a:lnTo>
                    <a:lnTo>
                      <a:pt x="9829" y="14218"/>
                    </a:lnTo>
                    <a:lnTo>
                      <a:pt x="9829" y="19905"/>
                    </a:lnTo>
                    <a:lnTo>
                      <a:pt x="8038" y="19905"/>
                    </a:lnTo>
                    <a:lnTo>
                      <a:pt x="8038" y="5523"/>
                    </a:lnTo>
                    <a:lnTo>
                      <a:pt x="13616" y="5523"/>
                    </a:lnTo>
                    <a:cubicBezTo>
                      <a:pt x="16364" y="5523"/>
                      <a:pt x="18155" y="6999"/>
                      <a:pt x="18155" y="9761"/>
                    </a:cubicBezTo>
                    <a:cubicBezTo>
                      <a:pt x="18155" y="11989"/>
                      <a:pt x="16801" y="13370"/>
                      <a:pt x="14887" y="13917"/>
                    </a:cubicBezTo>
                    <a:cubicBezTo>
                      <a:pt x="15147" y="14204"/>
                      <a:pt x="15407" y="14559"/>
                      <a:pt x="15585" y="14901"/>
                    </a:cubicBezTo>
                    <a:close/>
                    <a:moveTo>
                      <a:pt x="13015" y="12522"/>
                    </a:moveTo>
                    <a:cubicBezTo>
                      <a:pt x="15038" y="12522"/>
                      <a:pt x="16282" y="11565"/>
                      <a:pt x="16282" y="9870"/>
                    </a:cubicBezTo>
                    <a:cubicBezTo>
                      <a:pt x="16282" y="8175"/>
                      <a:pt x="15421" y="7191"/>
                      <a:pt x="13657" y="7191"/>
                    </a:cubicBezTo>
                    <a:lnTo>
                      <a:pt x="9816" y="7191"/>
                    </a:lnTo>
                    <a:lnTo>
                      <a:pt x="9816" y="12509"/>
                    </a:lnTo>
                    <a:lnTo>
                      <a:pt x="13015" y="12509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8EBF7392-D8B4-A47F-E36F-DAF4D9793CE7}"/>
                  </a:ext>
                </a:extLst>
              </p:cNvPr>
              <p:cNvSpPr/>
              <p:nvPr/>
            </p:nvSpPr>
            <p:spPr>
              <a:xfrm>
                <a:off x="11620956" y="6472487"/>
                <a:ext cx="32932" cy="163721"/>
              </a:xfrm>
              <a:custGeom>
                <a:avLst/>
                <a:gdLst>
                  <a:gd name="connsiteX0" fmla="*/ 29830 w 32932"/>
                  <a:gd name="connsiteY0" fmla="*/ 0 h 163721"/>
                  <a:gd name="connsiteX1" fmla="*/ 32933 w 32932"/>
                  <a:gd name="connsiteY1" fmla="*/ 3103 h 163721"/>
                  <a:gd name="connsiteX2" fmla="*/ 32933 w 32932"/>
                  <a:gd name="connsiteY2" fmla="*/ 160618 h 163721"/>
                  <a:gd name="connsiteX3" fmla="*/ 29830 w 32932"/>
                  <a:gd name="connsiteY3" fmla="*/ 163722 h 163721"/>
                  <a:gd name="connsiteX4" fmla="*/ 3103 w 32932"/>
                  <a:gd name="connsiteY4" fmla="*/ 163722 h 163721"/>
                  <a:gd name="connsiteX5" fmla="*/ 0 w 32932"/>
                  <a:gd name="connsiteY5" fmla="*/ 160618 h 163721"/>
                  <a:gd name="connsiteX6" fmla="*/ 0 w 32932"/>
                  <a:gd name="connsiteY6" fmla="*/ 3103 h 163721"/>
                  <a:gd name="connsiteX7" fmla="*/ 3103 w 32932"/>
                  <a:gd name="connsiteY7" fmla="*/ 0 h 163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2932" h="163721">
                    <a:moveTo>
                      <a:pt x="29830" y="0"/>
                    </a:moveTo>
                    <a:cubicBezTo>
                      <a:pt x="31544" y="0"/>
                      <a:pt x="32933" y="1389"/>
                      <a:pt x="32933" y="3103"/>
                    </a:cubicBezTo>
                    <a:lnTo>
                      <a:pt x="32933" y="160618"/>
                    </a:lnTo>
                    <a:cubicBezTo>
                      <a:pt x="32933" y="162332"/>
                      <a:pt x="31543" y="163722"/>
                      <a:pt x="29830" y="163722"/>
                    </a:cubicBezTo>
                    <a:lnTo>
                      <a:pt x="3103" y="163722"/>
                    </a:lnTo>
                    <a:cubicBezTo>
                      <a:pt x="1389" y="163722"/>
                      <a:pt x="0" y="162332"/>
                      <a:pt x="0" y="160618"/>
                    </a:cubicBezTo>
                    <a:lnTo>
                      <a:pt x="0" y="3103"/>
                    </a:lnTo>
                    <a:cubicBezTo>
                      <a:pt x="0" y="1389"/>
                      <a:pt x="1389" y="0"/>
                      <a:pt x="3103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4697E37D-0AC2-DC5F-1543-4407D7986B14}"/>
                  </a:ext>
                </a:extLst>
              </p:cNvPr>
              <p:cNvSpPr/>
              <p:nvPr/>
            </p:nvSpPr>
            <p:spPr>
              <a:xfrm>
                <a:off x="11488486" y="6472473"/>
                <a:ext cx="123638" cy="166086"/>
              </a:xfrm>
              <a:custGeom>
                <a:avLst/>
                <a:gdLst>
                  <a:gd name="connsiteX0" fmla="*/ 68737 w 123638"/>
                  <a:gd name="connsiteY0" fmla="*/ 44663 h 166086"/>
                  <a:gd name="connsiteX1" fmla="*/ 32947 w 123638"/>
                  <a:gd name="connsiteY1" fmla="*/ 62052 h 166086"/>
                  <a:gd name="connsiteX2" fmla="*/ 32947 w 123638"/>
                  <a:gd name="connsiteY2" fmla="*/ 3103 h 166086"/>
                  <a:gd name="connsiteX3" fmla="*/ 29843 w 123638"/>
                  <a:gd name="connsiteY3" fmla="*/ 0 h 166086"/>
                  <a:gd name="connsiteX4" fmla="*/ 3103 w 123638"/>
                  <a:gd name="connsiteY4" fmla="*/ 0 h 166086"/>
                  <a:gd name="connsiteX5" fmla="*/ 0 w 123638"/>
                  <a:gd name="connsiteY5" fmla="*/ 3103 h 166086"/>
                  <a:gd name="connsiteX6" fmla="*/ 0 w 123638"/>
                  <a:gd name="connsiteY6" fmla="*/ 160632 h 166086"/>
                  <a:gd name="connsiteX7" fmla="*/ 3103 w 123638"/>
                  <a:gd name="connsiteY7" fmla="*/ 163735 h 166086"/>
                  <a:gd name="connsiteX8" fmla="*/ 29843 w 123638"/>
                  <a:gd name="connsiteY8" fmla="*/ 163735 h 166086"/>
                  <a:gd name="connsiteX9" fmla="*/ 32947 w 123638"/>
                  <a:gd name="connsiteY9" fmla="*/ 160632 h 166086"/>
                  <a:gd name="connsiteX10" fmla="*/ 32947 w 123638"/>
                  <a:gd name="connsiteY10" fmla="*/ 149025 h 166086"/>
                  <a:gd name="connsiteX11" fmla="*/ 68983 w 123638"/>
                  <a:gd name="connsiteY11" fmla="*/ 166087 h 166086"/>
                  <a:gd name="connsiteX12" fmla="*/ 123638 w 123638"/>
                  <a:gd name="connsiteY12" fmla="*/ 105539 h 166086"/>
                  <a:gd name="connsiteX13" fmla="*/ 68750 w 123638"/>
                  <a:gd name="connsiteY13" fmla="*/ 44663 h 166086"/>
                  <a:gd name="connsiteX14" fmla="*/ 62188 w 123638"/>
                  <a:gd name="connsiteY14" fmla="*/ 135163 h 166086"/>
                  <a:gd name="connsiteX15" fmla="*/ 32947 w 123638"/>
                  <a:gd name="connsiteY15" fmla="*/ 105552 h 166086"/>
                  <a:gd name="connsiteX16" fmla="*/ 62188 w 123638"/>
                  <a:gd name="connsiteY16" fmla="*/ 76174 h 166086"/>
                  <a:gd name="connsiteX17" fmla="*/ 90965 w 123638"/>
                  <a:gd name="connsiteY17" fmla="*/ 105552 h 166086"/>
                  <a:gd name="connsiteX18" fmla="*/ 62188 w 123638"/>
                  <a:gd name="connsiteY18" fmla="*/ 135163 h 166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23638" h="166086">
                    <a:moveTo>
                      <a:pt x="68737" y="44663"/>
                    </a:moveTo>
                    <a:cubicBezTo>
                      <a:pt x="53535" y="44663"/>
                      <a:pt x="40889" y="51252"/>
                      <a:pt x="32947" y="62052"/>
                    </a:cubicBezTo>
                    <a:lnTo>
                      <a:pt x="32947" y="3103"/>
                    </a:lnTo>
                    <a:cubicBezTo>
                      <a:pt x="32947" y="1394"/>
                      <a:pt x="31552" y="0"/>
                      <a:pt x="29843" y="0"/>
                    </a:cubicBezTo>
                    <a:lnTo>
                      <a:pt x="3103" y="0"/>
                    </a:lnTo>
                    <a:cubicBezTo>
                      <a:pt x="1394" y="0"/>
                      <a:pt x="0" y="1394"/>
                      <a:pt x="0" y="3103"/>
                    </a:cubicBezTo>
                    <a:lnTo>
                      <a:pt x="0" y="160632"/>
                    </a:lnTo>
                    <a:cubicBezTo>
                      <a:pt x="0" y="162341"/>
                      <a:pt x="1394" y="163735"/>
                      <a:pt x="3103" y="163735"/>
                    </a:cubicBezTo>
                    <a:lnTo>
                      <a:pt x="29843" y="163735"/>
                    </a:lnTo>
                    <a:cubicBezTo>
                      <a:pt x="31552" y="163735"/>
                      <a:pt x="32947" y="162341"/>
                      <a:pt x="32947" y="160632"/>
                    </a:cubicBezTo>
                    <a:lnTo>
                      <a:pt x="32947" y="149025"/>
                    </a:lnTo>
                    <a:cubicBezTo>
                      <a:pt x="40903" y="159839"/>
                      <a:pt x="53535" y="166087"/>
                      <a:pt x="68983" y="166087"/>
                    </a:cubicBezTo>
                    <a:cubicBezTo>
                      <a:pt x="101505" y="166087"/>
                      <a:pt x="123638" y="139852"/>
                      <a:pt x="123638" y="105539"/>
                    </a:cubicBezTo>
                    <a:cubicBezTo>
                      <a:pt x="123638" y="71225"/>
                      <a:pt x="101505" y="44663"/>
                      <a:pt x="68750" y="44663"/>
                    </a:cubicBezTo>
                    <a:close/>
                    <a:moveTo>
                      <a:pt x="62188" y="135163"/>
                    </a:moveTo>
                    <a:cubicBezTo>
                      <a:pt x="45346" y="135163"/>
                      <a:pt x="32947" y="121533"/>
                      <a:pt x="32947" y="105552"/>
                    </a:cubicBezTo>
                    <a:cubicBezTo>
                      <a:pt x="32947" y="89571"/>
                      <a:pt x="45346" y="76174"/>
                      <a:pt x="62188" y="76174"/>
                    </a:cubicBezTo>
                    <a:cubicBezTo>
                      <a:pt x="79031" y="76174"/>
                      <a:pt x="90965" y="89571"/>
                      <a:pt x="90965" y="105552"/>
                    </a:cubicBezTo>
                    <a:cubicBezTo>
                      <a:pt x="90965" y="121533"/>
                      <a:pt x="78798" y="135163"/>
                      <a:pt x="62188" y="13516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6E89CB15-5917-9F7C-0437-8E4431B93FF7}"/>
                  </a:ext>
                </a:extLst>
              </p:cNvPr>
              <p:cNvSpPr/>
              <p:nvPr/>
            </p:nvSpPr>
            <p:spPr>
              <a:xfrm>
                <a:off x="11359421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7A5C49C6-7264-3E03-90F1-B286DEA72D32}"/>
                  </a:ext>
                </a:extLst>
              </p:cNvPr>
              <p:cNvSpPr/>
              <p:nvPr/>
            </p:nvSpPr>
            <p:spPr>
              <a:xfrm>
                <a:off x="11662542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7C3F2375-9A4F-D33E-D04D-5072C9EFAB1A}"/>
                  </a:ext>
                </a:extLst>
              </p:cNvPr>
              <p:cNvSpPr/>
              <p:nvPr/>
            </p:nvSpPr>
            <p:spPr>
              <a:xfrm>
                <a:off x="11122821" y="6519528"/>
                <a:ext cx="32932" cy="116680"/>
              </a:xfrm>
              <a:custGeom>
                <a:avLst/>
                <a:gdLst>
                  <a:gd name="connsiteX0" fmla="*/ 29843 w 32932"/>
                  <a:gd name="connsiteY0" fmla="*/ 116680 h 116680"/>
                  <a:gd name="connsiteX1" fmla="*/ 3103 w 32932"/>
                  <a:gd name="connsiteY1" fmla="*/ 116680 h 116680"/>
                  <a:gd name="connsiteX2" fmla="*/ 0 w 32932"/>
                  <a:gd name="connsiteY2" fmla="*/ 113577 h 116680"/>
                  <a:gd name="connsiteX3" fmla="*/ 0 w 32932"/>
                  <a:gd name="connsiteY3" fmla="*/ 30554 h 116680"/>
                  <a:gd name="connsiteX4" fmla="*/ 1859 w 32932"/>
                  <a:gd name="connsiteY4" fmla="*/ 26125 h 116680"/>
                  <a:gd name="connsiteX5" fmla="*/ 27670 w 32932"/>
                  <a:gd name="connsiteY5" fmla="*/ 888 h 116680"/>
                  <a:gd name="connsiteX6" fmla="*/ 32933 w 32932"/>
                  <a:gd name="connsiteY6" fmla="*/ 3103 h 116680"/>
                  <a:gd name="connsiteX7" fmla="*/ 32933 w 32932"/>
                  <a:gd name="connsiteY7" fmla="*/ 113577 h 116680"/>
                  <a:gd name="connsiteX8" fmla="*/ 29830 w 32932"/>
                  <a:gd name="connsiteY8" fmla="*/ 116680 h 116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932" h="116680">
                    <a:moveTo>
                      <a:pt x="29843" y="116680"/>
                    </a:moveTo>
                    <a:lnTo>
                      <a:pt x="3103" y="116680"/>
                    </a:lnTo>
                    <a:cubicBezTo>
                      <a:pt x="1394" y="116680"/>
                      <a:pt x="0" y="115286"/>
                      <a:pt x="0" y="113577"/>
                    </a:cubicBezTo>
                    <a:lnTo>
                      <a:pt x="0" y="30554"/>
                    </a:lnTo>
                    <a:cubicBezTo>
                      <a:pt x="0" y="28886"/>
                      <a:pt x="670" y="27287"/>
                      <a:pt x="1859" y="26125"/>
                    </a:cubicBezTo>
                    <a:lnTo>
                      <a:pt x="27670" y="888"/>
                    </a:lnTo>
                    <a:cubicBezTo>
                      <a:pt x="29638" y="-1026"/>
                      <a:pt x="32933" y="355"/>
                      <a:pt x="32933" y="3103"/>
                    </a:cubicBezTo>
                    <a:lnTo>
                      <a:pt x="32933" y="113577"/>
                    </a:lnTo>
                    <a:cubicBezTo>
                      <a:pt x="32933" y="115286"/>
                      <a:pt x="31538" y="116680"/>
                      <a:pt x="29830" y="11668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904C3430-D5C0-8DC9-D185-EB5444691443}"/>
                  </a:ext>
                </a:extLst>
              </p:cNvPr>
              <p:cNvSpPr/>
              <p:nvPr/>
            </p:nvSpPr>
            <p:spPr>
              <a:xfrm>
                <a:off x="11173074" y="6517105"/>
                <a:ext cx="107493" cy="119116"/>
              </a:xfrm>
              <a:custGeom>
                <a:avLst/>
                <a:gdLst>
                  <a:gd name="connsiteX0" fmla="*/ 107480 w 107493"/>
                  <a:gd name="connsiteY0" fmla="*/ 41877 h 119116"/>
                  <a:gd name="connsiteX1" fmla="*/ 65237 w 107493"/>
                  <a:gd name="connsiteY1" fmla="*/ 3 h 119116"/>
                  <a:gd name="connsiteX2" fmla="*/ 32947 w 107493"/>
                  <a:gd name="connsiteY2" fmla="*/ 17474 h 119116"/>
                  <a:gd name="connsiteX3" fmla="*/ 32947 w 107493"/>
                  <a:gd name="connsiteY3" fmla="*/ 5581 h 119116"/>
                  <a:gd name="connsiteX4" fmla="*/ 29843 w 107493"/>
                  <a:gd name="connsiteY4" fmla="*/ 2478 h 119116"/>
                  <a:gd name="connsiteX5" fmla="*/ 3103 w 107493"/>
                  <a:gd name="connsiteY5" fmla="*/ 2478 h 119116"/>
                  <a:gd name="connsiteX6" fmla="*/ 0 w 107493"/>
                  <a:gd name="connsiteY6" fmla="*/ 5581 h 119116"/>
                  <a:gd name="connsiteX7" fmla="*/ 0 w 107493"/>
                  <a:gd name="connsiteY7" fmla="*/ 116000 h 119116"/>
                  <a:gd name="connsiteX8" fmla="*/ 3103 w 107493"/>
                  <a:gd name="connsiteY8" fmla="*/ 119103 h 119116"/>
                  <a:gd name="connsiteX9" fmla="*/ 29843 w 107493"/>
                  <a:gd name="connsiteY9" fmla="*/ 119103 h 119116"/>
                  <a:gd name="connsiteX10" fmla="*/ 32947 w 107493"/>
                  <a:gd name="connsiteY10" fmla="*/ 116000 h 119116"/>
                  <a:gd name="connsiteX11" fmla="*/ 32947 w 107493"/>
                  <a:gd name="connsiteY11" fmla="*/ 51788 h 119116"/>
                  <a:gd name="connsiteX12" fmla="*/ 53740 w 107493"/>
                  <a:gd name="connsiteY12" fmla="*/ 31747 h 119116"/>
                  <a:gd name="connsiteX13" fmla="*/ 74547 w 107493"/>
                  <a:gd name="connsiteY13" fmla="*/ 53210 h 119116"/>
                  <a:gd name="connsiteX14" fmla="*/ 74547 w 107493"/>
                  <a:gd name="connsiteY14" fmla="*/ 116014 h 119116"/>
                  <a:gd name="connsiteX15" fmla="*/ 77650 w 107493"/>
                  <a:gd name="connsiteY15" fmla="*/ 119117 h 119116"/>
                  <a:gd name="connsiteX16" fmla="*/ 104390 w 107493"/>
                  <a:gd name="connsiteY16" fmla="*/ 119117 h 119116"/>
                  <a:gd name="connsiteX17" fmla="*/ 107493 w 107493"/>
                  <a:gd name="connsiteY17" fmla="*/ 116014 h 119116"/>
                  <a:gd name="connsiteX18" fmla="*/ 107493 w 107493"/>
                  <a:gd name="connsiteY18" fmla="*/ 41890 h 119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7493" h="119116">
                    <a:moveTo>
                      <a:pt x="107480" y="41877"/>
                    </a:moveTo>
                    <a:cubicBezTo>
                      <a:pt x="107480" y="19252"/>
                      <a:pt x="88792" y="277"/>
                      <a:pt x="65237" y="3"/>
                    </a:cubicBezTo>
                    <a:cubicBezTo>
                      <a:pt x="49912" y="-175"/>
                      <a:pt x="39563" y="7331"/>
                      <a:pt x="32947" y="17474"/>
                    </a:cubicBezTo>
                    <a:lnTo>
                      <a:pt x="32947" y="5581"/>
                    </a:lnTo>
                    <a:cubicBezTo>
                      <a:pt x="32947" y="3872"/>
                      <a:pt x="31552" y="2478"/>
                      <a:pt x="29843" y="2478"/>
                    </a:cubicBezTo>
                    <a:lnTo>
                      <a:pt x="3103" y="2478"/>
                    </a:lnTo>
                    <a:cubicBezTo>
                      <a:pt x="1394" y="2478"/>
                      <a:pt x="0" y="3872"/>
                      <a:pt x="0" y="5581"/>
                    </a:cubicBezTo>
                    <a:lnTo>
                      <a:pt x="0" y="116000"/>
                    </a:lnTo>
                    <a:cubicBezTo>
                      <a:pt x="0" y="117709"/>
                      <a:pt x="1394" y="119103"/>
                      <a:pt x="3103" y="119103"/>
                    </a:cubicBezTo>
                    <a:lnTo>
                      <a:pt x="29843" y="119103"/>
                    </a:lnTo>
                    <a:cubicBezTo>
                      <a:pt x="31552" y="119103"/>
                      <a:pt x="32947" y="117709"/>
                      <a:pt x="32947" y="116000"/>
                    </a:cubicBezTo>
                    <a:lnTo>
                      <a:pt x="32947" y="51788"/>
                    </a:lnTo>
                    <a:cubicBezTo>
                      <a:pt x="33685" y="39430"/>
                      <a:pt x="41518" y="31747"/>
                      <a:pt x="53740" y="31747"/>
                    </a:cubicBezTo>
                    <a:cubicBezTo>
                      <a:pt x="65961" y="31747"/>
                      <a:pt x="74547" y="40373"/>
                      <a:pt x="74547" y="53210"/>
                    </a:cubicBezTo>
                    <a:lnTo>
                      <a:pt x="74547" y="116014"/>
                    </a:lnTo>
                    <a:cubicBezTo>
                      <a:pt x="74547" y="117722"/>
                      <a:pt x="75941" y="119117"/>
                      <a:pt x="77650" y="119117"/>
                    </a:cubicBezTo>
                    <a:lnTo>
                      <a:pt x="104390" y="119117"/>
                    </a:lnTo>
                    <a:cubicBezTo>
                      <a:pt x="106099" y="119117"/>
                      <a:pt x="107493" y="117722"/>
                      <a:pt x="107493" y="116014"/>
                    </a:cubicBezTo>
                    <a:lnTo>
                      <a:pt x="107493" y="41890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DB680AC4-FC02-897C-E641-C1EA158E713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03596" y="1395614"/>
            <a:ext cx="8116904" cy="828489"/>
          </a:xfrm>
          <a:prstGeom prst="rect">
            <a:avLst/>
          </a:prstGeom>
        </p:spPr>
        <p:txBody>
          <a:bodyPr anchor="ctr"/>
          <a:lstStyle>
            <a:lvl1pPr marL="180000" indent="-180000">
              <a:spcBef>
                <a:spcPts val="400"/>
              </a:spcBef>
              <a:buClr>
                <a:srgbClr val="00BD4D"/>
              </a:buClr>
              <a:defRPr sz="1400" b="0" i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38">
            <a:extLst>
              <a:ext uri="{FF2B5EF4-FFF2-40B4-BE49-F238E27FC236}">
                <a16:creationId xmlns:a16="http://schemas.microsoft.com/office/drawing/2014/main" id="{CF6F3360-0467-E8D3-A380-13A880732CB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03596" y="2693402"/>
            <a:ext cx="8116904" cy="828489"/>
          </a:xfrm>
          <a:prstGeom prst="rect">
            <a:avLst/>
          </a:prstGeom>
        </p:spPr>
        <p:txBody>
          <a:bodyPr anchor="ctr"/>
          <a:lstStyle>
            <a:lvl1pPr marL="180000" indent="-180000">
              <a:spcBef>
                <a:spcPts val="400"/>
              </a:spcBef>
              <a:buClr>
                <a:srgbClr val="00BD4D"/>
              </a:buClr>
              <a:defRPr sz="1400" b="0" i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38">
            <a:extLst>
              <a:ext uri="{FF2B5EF4-FFF2-40B4-BE49-F238E27FC236}">
                <a16:creationId xmlns:a16="http://schemas.microsoft.com/office/drawing/2014/main" id="{B6326F10-79F9-9265-3C60-D0CFF846E29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03596" y="3991190"/>
            <a:ext cx="8116904" cy="828489"/>
          </a:xfrm>
          <a:prstGeom prst="rect">
            <a:avLst/>
          </a:prstGeom>
        </p:spPr>
        <p:txBody>
          <a:bodyPr anchor="ctr"/>
          <a:lstStyle>
            <a:lvl1pPr marL="180000" indent="-180000">
              <a:spcBef>
                <a:spcPts val="400"/>
              </a:spcBef>
              <a:buClr>
                <a:srgbClr val="00BD4D"/>
              </a:buClr>
              <a:defRPr sz="1400" b="0" i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38">
            <a:extLst>
              <a:ext uri="{FF2B5EF4-FFF2-40B4-BE49-F238E27FC236}">
                <a16:creationId xmlns:a16="http://schemas.microsoft.com/office/drawing/2014/main" id="{FF2F48D3-5BAE-C6DC-BC5F-790DDB87A6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03596" y="5288978"/>
            <a:ext cx="8116904" cy="828489"/>
          </a:xfrm>
          <a:prstGeom prst="rect">
            <a:avLst/>
          </a:prstGeom>
        </p:spPr>
        <p:txBody>
          <a:bodyPr anchor="ctr"/>
          <a:lstStyle>
            <a:lvl1pPr marL="180000" indent="-180000">
              <a:spcBef>
                <a:spcPts val="400"/>
              </a:spcBef>
              <a:buClr>
                <a:srgbClr val="00BD4D"/>
              </a:buClr>
              <a:defRPr sz="1400" b="0" i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3166951B-3EE7-92B7-F769-5673851204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4551" y="1552405"/>
            <a:ext cx="2135776" cy="51490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2000" b="1" i="0" cap="all" baseline="0">
                <a:solidFill>
                  <a:schemeClr val="bg1"/>
                </a:solidFill>
                <a:latin typeface="Lato" panose="020F0502020204030203" pitchFamily="34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79F23222-FFC9-1B40-E1E7-814DF232BE2F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24551" y="2850193"/>
            <a:ext cx="2135776" cy="51490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2000" b="1" i="0" cap="all" baseline="0">
                <a:solidFill>
                  <a:schemeClr val="bg1"/>
                </a:solidFill>
                <a:latin typeface="Lato" panose="020F0502020204030203" pitchFamily="34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C47F0939-45BB-3531-BFF7-B51D3104144A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24551" y="4147981"/>
            <a:ext cx="2135776" cy="51490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2000" b="1" i="0" cap="all" baseline="0">
                <a:solidFill>
                  <a:schemeClr val="bg1"/>
                </a:solidFill>
                <a:latin typeface="Lato" panose="020F0502020204030203" pitchFamily="34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7995863E-6848-0318-E9AB-D544C0E908BB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624551" y="5445769"/>
            <a:ext cx="2135776" cy="51490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2000" b="1" i="0" cap="all" baseline="0">
                <a:solidFill>
                  <a:schemeClr val="bg1"/>
                </a:solidFill>
                <a:latin typeface="Lato" panose="020F0502020204030203" pitchFamily="34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Round Same Side Corner Rectangle 2">
            <a:extLst>
              <a:ext uri="{FF2B5EF4-FFF2-40B4-BE49-F238E27FC236}">
                <a16:creationId xmlns:a16="http://schemas.microsoft.com/office/drawing/2014/main" id="{4886E09B-7C72-30DA-7236-041E8B263AF9}"/>
              </a:ext>
            </a:extLst>
          </p:cNvPr>
          <p:cNvSpPr/>
          <p:nvPr userDrawn="1"/>
        </p:nvSpPr>
        <p:spPr>
          <a:xfrm rot="5400000">
            <a:off x="5349530" y="-2789879"/>
            <a:ext cx="1073840" cy="11772900"/>
          </a:xfrm>
          <a:prstGeom prst="round2SameRect">
            <a:avLst>
              <a:gd name="adj1" fmla="val 7623"/>
              <a:gd name="adj2" fmla="val 0"/>
            </a:avLst>
          </a:prstGeom>
          <a:solidFill>
            <a:srgbClr val="D9E1E2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err="1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sp>
        <p:nvSpPr>
          <p:cNvPr id="16" name="Round Same Side Corner Rectangle 15">
            <a:extLst>
              <a:ext uri="{FF2B5EF4-FFF2-40B4-BE49-F238E27FC236}">
                <a16:creationId xmlns:a16="http://schemas.microsoft.com/office/drawing/2014/main" id="{7BE72792-EF3B-A359-E0F9-1CB6FF18766B}"/>
              </a:ext>
            </a:extLst>
          </p:cNvPr>
          <p:cNvSpPr/>
          <p:nvPr userDrawn="1"/>
        </p:nvSpPr>
        <p:spPr>
          <a:xfrm rot="5400000">
            <a:off x="5349530" y="-1475429"/>
            <a:ext cx="1073840" cy="11772900"/>
          </a:xfrm>
          <a:prstGeom prst="round2SameRect">
            <a:avLst>
              <a:gd name="adj1" fmla="val 7623"/>
              <a:gd name="adj2" fmla="val 0"/>
            </a:avLst>
          </a:prstGeom>
          <a:solidFill>
            <a:srgbClr val="D9E1E2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err="1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sp>
        <p:nvSpPr>
          <p:cNvPr id="17" name="Round Same Side Corner Rectangle 16">
            <a:extLst>
              <a:ext uri="{FF2B5EF4-FFF2-40B4-BE49-F238E27FC236}">
                <a16:creationId xmlns:a16="http://schemas.microsoft.com/office/drawing/2014/main" id="{FB895225-38AE-F9A5-7DD7-EDEE2BE284F8}"/>
              </a:ext>
            </a:extLst>
          </p:cNvPr>
          <p:cNvSpPr/>
          <p:nvPr userDrawn="1"/>
        </p:nvSpPr>
        <p:spPr>
          <a:xfrm rot="5400000">
            <a:off x="5349530" y="-183839"/>
            <a:ext cx="1073840" cy="11772900"/>
          </a:xfrm>
          <a:prstGeom prst="round2SameRect">
            <a:avLst>
              <a:gd name="adj1" fmla="val 7623"/>
              <a:gd name="adj2" fmla="val 0"/>
            </a:avLst>
          </a:prstGeom>
          <a:solidFill>
            <a:srgbClr val="D9E1E2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err="1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251311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7B669B37-CF43-8D14-6755-F61A54D8FB98}"/>
              </a:ext>
            </a:extLst>
          </p:cNvPr>
          <p:cNvGrpSpPr/>
          <p:nvPr userDrawn="1"/>
        </p:nvGrpSpPr>
        <p:grpSpPr>
          <a:xfrm>
            <a:off x="11122821" y="6472473"/>
            <a:ext cx="799629" cy="166100"/>
            <a:chOff x="11122821" y="6472473"/>
            <a:chExt cx="799629" cy="166100"/>
          </a:xfrm>
        </p:grpSpPr>
        <p:sp>
          <p:nvSpPr>
            <p:cNvPr id="4" name="Freeform: Shape 11">
              <a:extLst>
                <a:ext uri="{FF2B5EF4-FFF2-40B4-BE49-F238E27FC236}">
                  <a16:creationId xmlns:a16="http://schemas.microsoft.com/office/drawing/2014/main" id="{E8FB77A1-B8B7-B82C-0DEC-68BF410A36D3}"/>
                </a:ext>
              </a:extLst>
            </p:cNvPr>
            <p:cNvSpPr/>
            <p:nvPr/>
          </p:nvSpPr>
          <p:spPr>
            <a:xfrm rot="18900000">
              <a:off x="11134957" y="6473485"/>
              <a:ext cx="35147" cy="35147"/>
            </a:xfrm>
            <a:custGeom>
              <a:avLst/>
              <a:gdLst>
                <a:gd name="connsiteX0" fmla="*/ 32044 w 35147"/>
                <a:gd name="connsiteY0" fmla="*/ 0 h 35147"/>
                <a:gd name="connsiteX1" fmla="*/ 35148 w 35147"/>
                <a:gd name="connsiteY1" fmla="*/ 3103 h 35147"/>
                <a:gd name="connsiteX2" fmla="*/ 35148 w 35147"/>
                <a:gd name="connsiteY2" fmla="*/ 32044 h 35147"/>
                <a:gd name="connsiteX3" fmla="*/ 32044 w 35147"/>
                <a:gd name="connsiteY3" fmla="*/ 35148 h 35147"/>
                <a:gd name="connsiteX4" fmla="*/ 3103 w 35147"/>
                <a:gd name="connsiteY4" fmla="*/ 35148 h 35147"/>
                <a:gd name="connsiteX5" fmla="*/ 0 w 35147"/>
                <a:gd name="connsiteY5" fmla="*/ 32044 h 35147"/>
                <a:gd name="connsiteX6" fmla="*/ 0 w 35147"/>
                <a:gd name="connsiteY6" fmla="*/ 3103 h 35147"/>
                <a:gd name="connsiteX7" fmla="*/ 3103 w 35147"/>
                <a:gd name="connsiteY7" fmla="*/ 0 h 35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147" h="35147">
                  <a:moveTo>
                    <a:pt x="32044" y="0"/>
                  </a:moveTo>
                  <a:cubicBezTo>
                    <a:pt x="33758" y="0"/>
                    <a:pt x="35148" y="1389"/>
                    <a:pt x="35148" y="3103"/>
                  </a:cubicBezTo>
                  <a:lnTo>
                    <a:pt x="35148" y="32044"/>
                  </a:lnTo>
                  <a:cubicBezTo>
                    <a:pt x="35148" y="33758"/>
                    <a:pt x="33758" y="35148"/>
                    <a:pt x="32044" y="35148"/>
                  </a:cubicBezTo>
                  <a:lnTo>
                    <a:pt x="3103" y="35148"/>
                  </a:lnTo>
                  <a:cubicBezTo>
                    <a:pt x="1389" y="35148"/>
                    <a:pt x="0" y="33758"/>
                    <a:pt x="0" y="32044"/>
                  </a:cubicBezTo>
                  <a:lnTo>
                    <a:pt x="0" y="3103"/>
                  </a:lnTo>
                  <a:cubicBezTo>
                    <a:pt x="0" y="1389"/>
                    <a:pt x="1389" y="0"/>
                    <a:pt x="3103" y="0"/>
                  </a:cubicBezTo>
                  <a:close/>
                </a:path>
              </a:pathLst>
            </a:custGeom>
            <a:solidFill>
              <a:srgbClr val="00BD4D"/>
            </a:solidFill>
            <a:ln w="135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428FEF25-F27F-3DC3-96C1-5C236F1C5794}"/>
                </a:ext>
              </a:extLst>
            </p:cNvPr>
            <p:cNvGrpSpPr/>
            <p:nvPr/>
          </p:nvGrpSpPr>
          <p:grpSpPr>
            <a:xfrm>
              <a:off x="11122821" y="6472473"/>
              <a:ext cx="799629" cy="166100"/>
              <a:chOff x="11122821" y="6472473"/>
              <a:chExt cx="799629" cy="166100"/>
            </a:xfrm>
            <a:solidFill>
              <a:schemeClr val="bg1"/>
            </a:solidFill>
          </p:grpSpPr>
          <p:sp>
            <p:nvSpPr>
              <p:cNvPr id="6" name="Freeform: Shape 13">
                <a:extLst>
                  <a:ext uri="{FF2B5EF4-FFF2-40B4-BE49-F238E27FC236}">
                    <a16:creationId xmlns:a16="http://schemas.microsoft.com/office/drawing/2014/main" id="{715B49B7-9FDF-2589-FA6F-B90D11E0EF44}"/>
                  </a:ext>
                </a:extLst>
              </p:cNvPr>
              <p:cNvSpPr/>
              <p:nvPr/>
            </p:nvSpPr>
            <p:spPr>
              <a:xfrm>
                <a:off x="11774281" y="6519597"/>
                <a:ext cx="119385" cy="116611"/>
              </a:xfrm>
              <a:custGeom>
                <a:avLst/>
                <a:gdLst>
                  <a:gd name="connsiteX0" fmla="*/ 82523 w 119385"/>
                  <a:gd name="connsiteY0" fmla="*/ 58306 h 116611"/>
                  <a:gd name="connsiteX1" fmla="*/ 118887 w 119385"/>
                  <a:gd name="connsiteY1" fmla="*/ 112265 h 116611"/>
                  <a:gd name="connsiteX2" fmla="*/ 116385 w 119385"/>
                  <a:gd name="connsiteY2" fmla="*/ 116612 h 116611"/>
                  <a:gd name="connsiteX3" fmla="*/ 85831 w 119385"/>
                  <a:gd name="connsiteY3" fmla="*/ 116612 h 116611"/>
                  <a:gd name="connsiteX4" fmla="*/ 80718 w 119385"/>
                  <a:gd name="connsiteY4" fmla="*/ 113919 h 116611"/>
                  <a:gd name="connsiteX5" fmla="*/ 59693 w 119385"/>
                  <a:gd name="connsiteY5" fmla="*/ 81751 h 116611"/>
                  <a:gd name="connsiteX6" fmla="*/ 38667 w 119385"/>
                  <a:gd name="connsiteY6" fmla="*/ 113919 h 116611"/>
                  <a:gd name="connsiteX7" fmla="*/ 33554 w 119385"/>
                  <a:gd name="connsiteY7" fmla="*/ 116612 h 116611"/>
                  <a:gd name="connsiteX8" fmla="*/ 3000 w 119385"/>
                  <a:gd name="connsiteY8" fmla="*/ 116612 h 116611"/>
                  <a:gd name="connsiteX9" fmla="*/ 498 w 119385"/>
                  <a:gd name="connsiteY9" fmla="*/ 112265 h 116611"/>
                  <a:gd name="connsiteX10" fmla="*/ 36753 w 119385"/>
                  <a:gd name="connsiteY10" fmla="*/ 58306 h 116611"/>
                  <a:gd name="connsiteX11" fmla="*/ 498 w 119385"/>
                  <a:gd name="connsiteY11" fmla="*/ 4347 h 116611"/>
                  <a:gd name="connsiteX12" fmla="*/ 3000 w 119385"/>
                  <a:gd name="connsiteY12" fmla="*/ 0 h 116611"/>
                  <a:gd name="connsiteX13" fmla="*/ 34853 w 119385"/>
                  <a:gd name="connsiteY13" fmla="*/ 0 h 116611"/>
                  <a:gd name="connsiteX14" fmla="*/ 37778 w 119385"/>
                  <a:gd name="connsiteY14" fmla="*/ 1449 h 116611"/>
                  <a:gd name="connsiteX15" fmla="*/ 59679 w 119385"/>
                  <a:gd name="connsiteY15" fmla="*/ 34806 h 116611"/>
                  <a:gd name="connsiteX16" fmla="*/ 80240 w 119385"/>
                  <a:gd name="connsiteY16" fmla="*/ 1463 h 116611"/>
                  <a:gd name="connsiteX17" fmla="*/ 83165 w 119385"/>
                  <a:gd name="connsiteY17" fmla="*/ 0 h 116611"/>
                  <a:gd name="connsiteX18" fmla="*/ 115333 w 119385"/>
                  <a:gd name="connsiteY18" fmla="*/ 0 h 116611"/>
                  <a:gd name="connsiteX19" fmla="*/ 117834 w 119385"/>
                  <a:gd name="connsiteY19" fmla="*/ 4334 h 116611"/>
                  <a:gd name="connsiteX20" fmla="*/ 82495 w 119385"/>
                  <a:gd name="connsiteY20" fmla="*/ 58306 h 116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19385" h="116611">
                    <a:moveTo>
                      <a:pt x="82523" y="58306"/>
                    </a:moveTo>
                    <a:lnTo>
                      <a:pt x="118887" y="112265"/>
                    </a:lnTo>
                    <a:cubicBezTo>
                      <a:pt x="120199" y="114124"/>
                      <a:pt x="118764" y="116612"/>
                      <a:pt x="116385" y="116612"/>
                    </a:cubicBezTo>
                    <a:lnTo>
                      <a:pt x="85831" y="116612"/>
                    </a:lnTo>
                    <a:cubicBezTo>
                      <a:pt x="83794" y="116612"/>
                      <a:pt x="81880" y="115600"/>
                      <a:pt x="80718" y="113919"/>
                    </a:cubicBezTo>
                    <a:lnTo>
                      <a:pt x="59693" y="81751"/>
                    </a:lnTo>
                    <a:lnTo>
                      <a:pt x="38667" y="113919"/>
                    </a:lnTo>
                    <a:cubicBezTo>
                      <a:pt x="37505" y="115600"/>
                      <a:pt x="35605" y="116612"/>
                      <a:pt x="33554" y="116612"/>
                    </a:cubicBezTo>
                    <a:lnTo>
                      <a:pt x="3000" y="116612"/>
                    </a:lnTo>
                    <a:cubicBezTo>
                      <a:pt x="621" y="116612"/>
                      <a:pt x="-814" y="114138"/>
                      <a:pt x="498" y="112265"/>
                    </a:cubicBezTo>
                    <a:lnTo>
                      <a:pt x="36753" y="58306"/>
                    </a:lnTo>
                    <a:lnTo>
                      <a:pt x="498" y="4347"/>
                    </a:lnTo>
                    <a:cubicBezTo>
                      <a:pt x="-814" y="2488"/>
                      <a:pt x="621" y="0"/>
                      <a:pt x="3000" y="0"/>
                    </a:cubicBezTo>
                    <a:lnTo>
                      <a:pt x="34853" y="0"/>
                    </a:lnTo>
                    <a:cubicBezTo>
                      <a:pt x="36042" y="0"/>
                      <a:pt x="37149" y="547"/>
                      <a:pt x="37778" y="1449"/>
                    </a:cubicBezTo>
                    <a:lnTo>
                      <a:pt x="59679" y="34806"/>
                    </a:lnTo>
                    <a:lnTo>
                      <a:pt x="80240" y="1463"/>
                    </a:lnTo>
                    <a:cubicBezTo>
                      <a:pt x="80855" y="561"/>
                      <a:pt x="81976" y="0"/>
                      <a:pt x="83165" y="0"/>
                    </a:cubicBezTo>
                    <a:lnTo>
                      <a:pt x="115333" y="0"/>
                    </a:lnTo>
                    <a:cubicBezTo>
                      <a:pt x="117711" y="0"/>
                      <a:pt x="119133" y="2474"/>
                      <a:pt x="117834" y="4334"/>
                    </a:cubicBezTo>
                    <a:lnTo>
                      <a:pt x="82495" y="58306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" name="Freeform: Shape 14">
                <a:extLst>
                  <a:ext uri="{FF2B5EF4-FFF2-40B4-BE49-F238E27FC236}">
                    <a16:creationId xmlns:a16="http://schemas.microsoft.com/office/drawing/2014/main" id="{C7D5FF76-D1C5-0E6D-DE8C-2AC81F1B5F70}"/>
                  </a:ext>
                </a:extLst>
              </p:cNvPr>
              <p:cNvSpPr/>
              <p:nvPr/>
            </p:nvSpPr>
            <p:spPr>
              <a:xfrm>
                <a:off x="11284928" y="6472473"/>
                <a:ext cx="78825" cy="163762"/>
              </a:xfrm>
              <a:custGeom>
                <a:avLst/>
                <a:gdLst>
                  <a:gd name="connsiteX0" fmla="*/ 75722 w 78825"/>
                  <a:gd name="connsiteY0" fmla="*/ 14 h 163762"/>
                  <a:gd name="connsiteX1" fmla="*/ 50377 w 78825"/>
                  <a:gd name="connsiteY1" fmla="*/ 14 h 163762"/>
                  <a:gd name="connsiteX2" fmla="*/ 43801 w 78825"/>
                  <a:gd name="connsiteY2" fmla="*/ 2734 h 163762"/>
                  <a:gd name="connsiteX3" fmla="*/ 19987 w 78825"/>
                  <a:gd name="connsiteY3" fmla="*/ 26549 h 163762"/>
                  <a:gd name="connsiteX4" fmla="*/ 17266 w 78825"/>
                  <a:gd name="connsiteY4" fmla="*/ 33124 h 163762"/>
                  <a:gd name="connsiteX5" fmla="*/ 17266 w 78825"/>
                  <a:gd name="connsiteY5" fmla="*/ 51867 h 163762"/>
                  <a:gd name="connsiteX6" fmla="*/ 3049 w 78825"/>
                  <a:gd name="connsiteY6" fmla="*/ 51867 h 163762"/>
                  <a:gd name="connsiteX7" fmla="*/ 0 w 78825"/>
                  <a:gd name="connsiteY7" fmla="*/ 54916 h 163762"/>
                  <a:gd name="connsiteX8" fmla="*/ 0 w 78825"/>
                  <a:gd name="connsiteY8" fmla="*/ 75955 h 163762"/>
                  <a:gd name="connsiteX9" fmla="*/ 3049 w 78825"/>
                  <a:gd name="connsiteY9" fmla="*/ 79004 h 163762"/>
                  <a:gd name="connsiteX10" fmla="*/ 17266 w 78825"/>
                  <a:gd name="connsiteY10" fmla="*/ 79004 h 163762"/>
                  <a:gd name="connsiteX11" fmla="*/ 17266 w 78825"/>
                  <a:gd name="connsiteY11" fmla="*/ 160659 h 163762"/>
                  <a:gd name="connsiteX12" fmla="*/ 20369 w 78825"/>
                  <a:gd name="connsiteY12" fmla="*/ 163763 h 163762"/>
                  <a:gd name="connsiteX13" fmla="*/ 47109 w 78825"/>
                  <a:gd name="connsiteY13" fmla="*/ 163763 h 163762"/>
                  <a:gd name="connsiteX14" fmla="*/ 50213 w 78825"/>
                  <a:gd name="connsiteY14" fmla="*/ 160659 h 163762"/>
                  <a:gd name="connsiteX15" fmla="*/ 50213 w 78825"/>
                  <a:gd name="connsiteY15" fmla="*/ 78990 h 163762"/>
                  <a:gd name="connsiteX16" fmla="*/ 71443 w 78825"/>
                  <a:gd name="connsiteY16" fmla="*/ 78990 h 163762"/>
                  <a:gd name="connsiteX17" fmla="*/ 74492 w 78825"/>
                  <a:gd name="connsiteY17" fmla="*/ 75941 h 163762"/>
                  <a:gd name="connsiteX18" fmla="*/ 74492 w 78825"/>
                  <a:gd name="connsiteY18" fmla="*/ 54902 h 163762"/>
                  <a:gd name="connsiteX19" fmla="*/ 71443 w 78825"/>
                  <a:gd name="connsiteY19" fmla="*/ 51853 h 163762"/>
                  <a:gd name="connsiteX20" fmla="*/ 50213 w 78825"/>
                  <a:gd name="connsiteY20" fmla="*/ 51853 h 163762"/>
                  <a:gd name="connsiteX21" fmla="*/ 50213 w 78825"/>
                  <a:gd name="connsiteY21" fmla="*/ 38565 h 163762"/>
                  <a:gd name="connsiteX22" fmla="*/ 59509 w 78825"/>
                  <a:gd name="connsiteY22" fmla="*/ 29269 h 163762"/>
                  <a:gd name="connsiteX23" fmla="*/ 75722 w 78825"/>
                  <a:gd name="connsiteY23" fmla="*/ 29269 h 163762"/>
                  <a:gd name="connsiteX24" fmla="*/ 78826 w 78825"/>
                  <a:gd name="connsiteY24" fmla="*/ 26166 h 163762"/>
                  <a:gd name="connsiteX25" fmla="*/ 78826 w 78825"/>
                  <a:gd name="connsiteY25" fmla="*/ 3103 h 163762"/>
                  <a:gd name="connsiteX26" fmla="*/ 75722 w 78825"/>
                  <a:gd name="connsiteY26" fmla="*/ 0 h 163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78825" h="163762">
                    <a:moveTo>
                      <a:pt x="75722" y="14"/>
                    </a:moveTo>
                    <a:lnTo>
                      <a:pt x="50377" y="14"/>
                    </a:lnTo>
                    <a:cubicBezTo>
                      <a:pt x="47916" y="14"/>
                      <a:pt x="45551" y="998"/>
                      <a:pt x="43801" y="2734"/>
                    </a:cubicBezTo>
                    <a:lnTo>
                      <a:pt x="19987" y="26549"/>
                    </a:lnTo>
                    <a:cubicBezTo>
                      <a:pt x="18237" y="28299"/>
                      <a:pt x="17266" y="30664"/>
                      <a:pt x="17266" y="33124"/>
                    </a:cubicBezTo>
                    <a:lnTo>
                      <a:pt x="17266" y="51867"/>
                    </a:lnTo>
                    <a:lnTo>
                      <a:pt x="3049" y="51867"/>
                    </a:lnTo>
                    <a:cubicBezTo>
                      <a:pt x="1367" y="51867"/>
                      <a:pt x="0" y="53234"/>
                      <a:pt x="0" y="54916"/>
                    </a:cubicBezTo>
                    <a:lnTo>
                      <a:pt x="0" y="75955"/>
                    </a:lnTo>
                    <a:cubicBezTo>
                      <a:pt x="0" y="77636"/>
                      <a:pt x="1367" y="79004"/>
                      <a:pt x="3049" y="79004"/>
                    </a:cubicBezTo>
                    <a:lnTo>
                      <a:pt x="17266" y="79004"/>
                    </a:lnTo>
                    <a:lnTo>
                      <a:pt x="17266" y="160659"/>
                    </a:lnTo>
                    <a:cubicBezTo>
                      <a:pt x="17266" y="162368"/>
                      <a:pt x="18661" y="163763"/>
                      <a:pt x="20369" y="163763"/>
                    </a:cubicBezTo>
                    <a:lnTo>
                      <a:pt x="47109" y="163763"/>
                    </a:lnTo>
                    <a:cubicBezTo>
                      <a:pt x="48818" y="163763"/>
                      <a:pt x="50213" y="162368"/>
                      <a:pt x="50213" y="160659"/>
                    </a:cubicBezTo>
                    <a:lnTo>
                      <a:pt x="50213" y="78990"/>
                    </a:lnTo>
                    <a:lnTo>
                      <a:pt x="71443" y="78990"/>
                    </a:lnTo>
                    <a:cubicBezTo>
                      <a:pt x="73125" y="78990"/>
                      <a:pt x="74492" y="77623"/>
                      <a:pt x="74492" y="75941"/>
                    </a:cubicBezTo>
                    <a:lnTo>
                      <a:pt x="74492" y="54902"/>
                    </a:lnTo>
                    <a:cubicBezTo>
                      <a:pt x="74492" y="53220"/>
                      <a:pt x="73125" y="51853"/>
                      <a:pt x="71443" y="51853"/>
                    </a:cubicBezTo>
                    <a:lnTo>
                      <a:pt x="50213" y="51853"/>
                    </a:lnTo>
                    <a:lnTo>
                      <a:pt x="50213" y="38565"/>
                    </a:lnTo>
                    <a:cubicBezTo>
                      <a:pt x="50213" y="33425"/>
                      <a:pt x="54382" y="29269"/>
                      <a:pt x="59509" y="29269"/>
                    </a:cubicBezTo>
                    <a:lnTo>
                      <a:pt x="75722" y="29269"/>
                    </a:lnTo>
                    <a:cubicBezTo>
                      <a:pt x="77431" y="29269"/>
                      <a:pt x="78826" y="27875"/>
                      <a:pt x="78826" y="26166"/>
                    </a:cubicBezTo>
                    <a:lnTo>
                      <a:pt x="78826" y="3103"/>
                    </a:lnTo>
                    <a:cubicBezTo>
                      <a:pt x="78826" y="1394"/>
                      <a:pt x="77431" y="0"/>
                      <a:pt x="75722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" name="Freeform: Shape 15">
                <a:extLst>
                  <a:ext uri="{FF2B5EF4-FFF2-40B4-BE49-F238E27FC236}">
                    <a16:creationId xmlns:a16="http://schemas.microsoft.com/office/drawing/2014/main" id="{B39F8FD6-451F-C64E-DC49-2DA283ECAC8B}"/>
                  </a:ext>
                </a:extLst>
              </p:cNvPr>
              <p:cNvSpPr/>
              <p:nvPr/>
            </p:nvSpPr>
            <p:spPr>
              <a:xfrm>
                <a:off x="11896791" y="6612367"/>
                <a:ext cx="25659" cy="25660"/>
              </a:xfrm>
              <a:custGeom>
                <a:avLst/>
                <a:gdLst>
                  <a:gd name="connsiteX0" fmla="*/ 25660 w 25659"/>
                  <a:gd name="connsiteY0" fmla="*/ 12810 h 25660"/>
                  <a:gd name="connsiteX1" fmla="*/ 12782 w 25659"/>
                  <a:gd name="connsiteY1" fmla="*/ 25660 h 25660"/>
                  <a:gd name="connsiteX2" fmla="*/ 0 w 25659"/>
                  <a:gd name="connsiteY2" fmla="*/ 12810 h 25660"/>
                  <a:gd name="connsiteX3" fmla="*/ 12823 w 25659"/>
                  <a:gd name="connsiteY3" fmla="*/ 0 h 25660"/>
                  <a:gd name="connsiteX4" fmla="*/ 25646 w 25659"/>
                  <a:gd name="connsiteY4" fmla="*/ 12810 h 25660"/>
                  <a:gd name="connsiteX5" fmla="*/ 23691 w 25659"/>
                  <a:gd name="connsiteY5" fmla="*/ 12864 h 25660"/>
                  <a:gd name="connsiteX6" fmla="*/ 12837 w 25659"/>
                  <a:gd name="connsiteY6" fmla="*/ 1832 h 25660"/>
                  <a:gd name="connsiteX7" fmla="*/ 1982 w 25659"/>
                  <a:gd name="connsiteY7" fmla="*/ 12851 h 25660"/>
                  <a:gd name="connsiteX8" fmla="*/ 12782 w 25659"/>
                  <a:gd name="connsiteY8" fmla="*/ 23856 h 25660"/>
                  <a:gd name="connsiteX9" fmla="*/ 23691 w 25659"/>
                  <a:gd name="connsiteY9" fmla="*/ 12864 h 25660"/>
                  <a:gd name="connsiteX10" fmla="*/ 15585 w 25659"/>
                  <a:gd name="connsiteY10" fmla="*/ 14888 h 25660"/>
                  <a:gd name="connsiteX11" fmla="*/ 18811 w 25659"/>
                  <a:gd name="connsiteY11" fmla="*/ 19905 h 25660"/>
                  <a:gd name="connsiteX12" fmla="*/ 16678 w 25659"/>
                  <a:gd name="connsiteY12" fmla="*/ 19905 h 25660"/>
                  <a:gd name="connsiteX13" fmla="*/ 13097 w 25659"/>
                  <a:gd name="connsiteY13" fmla="*/ 14218 h 25660"/>
                  <a:gd name="connsiteX14" fmla="*/ 9829 w 25659"/>
                  <a:gd name="connsiteY14" fmla="*/ 14218 h 25660"/>
                  <a:gd name="connsiteX15" fmla="*/ 9829 w 25659"/>
                  <a:gd name="connsiteY15" fmla="*/ 19905 h 25660"/>
                  <a:gd name="connsiteX16" fmla="*/ 8038 w 25659"/>
                  <a:gd name="connsiteY16" fmla="*/ 19905 h 25660"/>
                  <a:gd name="connsiteX17" fmla="*/ 8038 w 25659"/>
                  <a:gd name="connsiteY17" fmla="*/ 5523 h 25660"/>
                  <a:gd name="connsiteX18" fmla="*/ 13616 w 25659"/>
                  <a:gd name="connsiteY18" fmla="*/ 5523 h 25660"/>
                  <a:gd name="connsiteX19" fmla="*/ 18155 w 25659"/>
                  <a:gd name="connsiteY19" fmla="*/ 9761 h 25660"/>
                  <a:gd name="connsiteX20" fmla="*/ 14887 w 25659"/>
                  <a:gd name="connsiteY20" fmla="*/ 13917 h 25660"/>
                  <a:gd name="connsiteX21" fmla="*/ 15585 w 25659"/>
                  <a:gd name="connsiteY21" fmla="*/ 14901 h 25660"/>
                  <a:gd name="connsiteX22" fmla="*/ 13015 w 25659"/>
                  <a:gd name="connsiteY22" fmla="*/ 12522 h 25660"/>
                  <a:gd name="connsiteX23" fmla="*/ 16282 w 25659"/>
                  <a:gd name="connsiteY23" fmla="*/ 9870 h 25660"/>
                  <a:gd name="connsiteX24" fmla="*/ 13657 w 25659"/>
                  <a:gd name="connsiteY24" fmla="*/ 7191 h 25660"/>
                  <a:gd name="connsiteX25" fmla="*/ 9816 w 25659"/>
                  <a:gd name="connsiteY25" fmla="*/ 7191 h 25660"/>
                  <a:gd name="connsiteX26" fmla="*/ 9816 w 25659"/>
                  <a:gd name="connsiteY26" fmla="*/ 12509 h 25660"/>
                  <a:gd name="connsiteX27" fmla="*/ 13015 w 25659"/>
                  <a:gd name="connsiteY27" fmla="*/ 12509 h 25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25659" h="25660">
                    <a:moveTo>
                      <a:pt x="25660" y="12810"/>
                    </a:moveTo>
                    <a:cubicBezTo>
                      <a:pt x="25660" y="19946"/>
                      <a:pt x="19946" y="25660"/>
                      <a:pt x="12782" y="25660"/>
                    </a:cubicBezTo>
                    <a:cubicBezTo>
                      <a:pt x="5619" y="25660"/>
                      <a:pt x="0" y="19891"/>
                      <a:pt x="0" y="12810"/>
                    </a:cubicBezTo>
                    <a:cubicBezTo>
                      <a:pt x="0" y="5728"/>
                      <a:pt x="5714" y="0"/>
                      <a:pt x="12823" y="0"/>
                    </a:cubicBezTo>
                    <a:cubicBezTo>
                      <a:pt x="19932" y="0"/>
                      <a:pt x="25646" y="5687"/>
                      <a:pt x="25646" y="12810"/>
                    </a:cubicBezTo>
                    <a:close/>
                    <a:moveTo>
                      <a:pt x="23691" y="12864"/>
                    </a:moveTo>
                    <a:cubicBezTo>
                      <a:pt x="23691" y="6712"/>
                      <a:pt x="18838" y="1832"/>
                      <a:pt x="12837" y="1832"/>
                    </a:cubicBezTo>
                    <a:cubicBezTo>
                      <a:pt x="6835" y="1832"/>
                      <a:pt x="1982" y="6658"/>
                      <a:pt x="1982" y="12851"/>
                    </a:cubicBezTo>
                    <a:cubicBezTo>
                      <a:pt x="1982" y="19043"/>
                      <a:pt x="6890" y="23856"/>
                      <a:pt x="12782" y="23856"/>
                    </a:cubicBezTo>
                    <a:cubicBezTo>
                      <a:pt x="18674" y="23856"/>
                      <a:pt x="23691" y="19002"/>
                      <a:pt x="23691" y="12864"/>
                    </a:cubicBezTo>
                    <a:close/>
                    <a:moveTo>
                      <a:pt x="15585" y="14888"/>
                    </a:moveTo>
                    <a:lnTo>
                      <a:pt x="18811" y="19905"/>
                    </a:lnTo>
                    <a:lnTo>
                      <a:pt x="16678" y="19905"/>
                    </a:lnTo>
                    <a:lnTo>
                      <a:pt x="13097" y="14218"/>
                    </a:lnTo>
                    <a:lnTo>
                      <a:pt x="9829" y="14218"/>
                    </a:lnTo>
                    <a:lnTo>
                      <a:pt x="9829" y="19905"/>
                    </a:lnTo>
                    <a:lnTo>
                      <a:pt x="8038" y="19905"/>
                    </a:lnTo>
                    <a:lnTo>
                      <a:pt x="8038" y="5523"/>
                    </a:lnTo>
                    <a:lnTo>
                      <a:pt x="13616" y="5523"/>
                    </a:lnTo>
                    <a:cubicBezTo>
                      <a:pt x="16364" y="5523"/>
                      <a:pt x="18155" y="6999"/>
                      <a:pt x="18155" y="9761"/>
                    </a:cubicBezTo>
                    <a:cubicBezTo>
                      <a:pt x="18155" y="11989"/>
                      <a:pt x="16801" y="13370"/>
                      <a:pt x="14887" y="13917"/>
                    </a:cubicBezTo>
                    <a:cubicBezTo>
                      <a:pt x="15147" y="14204"/>
                      <a:pt x="15407" y="14559"/>
                      <a:pt x="15585" y="14901"/>
                    </a:cubicBezTo>
                    <a:close/>
                    <a:moveTo>
                      <a:pt x="13015" y="12522"/>
                    </a:moveTo>
                    <a:cubicBezTo>
                      <a:pt x="15038" y="12522"/>
                      <a:pt x="16282" y="11565"/>
                      <a:pt x="16282" y="9870"/>
                    </a:cubicBezTo>
                    <a:cubicBezTo>
                      <a:pt x="16282" y="8175"/>
                      <a:pt x="15421" y="7191"/>
                      <a:pt x="13657" y="7191"/>
                    </a:cubicBezTo>
                    <a:lnTo>
                      <a:pt x="9816" y="7191"/>
                    </a:lnTo>
                    <a:lnTo>
                      <a:pt x="9816" y="12509"/>
                    </a:lnTo>
                    <a:lnTo>
                      <a:pt x="13015" y="12509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" name="Freeform: Shape 16">
                <a:extLst>
                  <a:ext uri="{FF2B5EF4-FFF2-40B4-BE49-F238E27FC236}">
                    <a16:creationId xmlns:a16="http://schemas.microsoft.com/office/drawing/2014/main" id="{3003FFDB-E34D-41DA-F1EE-60B6B65A3D20}"/>
                  </a:ext>
                </a:extLst>
              </p:cNvPr>
              <p:cNvSpPr/>
              <p:nvPr/>
            </p:nvSpPr>
            <p:spPr>
              <a:xfrm>
                <a:off x="11620956" y="6472487"/>
                <a:ext cx="32932" cy="163721"/>
              </a:xfrm>
              <a:custGeom>
                <a:avLst/>
                <a:gdLst>
                  <a:gd name="connsiteX0" fmla="*/ 29830 w 32932"/>
                  <a:gd name="connsiteY0" fmla="*/ 0 h 163721"/>
                  <a:gd name="connsiteX1" fmla="*/ 32933 w 32932"/>
                  <a:gd name="connsiteY1" fmla="*/ 3103 h 163721"/>
                  <a:gd name="connsiteX2" fmla="*/ 32933 w 32932"/>
                  <a:gd name="connsiteY2" fmla="*/ 160618 h 163721"/>
                  <a:gd name="connsiteX3" fmla="*/ 29830 w 32932"/>
                  <a:gd name="connsiteY3" fmla="*/ 163722 h 163721"/>
                  <a:gd name="connsiteX4" fmla="*/ 3103 w 32932"/>
                  <a:gd name="connsiteY4" fmla="*/ 163722 h 163721"/>
                  <a:gd name="connsiteX5" fmla="*/ 0 w 32932"/>
                  <a:gd name="connsiteY5" fmla="*/ 160618 h 163721"/>
                  <a:gd name="connsiteX6" fmla="*/ 0 w 32932"/>
                  <a:gd name="connsiteY6" fmla="*/ 3103 h 163721"/>
                  <a:gd name="connsiteX7" fmla="*/ 3103 w 32932"/>
                  <a:gd name="connsiteY7" fmla="*/ 0 h 163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2932" h="163721">
                    <a:moveTo>
                      <a:pt x="29830" y="0"/>
                    </a:moveTo>
                    <a:cubicBezTo>
                      <a:pt x="31544" y="0"/>
                      <a:pt x="32933" y="1389"/>
                      <a:pt x="32933" y="3103"/>
                    </a:cubicBezTo>
                    <a:lnTo>
                      <a:pt x="32933" y="160618"/>
                    </a:lnTo>
                    <a:cubicBezTo>
                      <a:pt x="32933" y="162332"/>
                      <a:pt x="31543" y="163722"/>
                      <a:pt x="29830" y="163722"/>
                    </a:cubicBezTo>
                    <a:lnTo>
                      <a:pt x="3103" y="163722"/>
                    </a:lnTo>
                    <a:cubicBezTo>
                      <a:pt x="1389" y="163722"/>
                      <a:pt x="0" y="162332"/>
                      <a:pt x="0" y="160618"/>
                    </a:cubicBezTo>
                    <a:lnTo>
                      <a:pt x="0" y="3103"/>
                    </a:lnTo>
                    <a:cubicBezTo>
                      <a:pt x="0" y="1389"/>
                      <a:pt x="1389" y="0"/>
                      <a:pt x="3103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" name="Freeform: Shape 17">
                <a:extLst>
                  <a:ext uri="{FF2B5EF4-FFF2-40B4-BE49-F238E27FC236}">
                    <a16:creationId xmlns:a16="http://schemas.microsoft.com/office/drawing/2014/main" id="{D9ECA4CC-E3D8-FCB8-151F-8EE3E5269EE5}"/>
                  </a:ext>
                </a:extLst>
              </p:cNvPr>
              <p:cNvSpPr/>
              <p:nvPr/>
            </p:nvSpPr>
            <p:spPr>
              <a:xfrm>
                <a:off x="11488486" y="6472473"/>
                <a:ext cx="123638" cy="166086"/>
              </a:xfrm>
              <a:custGeom>
                <a:avLst/>
                <a:gdLst>
                  <a:gd name="connsiteX0" fmla="*/ 68737 w 123638"/>
                  <a:gd name="connsiteY0" fmla="*/ 44663 h 166086"/>
                  <a:gd name="connsiteX1" fmla="*/ 32947 w 123638"/>
                  <a:gd name="connsiteY1" fmla="*/ 62052 h 166086"/>
                  <a:gd name="connsiteX2" fmla="*/ 32947 w 123638"/>
                  <a:gd name="connsiteY2" fmla="*/ 3103 h 166086"/>
                  <a:gd name="connsiteX3" fmla="*/ 29843 w 123638"/>
                  <a:gd name="connsiteY3" fmla="*/ 0 h 166086"/>
                  <a:gd name="connsiteX4" fmla="*/ 3103 w 123638"/>
                  <a:gd name="connsiteY4" fmla="*/ 0 h 166086"/>
                  <a:gd name="connsiteX5" fmla="*/ 0 w 123638"/>
                  <a:gd name="connsiteY5" fmla="*/ 3103 h 166086"/>
                  <a:gd name="connsiteX6" fmla="*/ 0 w 123638"/>
                  <a:gd name="connsiteY6" fmla="*/ 160632 h 166086"/>
                  <a:gd name="connsiteX7" fmla="*/ 3103 w 123638"/>
                  <a:gd name="connsiteY7" fmla="*/ 163735 h 166086"/>
                  <a:gd name="connsiteX8" fmla="*/ 29843 w 123638"/>
                  <a:gd name="connsiteY8" fmla="*/ 163735 h 166086"/>
                  <a:gd name="connsiteX9" fmla="*/ 32947 w 123638"/>
                  <a:gd name="connsiteY9" fmla="*/ 160632 h 166086"/>
                  <a:gd name="connsiteX10" fmla="*/ 32947 w 123638"/>
                  <a:gd name="connsiteY10" fmla="*/ 149025 h 166086"/>
                  <a:gd name="connsiteX11" fmla="*/ 68983 w 123638"/>
                  <a:gd name="connsiteY11" fmla="*/ 166087 h 166086"/>
                  <a:gd name="connsiteX12" fmla="*/ 123638 w 123638"/>
                  <a:gd name="connsiteY12" fmla="*/ 105539 h 166086"/>
                  <a:gd name="connsiteX13" fmla="*/ 68750 w 123638"/>
                  <a:gd name="connsiteY13" fmla="*/ 44663 h 166086"/>
                  <a:gd name="connsiteX14" fmla="*/ 62188 w 123638"/>
                  <a:gd name="connsiteY14" fmla="*/ 135163 h 166086"/>
                  <a:gd name="connsiteX15" fmla="*/ 32947 w 123638"/>
                  <a:gd name="connsiteY15" fmla="*/ 105552 h 166086"/>
                  <a:gd name="connsiteX16" fmla="*/ 62188 w 123638"/>
                  <a:gd name="connsiteY16" fmla="*/ 76174 h 166086"/>
                  <a:gd name="connsiteX17" fmla="*/ 90965 w 123638"/>
                  <a:gd name="connsiteY17" fmla="*/ 105552 h 166086"/>
                  <a:gd name="connsiteX18" fmla="*/ 62188 w 123638"/>
                  <a:gd name="connsiteY18" fmla="*/ 135163 h 166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23638" h="166086">
                    <a:moveTo>
                      <a:pt x="68737" y="44663"/>
                    </a:moveTo>
                    <a:cubicBezTo>
                      <a:pt x="53535" y="44663"/>
                      <a:pt x="40889" y="51252"/>
                      <a:pt x="32947" y="62052"/>
                    </a:cubicBezTo>
                    <a:lnTo>
                      <a:pt x="32947" y="3103"/>
                    </a:lnTo>
                    <a:cubicBezTo>
                      <a:pt x="32947" y="1394"/>
                      <a:pt x="31552" y="0"/>
                      <a:pt x="29843" y="0"/>
                    </a:cubicBezTo>
                    <a:lnTo>
                      <a:pt x="3103" y="0"/>
                    </a:lnTo>
                    <a:cubicBezTo>
                      <a:pt x="1394" y="0"/>
                      <a:pt x="0" y="1394"/>
                      <a:pt x="0" y="3103"/>
                    </a:cubicBezTo>
                    <a:lnTo>
                      <a:pt x="0" y="160632"/>
                    </a:lnTo>
                    <a:cubicBezTo>
                      <a:pt x="0" y="162341"/>
                      <a:pt x="1394" y="163735"/>
                      <a:pt x="3103" y="163735"/>
                    </a:cubicBezTo>
                    <a:lnTo>
                      <a:pt x="29843" y="163735"/>
                    </a:lnTo>
                    <a:cubicBezTo>
                      <a:pt x="31552" y="163735"/>
                      <a:pt x="32947" y="162341"/>
                      <a:pt x="32947" y="160632"/>
                    </a:cubicBezTo>
                    <a:lnTo>
                      <a:pt x="32947" y="149025"/>
                    </a:lnTo>
                    <a:cubicBezTo>
                      <a:pt x="40903" y="159839"/>
                      <a:pt x="53535" y="166087"/>
                      <a:pt x="68983" y="166087"/>
                    </a:cubicBezTo>
                    <a:cubicBezTo>
                      <a:pt x="101505" y="166087"/>
                      <a:pt x="123638" y="139852"/>
                      <a:pt x="123638" y="105539"/>
                    </a:cubicBezTo>
                    <a:cubicBezTo>
                      <a:pt x="123638" y="71225"/>
                      <a:pt x="101505" y="44663"/>
                      <a:pt x="68750" y="44663"/>
                    </a:cubicBezTo>
                    <a:close/>
                    <a:moveTo>
                      <a:pt x="62188" y="135163"/>
                    </a:moveTo>
                    <a:cubicBezTo>
                      <a:pt x="45346" y="135163"/>
                      <a:pt x="32947" y="121533"/>
                      <a:pt x="32947" y="105552"/>
                    </a:cubicBezTo>
                    <a:cubicBezTo>
                      <a:pt x="32947" y="89571"/>
                      <a:pt x="45346" y="76174"/>
                      <a:pt x="62188" y="76174"/>
                    </a:cubicBezTo>
                    <a:cubicBezTo>
                      <a:pt x="79031" y="76174"/>
                      <a:pt x="90965" y="89571"/>
                      <a:pt x="90965" y="105552"/>
                    </a:cubicBezTo>
                    <a:cubicBezTo>
                      <a:pt x="90965" y="121533"/>
                      <a:pt x="78798" y="135163"/>
                      <a:pt x="62188" y="13516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" name="Freeform: Shape 18">
                <a:extLst>
                  <a:ext uri="{FF2B5EF4-FFF2-40B4-BE49-F238E27FC236}">
                    <a16:creationId xmlns:a16="http://schemas.microsoft.com/office/drawing/2014/main" id="{5382CB98-5474-292E-F762-4612E2FFF109}"/>
                  </a:ext>
                </a:extLst>
              </p:cNvPr>
              <p:cNvSpPr/>
              <p:nvPr/>
            </p:nvSpPr>
            <p:spPr>
              <a:xfrm>
                <a:off x="11359421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" name="Freeform: Shape 19">
                <a:extLst>
                  <a:ext uri="{FF2B5EF4-FFF2-40B4-BE49-F238E27FC236}">
                    <a16:creationId xmlns:a16="http://schemas.microsoft.com/office/drawing/2014/main" id="{883122FB-831B-DE76-E07A-87DAFE6225D0}"/>
                  </a:ext>
                </a:extLst>
              </p:cNvPr>
              <p:cNvSpPr/>
              <p:nvPr/>
            </p:nvSpPr>
            <p:spPr>
              <a:xfrm>
                <a:off x="11662542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" name="Freeform: Shape 20">
                <a:extLst>
                  <a:ext uri="{FF2B5EF4-FFF2-40B4-BE49-F238E27FC236}">
                    <a16:creationId xmlns:a16="http://schemas.microsoft.com/office/drawing/2014/main" id="{5BE8D63C-78B7-6A2B-1ACE-B1DB46522C9A}"/>
                  </a:ext>
                </a:extLst>
              </p:cNvPr>
              <p:cNvSpPr/>
              <p:nvPr/>
            </p:nvSpPr>
            <p:spPr>
              <a:xfrm>
                <a:off x="11122821" y="6519528"/>
                <a:ext cx="32932" cy="116680"/>
              </a:xfrm>
              <a:custGeom>
                <a:avLst/>
                <a:gdLst>
                  <a:gd name="connsiteX0" fmla="*/ 29843 w 32932"/>
                  <a:gd name="connsiteY0" fmla="*/ 116680 h 116680"/>
                  <a:gd name="connsiteX1" fmla="*/ 3103 w 32932"/>
                  <a:gd name="connsiteY1" fmla="*/ 116680 h 116680"/>
                  <a:gd name="connsiteX2" fmla="*/ 0 w 32932"/>
                  <a:gd name="connsiteY2" fmla="*/ 113577 h 116680"/>
                  <a:gd name="connsiteX3" fmla="*/ 0 w 32932"/>
                  <a:gd name="connsiteY3" fmla="*/ 30554 h 116680"/>
                  <a:gd name="connsiteX4" fmla="*/ 1859 w 32932"/>
                  <a:gd name="connsiteY4" fmla="*/ 26125 h 116680"/>
                  <a:gd name="connsiteX5" fmla="*/ 27670 w 32932"/>
                  <a:gd name="connsiteY5" fmla="*/ 888 h 116680"/>
                  <a:gd name="connsiteX6" fmla="*/ 32933 w 32932"/>
                  <a:gd name="connsiteY6" fmla="*/ 3103 h 116680"/>
                  <a:gd name="connsiteX7" fmla="*/ 32933 w 32932"/>
                  <a:gd name="connsiteY7" fmla="*/ 113577 h 116680"/>
                  <a:gd name="connsiteX8" fmla="*/ 29830 w 32932"/>
                  <a:gd name="connsiteY8" fmla="*/ 116680 h 116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932" h="116680">
                    <a:moveTo>
                      <a:pt x="29843" y="116680"/>
                    </a:moveTo>
                    <a:lnTo>
                      <a:pt x="3103" y="116680"/>
                    </a:lnTo>
                    <a:cubicBezTo>
                      <a:pt x="1394" y="116680"/>
                      <a:pt x="0" y="115286"/>
                      <a:pt x="0" y="113577"/>
                    </a:cubicBezTo>
                    <a:lnTo>
                      <a:pt x="0" y="30554"/>
                    </a:lnTo>
                    <a:cubicBezTo>
                      <a:pt x="0" y="28886"/>
                      <a:pt x="670" y="27287"/>
                      <a:pt x="1859" y="26125"/>
                    </a:cubicBezTo>
                    <a:lnTo>
                      <a:pt x="27670" y="888"/>
                    </a:lnTo>
                    <a:cubicBezTo>
                      <a:pt x="29638" y="-1026"/>
                      <a:pt x="32933" y="355"/>
                      <a:pt x="32933" y="3103"/>
                    </a:cubicBezTo>
                    <a:lnTo>
                      <a:pt x="32933" y="113577"/>
                    </a:lnTo>
                    <a:cubicBezTo>
                      <a:pt x="32933" y="115286"/>
                      <a:pt x="31538" y="116680"/>
                      <a:pt x="29830" y="11668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" name="Freeform: Shape 21">
                <a:extLst>
                  <a:ext uri="{FF2B5EF4-FFF2-40B4-BE49-F238E27FC236}">
                    <a16:creationId xmlns:a16="http://schemas.microsoft.com/office/drawing/2014/main" id="{17F6FBDB-CFE7-E6BC-9DB0-44EFE5777A6F}"/>
                  </a:ext>
                </a:extLst>
              </p:cNvPr>
              <p:cNvSpPr/>
              <p:nvPr/>
            </p:nvSpPr>
            <p:spPr>
              <a:xfrm>
                <a:off x="11173074" y="6517105"/>
                <a:ext cx="107493" cy="119116"/>
              </a:xfrm>
              <a:custGeom>
                <a:avLst/>
                <a:gdLst>
                  <a:gd name="connsiteX0" fmla="*/ 107480 w 107493"/>
                  <a:gd name="connsiteY0" fmla="*/ 41877 h 119116"/>
                  <a:gd name="connsiteX1" fmla="*/ 65237 w 107493"/>
                  <a:gd name="connsiteY1" fmla="*/ 3 h 119116"/>
                  <a:gd name="connsiteX2" fmla="*/ 32947 w 107493"/>
                  <a:gd name="connsiteY2" fmla="*/ 17474 h 119116"/>
                  <a:gd name="connsiteX3" fmla="*/ 32947 w 107493"/>
                  <a:gd name="connsiteY3" fmla="*/ 5581 h 119116"/>
                  <a:gd name="connsiteX4" fmla="*/ 29843 w 107493"/>
                  <a:gd name="connsiteY4" fmla="*/ 2478 h 119116"/>
                  <a:gd name="connsiteX5" fmla="*/ 3103 w 107493"/>
                  <a:gd name="connsiteY5" fmla="*/ 2478 h 119116"/>
                  <a:gd name="connsiteX6" fmla="*/ 0 w 107493"/>
                  <a:gd name="connsiteY6" fmla="*/ 5581 h 119116"/>
                  <a:gd name="connsiteX7" fmla="*/ 0 w 107493"/>
                  <a:gd name="connsiteY7" fmla="*/ 116000 h 119116"/>
                  <a:gd name="connsiteX8" fmla="*/ 3103 w 107493"/>
                  <a:gd name="connsiteY8" fmla="*/ 119103 h 119116"/>
                  <a:gd name="connsiteX9" fmla="*/ 29843 w 107493"/>
                  <a:gd name="connsiteY9" fmla="*/ 119103 h 119116"/>
                  <a:gd name="connsiteX10" fmla="*/ 32947 w 107493"/>
                  <a:gd name="connsiteY10" fmla="*/ 116000 h 119116"/>
                  <a:gd name="connsiteX11" fmla="*/ 32947 w 107493"/>
                  <a:gd name="connsiteY11" fmla="*/ 51788 h 119116"/>
                  <a:gd name="connsiteX12" fmla="*/ 53740 w 107493"/>
                  <a:gd name="connsiteY12" fmla="*/ 31747 h 119116"/>
                  <a:gd name="connsiteX13" fmla="*/ 74547 w 107493"/>
                  <a:gd name="connsiteY13" fmla="*/ 53210 h 119116"/>
                  <a:gd name="connsiteX14" fmla="*/ 74547 w 107493"/>
                  <a:gd name="connsiteY14" fmla="*/ 116014 h 119116"/>
                  <a:gd name="connsiteX15" fmla="*/ 77650 w 107493"/>
                  <a:gd name="connsiteY15" fmla="*/ 119117 h 119116"/>
                  <a:gd name="connsiteX16" fmla="*/ 104390 w 107493"/>
                  <a:gd name="connsiteY16" fmla="*/ 119117 h 119116"/>
                  <a:gd name="connsiteX17" fmla="*/ 107493 w 107493"/>
                  <a:gd name="connsiteY17" fmla="*/ 116014 h 119116"/>
                  <a:gd name="connsiteX18" fmla="*/ 107493 w 107493"/>
                  <a:gd name="connsiteY18" fmla="*/ 41890 h 119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7493" h="119116">
                    <a:moveTo>
                      <a:pt x="107480" y="41877"/>
                    </a:moveTo>
                    <a:cubicBezTo>
                      <a:pt x="107480" y="19252"/>
                      <a:pt x="88792" y="277"/>
                      <a:pt x="65237" y="3"/>
                    </a:cubicBezTo>
                    <a:cubicBezTo>
                      <a:pt x="49912" y="-175"/>
                      <a:pt x="39563" y="7331"/>
                      <a:pt x="32947" y="17474"/>
                    </a:cubicBezTo>
                    <a:lnTo>
                      <a:pt x="32947" y="5581"/>
                    </a:lnTo>
                    <a:cubicBezTo>
                      <a:pt x="32947" y="3872"/>
                      <a:pt x="31552" y="2478"/>
                      <a:pt x="29843" y="2478"/>
                    </a:cubicBezTo>
                    <a:lnTo>
                      <a:pt x="3103" y="2478"/>
                    </a:lnTo>
                    <a:cubicBezTo>
                      <a:pt x="1394" y="2478"/>
                      <a:pt x="0" y="3872"/>
                      <a:pt x="0" y="5581"/>
                    </a:cubicBezTo>
                    <a:lnTo>
                      <a:pt x="0" y="116000"/>
                    </a:lnTo>
                    <a:cubicBezTo>
                      <a:pt x="0" y="117709"/>
                      <a:pt x="1394" y="119103"/>
                      <a:pt x="3103" y="119103"/>
                    </a:cubicBezTo>
                    <a:lnTo>
                      <a:pt x="29843" y="119103"/>
                    </a:lnTo>
                    <a:cubicBezTo>
                      <a:pt x="31552" y="119103"/>
                      <a:pt x="32947" y="117709"/>
                      <a:pt x="32947" y="116000"/>
                    </a:cubicBezTo>
                    <a:lnTo>
                      <a:pt x="32947" y="51788"/>
                    </a:lnTo>
                    <a:cubicBezTo>
                      <a:pt x="33685" y="39430"/>
                      <a:pt x="41518" y="31747"/>
                      <a:pt x="53740" y="31747"/>
                    </a:cubicBezTo>
                    <a:cubicBezTo>
                      <a:pt x="65961" y="31747"/>
                      <a:pt x="74547" y="40373"/>
                      <a:pt x="74547" y="53210"/>
                    </a:cubicBezTo>
                    <a:lnTo>
                      <a:pt x="74547" y="116014"/>
                    </a:lnTo>
                    <a:cubicBezTo>
                      <a:pt x="74547" y="117722"/>
                      <a:pt x="75941" y="119117"/>
                      <a:pt x="77650" y="119117"/>
                    </a:cubicBezTo>
                    <a:lnTo>
                      <a:pt x="104390" y="119117"/>
                    </a:lnTo>
                    <a:cubicBezTo>
                      <a:pt x="106099" y="119117"/>
                      <a:pt x="107493" y="117722"/>
                      <a:pt x="107493" y="116014"/>
                    </a:cubicBezTo>
                    <a:lnTo>
                      <a:pt x="107493" y="41890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5" name="Title 1">
            <a:extLst>
              <a:ext uri="{FF2B5EF4-FFF2-40B4-BE49-F238E27FC236}">
                <a16:creationId xmlns:a16="http://schemas.microsoft.com/office/drawing/2014/main" id="{3564880D-1526-2339-31A9-EC15260295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978" y="297451"/>
            <a:ext cx="11118522" cy="815043"/>
          </a:xfrm>
          <a:prstGeom prst="rect">
            <a:avLst/>
          </a:prstGeom>
        </p:spPr>
        <p:txBody>
          <a:bodyPr anchor="b" anchorCtr="0"/>
          <a:lstStyle>
            <a:lvl1pPr>
              <a:defRPr sz="3400" b="1" i="0" cap="all" baseline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r>
              <a:rPr lang="en-US"/>
              <a:t>Slide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F9A0678-8AF6-9730-D361-F0F6D53C04DB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501983" y="1264141"/>
            <a:ext cx="11118517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kumimoji="0" lang="en-US" sz="2400" b="0" i="0" u="none" strike="noStrike" cap="all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Lato" panose="020F0502020204030203" pitchFamily="34" charset="77"/>
                <a:ea typeface="Roboto Slab" pitchFamily="2" charset="0"/>
                <a:cs typeface="Arial" panose="020B0604020202020204" pitchFamily="34" charset="0"/>
              </a:defRPr>
            </a:lvl1pPr>
          </a:lstStyle>
          <a:p>
            <a:pPr marL="228600" marR="0" lvl="0" indent="-22860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ubtitl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C77CFE2-DE33-B933-5E3D-61C5E8BF802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1978" y="1902065"/>
            <a:ext cx="11118517" cy="4471988"/>
          </a:xfrm>
          <a:prstGeom prst="rect">
            <a:avLst/>
          </a:prstGeom>
        </p:spPr>
        <p:txBody>
          <a:bodyPr/>
          <a:lstStyle>
            <a:lvl1pPr marL="216000" indent="-216000">
              <a:spcBef>
                <a:spcPts val="1200"/>
              </a:spcBef>
              <a:buClr>
                <a:srgbClr val="00BD4D"/>
              </a:buClr>
              <a:defRPr sz="2000" b="0" i="0">
                <a:solidFill>
                  <a:schemeClr val="bg1"/>
                </a:solidFill>
                <a:latin typeface="Lato" panose="020F0502020204030203" pitchFamily="34" charset="77"/>
              </a:defRPr>
            </a:lvl1pPr>
            <a:lvl2pPr marL="432000" indent="-216000">
              <a:spcBef>
                <a:spcPts val="1200"/>
              </a:spcBef>
              <a:buClr>
                <a:srgbClr val="00BD4D"/>
              </a:buClr>
              <a:defRPr sz="1800" b="0" i="0">
                <a:solidFill>
                  <a:schemeClr val="bg1"/>
                </a:solidFill>
                <a:latin typeface="Lato" panose="020F0502020204030203" pitchFamily="34" charset="77"/>
              </a:defRPr>
            </a:lvl2pPr>
            <a:lvl3pPr marL="648000" indent="-216000">
              <a:spcBef>
                <a:spcPts val="1200"/>
              </a:spcBef>
              <a:buClr>
                <a:srgbClr val="00BD4D"/>
              </a:buClr>
              <a:defRPr sz="1600" b="0" i="0">
                <a:solidFill>
                  <a:schemeClr val="bg1"/>
                </a:solidFill>
                <a:latin typeface="Lato" panose="020F0502020204030203" pitchFamily="34" charset="77"/>
              </a:defRPr>
            </a:lvl3pPr>
            <a:lvl4pPr marL="864000" indent="-216000">
              <a:spcBef>
                <a:spcPts val="1200"/>
              </a:spcBef>
              <a:buClr>
                <a:srgbClr val="00BD4D"/>
              </a:buClr>
              <a:defRPr sz="1400" b="0" i="0">
                <a:solidFill>
                  <a:schemeClr val="bg1"/>
                </a:solidFill>
                <a:latin typeface="Lato" panose="020F0502020204030203" pitchFamily="34" charset="77"/>
              </a:defRPr>
            </a:lvl4pPr>
            <a:lvl5pPr marL="1080000" indent="-216000">
              <a:spcBef>
                <a:spcPts val="1200"/>
              </a:spcBef>
              <a:buClr>
                <a:srgbClr val="00BD4D"/>
              </a:buClr>
              <a:defRPr sz="1400" b="0" i="0">
                <a:solidFill>
                  <a:schemeClr val="bg1"/>
                </a:solidFill>
                <a:latin typeface="Lato" panose="020F05020202040302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7D4386A-F54E-1D9A-CC04-0262F091CDE1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546582" y="1135122"/>
            <a:ext cx="5943600" cy="27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3387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7B669B37-CF43-8D14-6755-F61A54D8FB98}"/>
              </a:ext>
            </a:extLst>
          </p:cNvPr>
          <p:cNvGrpSpPr/>
          <p:nvPr userDrawn="1"/>
        </p:nvGrpSpPr>
        <p:grpSpPr>
          <a:xfrm>
            <a:off x="11122821" y="6472473"/>
            <a:ext cx="799629" cy="166100"/>
            <a:chOff x="11122821" y="6472473"/>
            <a:chExt cx="799629" cy="166100"/>
          </a:xfrm>
        </p:grpSpPr>
        <p:sp>
          <p:nvSpPr>
            <p:cNvPr id="4" name="Freeform: Shape 11">
              <a:extLst>
                <a:ext uri="{FF2B5EF4-FFF2-40B4-BE49-F238E27FC236}">
                  <a16:creationId xmlns:a16="http://schemas.microsoft.com/office/drawing/2014/main" id="{E8FB77A1-B8B7-B82C-0DEC-68BF410A36D3}"/>
                </a:ext>
              </a:extLst>
            </p:cNvPr>
            <p:cNvSpPr/>
            <p:nvPr/>
          </p:nvSpPr>
          <p:spPr>
            <a:xfrm rot="18900000">
              <a:off x="11134957" y="6473485"/>
              <a:ext cx="35147" cy="35147"/>
            </a:xfrm>
            <a:custGeom>
              <a:avLst/>
              <a:gdLst>
                <a:gd name="connsiteX0" fmla="*/ 32044 w 35147"/>
                <a:gd name="connsiteY0" fmla="*/ 0 h 35147"/>
                <a:gd name="connsiteX1" fmla="*/ 35148 w 35147"/>
                <a:gd name="connsiteY1" fmla="*/ 3103 h 35147"/>
                <a:gd name="connsiteX2" fmla="*/ 35148 w 35147"/>
                <a:gd name="connsiteY2" fmla="*/ 32044 h 35147"/>
                <a:gd name="connsiteX3" fmla="*/ 32044 w 35147"/>
                <a:gd name="connsiteY3" fmla="*/ 35148 h 35147"/>
                <a:gd name="connsiteX4" fmla="*/ 3103 w 35147"/>
                <a:gd name="connsiteY4" fmla="*/ 35148 h 35147"/>
                <a:gd name="connsiteX5" fmla="*/ 0 w 35147"/>
                <a:gd name="connsiteY5" fmla="*/ 32044 h 35147"/>
                <a:gd name="connsiteX6" fmla="*/ 0 w 35147"/>
                <a:gd name="connsiteY6" fmla="*/ 3103 h 35147"/>
                <a:gd name="connsiteX7" fmla="*/ 3103 w 35147"/>
                <a:gd name="connsiteY7" fmla="*/ 0 h 35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147" h="35147">
                  <a:moveTo>
                    <a:pt x="32044" y="0"/>
                  </a:moveTo>
                  <a:cubicBezTo>
                    <a:pt x="33758" y="0"/>
                    <a:pt x="35148" y="1389"/>
                    <a:pt x="35148" y="3103"/>
                  </a:cubicBezTo>
                  <a:lnTo>
                    <a:pt x="35148" y="32044"/>
                  </a:lnTo>
                  <a:cubicBezTo>
                    <a:pt x="35148" y="33758"/>
                    <a:pt x="33758" y="35148"/>
                    <a:pt x="32044" y="35148"/>
                  </a:cubicBezTo>
                  <a:lnTo>
                    <a:pt x="3103" y="35148"/>
                  </a:lnTo>
                  <a:cubicBezTo>
                    <a:pt x="1389" y="35148"/>
                    <a:pt x="0" y="33758"/>
                    <a:pt x="0" y="32044"/>
                  </a:cubicBezTo>
                  <a:lnTo>
                    <a:pt x="0" y="3103"/>
                  </a:lnTo>
                  <a:cubicBezTo>
                    <a:pt x="0" y="1389"/>
                    <a:pt x="1389" y="0"/>
                    <a:pt x="3103" y="0"/>
                  </a:cubicBezTo>
                  <a:close/>
                </a:path>
              </a:pathLst>
            </a:custGeom>
            <a:solidFill>
              <a:srgbClr val="00BD4D"/>
            </a:solidFill>
            <a:ln w="135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428FEF25-F27F-3DC3-96C1-5C236F1C5794}"/>
                </a:ext>
              </a:extLst>
            </p:cNvPr>
            <p:cNvGrpSpPr/>
            <p:nvPr/>
          </p:nvGrpSpPr>
          <p:grpSpPr>
            <a:xfrm>
              <a:off x="11122821" y="6472473"/>
              <a:ext cx="799629" cy="166100"/>
              <a:chOff x="11122821" y="6472473"/>
              <a:chExt cx="799629" cy="166100"/>
            </a:xfrm>
            <a:solidFill>
              <a:schemeClr val="bg1"/>
            </a:solidFill>
          </p:grpSpPr>
          <p:sp>
            <p:nvSpPr>
              <p:cNvPr id="6" name="Freeform: Shape 13">
                <a:extLst>
                  <a:ext uri="{FF2B5EF4-FFF2-40B4-BE49-F238E27FC236}">
                    <a16:creationId xmlns:a16="http://schemas.microsoft.com/office/drawing/2014/main" id="{715B49B7-9FDF-2589-FA6F-B90D11E0EF44}"/>
                  </a:ext>
                </a:extLst>
              </p:cNvPr>
              <p:cNvSpPr/>
              <p:nvPr/>
            </p:nvSpPr>
            <p:spPr>
              <a:xfrm>
                <a:off x="11774281" y="6519597"/>
                <a:ext cx="119385" cy="116611"/>
              </a:xfrm>
              <a:custGeom>
                <a:avLst/>
                <a:gdLst>
                  <a:gd name="connsiteX0" fmla="*/ 82523 w 119385"/>
                  <a:gd name="connsiteY0" fmla="*/ 58306 h 116611"/>
                  <a:gd name="connsiteX1" fmla="*/ 118887 w 119385"/>
                  <a:gd name="connsiteY1" fmla="*/ 112265 h 116611"/>
                  <a:gd name="connsiteX2" fmla="*/ 116385 w 119385"/>
                  <a:gd name="connsiteY2" fmla="*/ 116612 h 116611"/>
                  <a:gd name="connsiteX3" fmla="*/ 85831 w 119385"/>
                  <a:gd name="connsiteY3" fmla="*/ 116612 h 116611"/>
                  <a:gd name="connsiteX4" fmla="*/ 80718 w 119385"/>
                  <a:gd name="connsiteY4" fmla="*/ 113919 h 116611"/>
                  <a:gd name="connsiteX5" fmla="*/ 59693 w 119385"/>
                  <a:gd name="connsiteY5" fmla="*/ 81751 h 116611"/>
                  <a:gd name="connsiteX6" fmla="*/ 38667 w 119385"/>
                  <a:gd name="connsiteY6" fmla="*/ 113919 h 116611"/>
                  <a:gd name="connsiteX7" fmla="*/ 33554 w 119385"/>
                  <a:gd name="connsiteY7" fmla="*/ 116612 h 116611"/>
                  <a:gd name="connsiteX8" fmla="*/ 3000 w 119385"/>
                  <a:gd name="connsiteY8" fmla="*/ 116612 h 116611"/>
                  <a:gd name="connsiteX9" fmla="*/ 498 w 119385"/>
                  <a:gd name="connsiteY9" fmla="*/ 112265 h 116611"/>
                  <a:gd name="connsiteX10" fmla="*/ 36753 w 119385"/>
                  <a:gd name="connsiteY10" fmla="*/ 58306 h 116611"/>
                  <a:gd name="connsiteX11" fmla="*/ 498 w 119385"/>
                  <a:gd name="connsiteY11" fmla="*/ 4347 h 116611"/>
                  <a:gd name="connsiteX12" fmla="*/ 3000 w 119385"/>
                  <a:gd name="connsiteY12" fmla="*/ 0 h 116611"/>
                  <a:gd name="connsiteX13" fmla="*/ 34853 w 119385"/>
                  <a:gd name="connsiteY13" fmla="*/ 0 h 116611"/>
                  <a:gd name="connsiteX14" fmla="*/ 37778 w 119385"/>
                  <a:gd name="connsiteY14" fmla="*/ 1449 h 116611"/>
                  <a:gd name="connsiteX15" fmla="*/ 59679 w 119385"/>
                  <a:gd name="connsiteY15" fmla="*/ 34806 h 116611"/>
                  <a:gd name="connsiteX16" fmla="*/ 80240 w 119385"/>
                  <a:gd name="connsiteY16" fmla="*/ 1463 h 116611"/>
                  <a:gd name="connsiteX17" fmla="*/ 83165 w 119385"/>
                  <a:gd name="connsiteY17" fmla="*/ 0 h 116611"/>
                  <a:gd name="connsiteX18" fmla="*/ 115333 w 119385"/>
                  <a:gd name="connsiteY18" fmla="*/ 0 h 116611"/>
                  <a:gd name="connsiteX19" fmla="*/ 117834 w 119385"/>
                  <a:gd name="connsiteY19" fmla="*/ 4334 h 116611"/>
                  <a:gd name="connsiteX20" fmla="*/ 82495 w 119385"/>
                  <a:gd name="connsiteY20" fmla="*/ 58306 h 116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19385" h="116611">
                    <a:moveTo>
                      <a:pt x="82523" y="58306"/>
                    </a:moveTo>
                    <a:lnTo>
                      <a:pt x="118887" y="112265"/>
                    </a:lnTo>
                    <a:cubicBezTo>
                      <a:pt x="120199" y="114124"/>
                      <a:pt x="118764" y="116612"/>
                      <a:pt x="116385" y="116612"/>
                    </a:cubicBezTo>
                    <a:lnTo>
                      <a:pt x="85831" y="116612"/>
                    </a:lnTo>
                    <a:cubicBezTo>
                      <a:pt x="83794" y="116612"/>
                      <a:pt x="81880" y="115600"/>
                      <a:pt x="80718" y="113919"/>
                    </a:cubicBezTo>
                    <a:lnTo>
                      <a:pt x="59693" y="81751"/>
                    </a:lnTo>
                    <a:lnTo>
                      <a:pt x="38667" y="113919"/>
                    </a:lnTo>
                    <a:cubicBezTo>
                      <a:pt x="37505" y="115600"/>
                      <a:pt x="35605" y="116612"/>
                      <a:pt x="33554" y="116612"/>
                    </a:cubicBezTo>
                    <a:lnTo>
                      <a:pt x="3000" y="116612"/>
                    </a:lnTo>
                    <a:cubicBezTo>
                      <a:pt x="621" y="116612"/>
                      <a:pt x="-814" y="114138"/>
                      <a:pt x="498" y="112265"/>
                    </a:cubicBezTo>
                    <a:lnTo>
                      <a:pt x="36753" y="58306"/>
                    </a:lnTo>
                    <a:lnTo>
                      <a:pt x="498" y="4347"/>
                    </a:lnTo>
                    <a:cubicBezTo>
                      <a:pt x="-814" y="2488"/>
                      <a:pt x="621" y="0"/>
                      <a:pt x="3000" y="0"/>
                    </a:cubicBezTo>
                    <a:lnTo>
                      <a:pt x="34853" y="0"/>
                    </a:lnTo>
                    <a:cubicBezTo>
                      <a:pt x="36042" y="0"/>
                      <a:pt x="37149" y="547"/>
                      <a:pt x="37778" y="1449"/>
                    </a:cubicBezTo>
                    <a:lnTo>
                      <a:pt x="59679" y="34806"/>
                    </a:lnTo>
                    <a:lnTo>
                      <a:pt x="80240" y="1463"/>
                    </a:lnTo>
                    <a:cubicBezTo>
                      <a:pt x="80855" y="561"/>
                      <a:pt x="81976" y="0"/>
                      <a:pt x="83165" y="0"/>
                    </a:cubicBezTo>
                    <a:lnTo>
                      <a:pt x="115333" y="0"/>
                    </a:lnTo>
                    <a:cubicBezTo>
                      <a:pt x="117711" y="0"/>
                      <a:pt x="119133" y="2474"/>
                      <a:pt x="117834" y="4334"/>
                    </a:cubicBezTo>
                    <a:lnTo>
                      <a:pt x="82495" y="58306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" name="Freeform: Shape 14">
                <a:extLst>
                  <a:ext uri="{FF2B5EF4-FFF2-40B4-BE49-F238E27FC236}">
                    <a16:creationId xmlns:a16="http://schemas.microsoft.com/office/drawing/2014/main" id="{C7D5FF76-D1C5-0E6D-DE8C-2AC81F1B5F70}"/>
                  </a:ext>
                </a:extLst>
              </p:cNvPr>
              <p:cNvSpPr/>
              <p:nvPr/>
            </p:nvSpPr>
            <p:spPr>
              <a:xfrm>
                <a:off x="11284928" y="6472473"/>
                <a:ext cx="78825" cy="163762"/>
              </a:xfrm>
              <a:custGeom>
                <a:avLst/>
                <a:gdLst>
                  <a:gd name="connsiteX0" fmla="*/ 75722 w 78825"/>
                  <a:gd name="connsiteY0" fmla="*/ 14 h 163762"/>
                  <a:gd name="connsiteX1" fmla="*/ 50377 w 78825"/>
                  <a:gd name="connsiteY1" fmla="*/ 14 h 163762"/>
                  <a:gd name="connsiteX2" fmla="*/ 43801 w 78825"/>
                  <a:gd name="connsiteY2" fmla="*/ 2734 h 163762"/>
                  <a:gd name="connsiteX3" fmla="*/ 19987 w 78825"/>
                  <a:gd name="connsiteY3" fmla="*/ 26549 h 163762"/>
                  <a:gd name="connsiteX4" fmla="*/ 17266 w 78825"/>
                  <a:gd name="connsiteY4" fmla="*/ 33124 h 163762"/>
                  <a:gd name="connsiteX5" fmla="*/ 17266 w 78825"/>
                  <a:gd name="connsiteY5" fmla="*/ 51867 h 163762"/>
                  <a:gd name="connsiteX6" fmla="*/ 3049 w 78825"/>
                  <a:gd name="connsiteY6" fmla="*/ 51867 h 163762"/>
                  <a:gd name="connsiteX7" fmla="*/ 0 w 78825"/>
                  <a:gd name="connsiteY7" fmla="*/ 54916 h 163762"/>
                  <a:gd name="connsiteX8" fmla="*/ 0 w 78825"/>
                  <a:gd name="connsiteY8" fmla="*/ 75955 h 163762"/>
                  <a:gd name="connsiteX9" fmla="*/ 3049 w 78825"/>
                  <a:gd name="connsiteY9" fmla="*/ 79004 h 163762"/>
                  <a:gd name="connsiteX10" fmla="*/ 17266 w 78825"/>
                  <a:gd name="connsiteY10" fmla="*/ 79004 h 163762"/>
                  <a:gd name="connsiteX11" fmla="*/ 17266 w 78825"/>
                  <a:gd name="connsiteY11" fmla="*/ 160659 h 163762"/>
                  <a:gd name="connsiteX12" fmla="*/ 20369 w 78825"/>
                  <a:gd name="connsiteY12" fmla="*/ 163763 h 163762"/>
                  <a:gd name="connsiteX13" fmla="*/ 47109 w 78825"/>
                  <a:gd name="connsiteY13" fmla="*/ 163763 h 163762"/>
                  <a:gd name="connsiteX14" fmla="*/ 50213 w 78825"/>
                  <a:gd name="connsiteY14" fmla="*/ 160659 h 163762"/>
                  <a:gd name="connsiteX15" fmla="*/ 50213 w 78825"/>
                  <a:gd name="connsiteY15" fmla="*/ 78990 h 163762"/>
                  <a:gd name="connsiteX16" fmla="*/ 71443 w 78825"/>
                  <a:gd name="connsiteY16" fmla="*/ 78990 h 163762"/>
                  <a:gd name="connsiteX17" fmla="*/ 74492 w 78825"/>
                  <a:gd name="connsiteY17" fmla="*/ 75941 h 163762"/>
                  <a:gd name="connsiteX18" fmla="*/ 74492 w 78825"/>
                  <a:gd name="connsiteY18" fmla="*/ 54902 h 163762"/>
                  <a:gd name="connsiteX19" fmla="*/ 71443 w 78825"/>
                  <a:gd name="connsiteY19" fmla="*/ 51853 h 163762"/>
                  <a:gd name="connsiteX20" fmla="*/ 50213 w 78825"/>
                  <a:gd name="connsiteY20" fmla="*/ 51853 h 163762"/>
                  <a:gd name="connsiteX21" fmla="*/ 50213 w 78825"/>
                  <a:gd name="connsiteY21" fmla="*/ 38565 h 163762"/>
                  <a:gd name="connsiteX22" fmla="*/ 59509 w 78825"/>
                  <a:gd name="connsiteY22" fmla="*/ 29269 h 163762"/>
                  <a:gd name="connsiteX23" fmla="*/ 75722 w 78825"/>
                  <a:gd name="connsiteY23" fmla="*/ 29269 h 163762"/>
                  <a:gd name="connsiteX24" fmla="*/ 78826 w 78825"/>
                  <a:gd name="connsiteY24" fmla="*/ 26166 h 163762"/>
                  <a:gd name="connsiteX25" fmla="*/ 78826 w 78825"/>
                  <a:gd name="connsiteY25" fmla="*/ 3103 h 163762"/>
                  <a:gd name="connsiteX26" fmla="*/ 75722 w 78825"/>
                  <a:gd name="connsiteY26" fmla="*/ 0 h 163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78825" h="163762">
                    <a:moveTo>
                      <a:pt x="75722" y="14"/>
                    </a:moveTo>
                    <a:lnTo>
                      <a:pt x="50377" y="14"/>
                    </a:lnTo>
                    <a:cubicBezTo>
                      <a:pt x="47916" y="14"/>
                      <a:pt x="45551" y="998"/>
                      <a:pt x="43801" y="2734"/>
                    </a:cubicBezTo>
                    <a:lnTo>
                      <a:pt x="19987" y="26549"/>
                    </a:lnTo>
                    <a:cubicBezTo>
                      <a:pt x="18237" y="28299"/>
                      <a:pt x="17266" y="30664"/>
                      <a:pt x="17266" y="33124"/>
                    </a:cubicBezTo>
                    <a:lnTo>
                      <a:pt x="17266" y="51867"/>
                    </a:lnTo>
                    <a:lnTo>
                      <a:pt x="3049" y="51867"/>
                    </a:lnTo>
                    <a:cubicBezTo>
                      <a:pt x="1367" y="51867"/>
                      <a:pt x="0" y="53234"/>
                      <a:pt x="0" y="54916"/>
                    </a:cubicBezTo>
                    <a:lnTo>
                      <a:pt x="0" y="75955"/>
                    </a:lnTo>
                    <a:cubicBezTo>
                      <a:pt x="0" y="77636"/>
                      <a:pt x="1367" y="79004"/>
                      <a:pt x="3049" y="79004"/>
                    </a:cubicBezTo>
                    <a:lnTo>
                      <a:pt x="17266" y="79004"/>
                    </a:lnTo>
                    <a:lnTo>
                      <a:pt x="17266" y="160659"/>
                    </a:lnTo>
                    <a:cubicBezTo>
                      <a:pt x="17266" y="162368"/>
                      <a:pt x="18661" y="163763"/>
                      <a:pt x="20369" y="163763"/>
                    </a:cubicBezTo>
                    <a:lnTo>
                      <a:pt x="47109" y="163763"/>
                    </a:lnTo>
                    <a:cubicBezTo>
                      <a:pt x="48818" y="163763"/>
                      <a:pt x="50213" y="162368"/>
                      <a:pt x="50213" y="160659"/>
                    </a:cubicBezTo>
                    <a:lnTo>
                      <a:pt x="50213" y="78990"/>
                    </a:lnTo>
                    <a:lnTo>
                      <a:pt x="71443" y="78990"/>
                    </a:lnTo>
                    <a:cubicBezTo>
                      <a:pt x="73125" y="78990"/>
                      <a:pt x="74492" y="77623"/>
                      <a:pt x="74492" y="75941"/>
                    </a:cubicBezTo>
                    <a:lnTo>
                      <a:pt x="74492" y="54902"/>
                    </a:lnTo>
                    <a:cubicBezTo>
                      <a:pt x="74492" y="53220"/>
                      <a:pt x="73125" y="51853"/>
                      <a:pt x="71443" y="51853"/>
                    </a:cubicBezTo>
                    <a:lnTo>
                      <a:pt x="50213" y="51853"/>
                    </a:lnTo>
                    <a:lnTo>
                      <a:pt x="50213" y="38565"/>
                    </a:lnTo>
                    <a:cubicBezTo>
                      <a:pt x="50213" y="33425"/>
                      <a:pt x="54382" y="29269"/>
                      <a:pt x="59509" y="29269"/>
                    </a:cubicBezTo>
                    <a:lnTo>
                      <a:pt x="75722" y="29269"/>
                    </a:lnTo>
                    <a:cubicBezTo>
                      <a:pt x="77431" y="29269"/>
                      <a:pt x="78826" y="27875"/>
                      <a:pt x="78826" y="26166"/>
                    </a:cubicBezTo>
                    <a:lnTo>
                      <a:pt x="78826" y="3103"/>
                    </a:lnTo>
                    <a:cubicBezTo>
                      <a:pt x="78826" y="1394"/>
                      <a:pt x="77431" y="0"/>
                      <a:pt x="75722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" name="Freeform: Shape 15">
                <a:extLst>
                  <a:ext uri="{FF2B5EF4-FFF2-40B4-BE49-F238E27FC236}">
                    <a16:creationId xmlns:a16="http://schemas.microsoft.com/office/drawing/2014/main" id="{B39F8FD6-451F-C64E-DC49-2DA283ECAC8B}"/>
                  </a:ext>
                </a:extLst>
              </p:cNvPr>
              <p:cNvSpPr/>
              <p:nvPr/>
            </p:nvSpPr>
            <p:spPr>
              <a:xfrm>
                <a:off x="11896791" y="6612367"/>
                <a:ext cx="25659" cy="25660"/>
              </a:xfrm>
              <a:custGeom>
                <a:avLst/>
                <a:gdLst>
                  <a:gd name="connsiteX0" fmla="*/ 25660 w 25659"/>
                  <a:gd name="connsiteY0" fmla="*/ 12810 h 25660"/>
                  <a:gd name="connsiteX1" fmla="*/ 12782 w 25659"/>
                  <a:gd name="connsiteY1" fmla="*/ 25660 h 25660"/>
                  <a:gd name="connsiteX2" fmla="*/ 0 w 25659"/>
                  <a:gd name="connsiteY2" fmla="*/ 12810 h 25660"/>
                  <a:gd name="connsiteX3" fmla="*/ 12823 w 25659"/>
                  <a:gd name="connsiteY3" fmla="*/ 0 h 25660"/>
                  <a:gd name="connsiteX4" fmla="*/ 25646 w 25659"/>
                  <a:gd name="connsiteY4" fmla="*/ 12810 h 25660"/>
                  <a:gd name="connsiteX5" fmla="*/ 23691 w 25659"/>
                  <a:gd name="connsiteY5" fmla="*/ 12864 h 25660"/>
                  <a:gd name="connsiteX6" fmla="*/ 12837 w 25659"/>
                  <a:gd name="connsiteY6" fmla="*/ 1832 h 25660"/>
                  <a:gd name="connsiteX7" fmla="*/ 1982 w 25659"/>
                  <a:gd name="connsiteY7" fmla="*/ 12851 h 25660"/>
                  <a:gd name="connsiteX8" fmla="*/ 12782 w 25659"/>
                  <a:gd name="connsiteY8" fmla="*/ 23856 h 25660"/>
                  <a:gd name="connsiteX9" fmla="*/ 23691 w 25659"/>
                  <a:gd name="connsiteY9" fmla="*/ 12864 h 25660"/>
                  <a:gd name="connsiteX10" fmla="*/ 15585 w 25659"/>
                  <a:gd name="connsiteY10" fmla="*/ 14888 h 25660"/>
                  <a:gd name="connsiteX11" fmla="*/ 18811 w 25659"/>
                  <a:gd name="connsiteY11" fmla="*/ 19905 h 25660"/>
                  <a:gd name="connsiteX12" fmla="*/ 16678 w 25659"/>
                  <a:gd name="connsiteY12" fmla="*/ 19905 h 25660"/>
                  <a:gd name="connsiteX13" fmla="*/ 13097 w 25659"/>
                  <a:gd name="connsiteY13" fmla="*/ 14218 h 25660"/>
                  <a:gd name="connsiteX14" fmla="*/ 9829 w 25659"/>
                  <a:gd name="connsiteY14" fmla="*/ 14218 h 25660"/>
                  <a:gd name="connsiteX15" fmla="*/ 9829 w 25659"/>
                  <a:gd name="connsiteY15" fmla="*/ 19905 h 25660"/>
                  <a:gd name="connsiteX16" fmla="*/ 8038 w 25659"/>
                  <a:gd name="connsiteY16" fmla="*/ 19905 h 25660"/>
                  <a:gd name="connsiteX17" fmla="*/ 8038 w 25659"/>
                  <a:gd name="connsiteY17" fmla="*/ 5523 h 25660"/>
                  <a:gd name="connsiteX18" fmla="*/ 13616 w 25659"/>
                  <a:gd name="connsiteY18" fmla="*/ 5523 h 25660"/>
                  <a:gd name="connsiteX19" fmla="*/ 18155 w 25659"/>
                  <a:gd name="connsiteY19" fmla="*/ 9761 h 25660"/>
                  <a:gd name="connsiteX20" fmla="*/ 14887 w 25659"/>
                  <a:gd name="connsiteY20" fmla="*/ 13917 h 25660"/>
                  <a:gd name="connsiteX21" fmla="*/ 15585 w 25659"/>
                  <a:gd name="connsiteY21" fmla="*/ 14901 h 25660"/>
                  <a:gd name="connsiteX22" fmla="*/ 13015 w 25659"/>
                  <a:gd name="connsiteY22" fmla="*/ 12522 h 25660"/>
                  <a:gd name="connsiteX23" fmla="*/ 16282 w 25659"/>
                  <a:gd name="connsiteY23" fmla="*/ 9870 h 25660"/>
                  <a:gd name="connsiteX24" fmla="*/ 13657 w 25659"/>
                  <a:gd name="connsiteY24" fmla="*/ 7191 h 25660"/>
                  <a:gd name="connsiteX25" fmla="*/ 9816 w 25659"/>
                  <a:gd name="connsiteY25" fmla="*/ 7191 h 25660"/>
                  <a:gd name="connsiteX26" fmla="*/ 9816 w 25659"/>
                  <a:gd name="connsiteY26" fmla="*/ 12509 h 25660"/>
                  <a:gd name="connsiteX27" fmla="*/ 13015 w 25659"/>
                  <a:gd name="connsiteY27" fmla="*/ 12509 h 25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25659" h="25660">
                    <a:moveTo>
                      <a:pt x="25660" y="12810"/>
                    </a:moveTo>
                    <a:cubicBezTo>
                      <a:pt x="25660" y="19946"/>
                      <a:pt x="19946" y="25660"/>
                      <a:pt x="12782" y="25660"/>
                    </a:cubicBezTo>
                    <a:cubicBezTo>
                      <a:pt x="5619" y="25660"/>
                      <a:pt x="0" y="19891"/>
                      <a:pt x="0" y="12810"/>
                    </a:cubicBezTo>
                    <a:cubicBezTo>
                      <a:pt x="0" y="5728"/>
                      <a:pt x="5714" y="0"/>
                      <a:pt x="12823" y="0"/>
                    </a:cubicBezTo>
                    <a:cubicBezTo>
                      <a:pt x="19932" y="0"/>
                      <a:pt x="25646" y="5687"/>
                      <a:pt x="25646" y="12810"/>
                    </a:cubicBezTo>
                    <a:close/>
                    <a:moveTo>
                      <a:pt x="23691" y="12864"/>
                    </a:moveTo>
                    <a:cubicBezTo>
                      <a:pt x="23691" y="6712"/>
                      <a:pt x="18838" y="1832"/>
                      <a:pt x="12837" y="1832"/>
                    </a:cubicBezTo>
                    <a:cubicBezTo>
                      <a:pt x="6835" y="1832"/>
                      <a:pt x="1982" y="6658"/>
                      <a:pt x="1982" y="12851"/>
                    </a:cubicBezTo>
                    <a:cubicBezTo>
                      <a:pt x="1982" y="19043"/>
                      <a:pt x="6890" y="23856"/>
                      <a:pt x="12782" y="23856"/>
                    </a:cubicBezTo>
                    <a:cubicBezTo>
                      <a:pt x="18674" y="23856"/>
                      <a:pt x="23691" y="19002"/>
                      <a:pt x="23691" y="12864"/>
                    </a:cubicBezTo>
                    <a:close/>
                    <a:moveTo>
                      <a:pt x="15585" y="14888"/>
                    </a:moveTo>
                    <a:lnTo>
                      <a:pt x="18811" y="19905"/>
                    </a:lnTo>
                    <a:lnTo>
                      <a:pt x="16678" y="19905"/>
                    </a:lnTo>
                    <a:lnTo>
                      <a:pt x="13097" y="14218"/>
                    </a:lnTo>
                    <a:lnTo>
                      <a:pt x="9829" y="14218"/>
                    </a:lnTo>
                    <a:lnTo>
                      <a:pt x="9829" y="19905"/>
                    </a:lnTo>
                    <a:lnTo>
                      <a:pt x="8038" y="19905"/>
                    </a:lnTo>
                    <a:lnTo>
                      <a:pt x="8038" y="5523"/>
                    </a:lnTo>
                    <a:lnTo>
                      <a:pt x="13616" y="5523"/>
                    </a:lnTo>
                    <a:cubicBezTo>
                      <a:pt x="16364" y="5523"/>
                      <a:pt x="18155" y="6999"/>
                      <a:pt x="18155" y="9761"/>
                    </a:cubicBezTo>
                    <a:cubicBezTo>
                      <a:pt x="18155" y="11989"/>
                      <a:pt x="16801" y="13370"/>
                      <a:pt x="14887" y="13917"/>
                    </a:cubicBezTo>
                    <a:cubicBezTo>
                      <a:pt x="15147" y="14204"/>
                      <a:pt x="15407" y="14559"/>
                      <a:pt x="15585" y="14901"/>
                    </a:cubicBezTo>
                    <a:close/>
                    <a:moveTo>
                      <a:pt x="13015" y="12522"/>
                    </a:moveTo>
                    <a:cubicBezTo>
                      <a:pt x="15038" y="12522"/>
                      <a:pt x="16282" y="11565"/>
                      <a:pt x="16282" y="9870"/>
                    </a:cubicBezTo>
                    <a:cubicBezTo>
                      <a:pt x="16282" y="8175"/>
                      <a:pt x="15421" y="7191"/>
                      <a:pt x="13657" y="7191"/>
                    </a:cubicBezTo>
                    <a:lnTo>
                      <a:pt x="9816" y="7191"/>
                    </a:lnTo>
                    <a:lnTo>
                      <a:pt x="9816" y="12509"/>
                    </a:lnTo>
                    <a:lnTo>
                      <a:pt x="13015" y="12509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" name="Freeform: Shape 16">
                <a:extLst>
                  <a:ext uri="{FF2B5EF4-FFF2-40B4-BE49-F238E27FC236}">
                    <a16:creationId xmlns:a16="http://schemas.microsoft.com/office/drawing/2014/main" id="{3003FFDB-E34D-41DA-F1EE-60B6B65A3D20}"/>
                  </a:ext>
                </a:extLst>
              </p:cNvPr>
              <p:cNvSpPr/>
              <p:nvPr/>
            </p:nvSpPr>
            <p:spPr>
              <a:xfrm>
                <a:off x="11620956" y="6472487"/>
                <a:ext cx="32932" cy="163721"/>
              </a:xfrm>
              <a:custGeom>
                <a:avLst/>
                <a:gdLst>
                  <a:gd name="connsiteX0" fmla="*/ 29830 w 32932"/>
                  <a:gd name="connsiteY0" fmla="*/ 0 h 163721"/>
                  <a:gd name="connsiteX1" fmla="*/ 32933 w 32932"/>
                  <a:gd name="connsiteY1" fmla="*/ 3103 h 163721"/>
                  <a:gd name="connsiteX2" fmla="*/ 32933 w 32932"/>
                  <a:gd name="connsiteY2" fmla="*/ 160618 h 163721"/>
                  <a:gd name="connsiteX3" fmla="*/ 29830 w 32932"/>
                  <a:gd name="connsiteY3" fmla="*/ 163722 h 163721"/>
                  <a:gd name="connsiteX4" fmla="*/ 3103 w 32932"/>
                  <a:gd name="connsiteY4" fmla="*/ 163722 h 163721"/>
                  <a:gd name="connsiteX5" fmla="*/ 0 w 32932"/>
                  <a:gd name="connsiteY5" fmla="*/ 160618 h 163721"/>
                  <a:gd name="connsiteX6" fmla="*/ 0 w 32932"/>
                  <a:gd name="connsiteY6" fmla="*/ 3103 h 163721"/>
                  <a:gd name="connsiteX7" fmla="*/ 3103 w 32932"/>
                  <a:gd name="connsiteY7" fmla="*/ 0 h 163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2932" h="163721">
                    <a:moveTo>
                      <a:pt x="29830" y="0"/>
                    </a:moveTo>
                    <a:cubicBezTo>
                      <a:pt x="31544" y="0"/>
                      <a:pt x="32933" y="1389"/>
                      <a:pt x="32933" y="3103"/>
                    </a:cubicBezTo>
                    <a:lnTo>
                      <a:pt x="32933" y="160618"/>
                    </a:lnTo>
                    <a:cubicBezTo>
                      <a:pt x="32933" y="162332"/>
                      <a:pt x="31543" y="163722"/>
                      <a:pt x="29830" y="163722"/>
                    </a:cubicBezTo>
                    <a:lnTo>
                      <a:pt x="3103" y="163722"/>
                    </a:lnTo>
                    <a:cubicBezTo>
                      <a:pt x="1389" y="163722"/>
                      <a:pt x="0" y="162332"/>
                      <a:pt x="0" y="160618"/>
                    </a:cubicBezTo>
                    <a:lnTo>
                      <a:pt x="0" y="3103"/>
                    </a:lnTo>
                    <a:cubicBezTo>
                      <a:pt x="0" y="1389"/>
                      <a:pt x="1389" y="0"/>
                      <a:pt x="3103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" name="Freeform: Shape 17">
                <a:extLst>
                  <a:ext uri="{FF2B5EF4-FFF2-40B4-BE49-F238E27FC236}">
                    <a16:creationId xmlns:a16="http://schemas.microsoft.com/office/drawing/2014/main" id="{D9ECA4CC-E3D8-FCB8-151F-8EE3E5269EE5}"/>
                  </a:ext>
                </a:extLst>
              </p:cNvPr>
              <p:cNvSpPr/>
              <p:nvPr/>
            </p:nvSpPr>
            <p:spPr>
              <a:xfrm>
                <a:off x="11488486" y="6472473"/>
                <a:ext cx="123638" cy="166086"/>
              </a:xfrm>
              <a:custGeom>
                <a:avLst/>
                <a:gdLst>
                  <a:gd name="connsiteX0" fmla="*/ 68737 w 123638"/>
                  <a:gd name="connsiteY0" fmla="*/ 44663 h 166086"/>
                  <a:gd name="connsiteX1" fmla="*/ 32947 w 123638"/>
                  <a:gd name="connsiteY1" fmla="*/ 62052 h 166086"/>
                  <a:gd name="connsiteX2" fmla="*/ 32947 w 123638"/>
                  <a:gd name="connsiteY2" fmla="*/ 3103 h 166086"/>
                  <a:gd name="connsiteX3" fmla="*/ 29843 w 123638"/>
                  <a:gd name="connsiteY3" fmla="*/ 0 h 166086"/>
                  <a:gd name="connsiteX4" fmla="*/ 3103 w 123638"/>
                  <a:gd name="connsiteY4" fmla="*/ 0 h 166086"/>
                  <a:gd name="connsiteX5" fmla="*/ 0 w 123638"/>
                  <a:gd name="connsiteY5" fmla="*/ 3103 h 166086"/>
                  <a:gd name="connsiteX6" fmla="*/ 0 w 123638"/>
                  <a:gd name="connsiteY6" fmla="*/ 160632 h 166086"/>
                  <a:gd name="connsiteX7" fmla="*/ 3103 w 123638"/>
                  <a:gd name="connsiteY7" fmla="*/ 163735 h 166086"/>
                  <a:gd name="connsiteX8" fmla="*/ 29843 w 123638"/>
                  <a:gd name="connsiteY8" fmla="*/ 163735 h 166086"/>
                  <a:gd name="connsiteX9" fmla="*/ 32947 w 123638"/>
                  <a:gd name="connsiteY9" fmla="*/ 160632 h 166086"/>
                  <a:gd name="connsiteX10" fmla="*/ 32947 w 123638"/>
                  <a:gd name="connsiteY10" fmla="*/ 149025 h 166086"/>
                  <a:gd name="connsiteX11" fmla="*/ 68983 w 123638"/>
                  <a:gd name="connsiteY11" fmla="*/ 166087 h 166086"/>
                  <a:gd name="connsiteX12" fmla="*/ 123638 w 123638"/>
                  <a:gd name="connsiteY12" fmla="*/ 105539 h 166086"/>
                  <a:gd name="connsiteX13" fmla="*/ 68750 w 123638"/>
                  <a:gd name="connsiteY13" fmla="*/ 44663 h 166086"/>
                  <a:gd name="connsiteX14" fmla="*/ 62188 w 123638"/>
                  <a:gd name="connsiteY14" fmla="*/ 135163 h 166086"/>
                  <a:gd name="connsiteX15" fmla="*/ 32947 w 123638"/>
                  <a:gd name="connsiteY15" fmla="*/ 105552 h 166086"/>
                  <a:gd name="connsiteX16" fmla="*/ 62188 w 123638"/>
                  <a:gd name="connsiteY16" fmla="*/ 76174 h 166086"/>
                  <a:gd name="connsiteX17" fmla="*/ 90965 w 123638"/>
                  <a:gd name="connsiteY17" fmla="*/ 105552 h 166086"/>
                  <a:gd name="connsiteX18" fmla="*/ 62188 w 123638"/>
                  <a:gd name="connsiteY18" fmla="*/ 135163 h 166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23638" h="166086">
                    <a:moveTo>
                      <a:pt x="68737" y="44663"/>
                    </a:moveTo>
                    <a:cubicBezTo>
                      <a:pt x="53535" y="44663"/>
                      <a:pt x="40889" y="51252"/>
                      <a:pt x="32947" y="62052"/>
                    </a:cubicBezTo>
                    <a:lnTo>
                      <a:pt x="32947" y="3103"/>
                    </a:lnTo>
                    <a:cubicBezTo>
                      <a:pt x="32947" y="1394"/>
                      <a:pt x="31552" y="0"/>
                      <a:pt x="29843" y="0"/>
                    </a:cubicBezTo>
                    <a:lnTo>
                      <a:pt x="3103" y="0"/>
                    </a:lnTo>
                    <a:cubicBezTo>
                      <a:pt x="1394" y="0"/>
                      <a:pt x="0" y="1394"/>
                      <a:pt x="0" y="3103"/>
                    </a:cubicBezTo>
                    <a:lnTo>
                      <a:pt x="0" y="160632"/>
                    </a:lnTo>
                    <a:cubicBezTo>
                      <a:pt x="0" y="162341"/>
                      <a:pt x="1394" y="163735"/>
                      <a:pt x="3103" y="163735"/>
                    </a:cubicBezTo>
                    <a:lnTo>
                      <a:pt x="29843" y="163735"/>
                    </a:lnTo>
                    <a:cubicBezTo>
                      <a:pt x="31552" y="163735"/>
                      <a:pt x="32947" y="162341"/>
                      <a:pt x="32947" y="160632"/>
                    </a:cubicBezTo>
                    <a:lnTo>
                      <a:pt x="32947" y="149025"/>
                    </a:lnTo>
                    <a:cubicBezTo>
                      <a:pt x="40903" y="159839"/>
                      <a:pt x="53535" y="166087"/>
                      <a:pt x="68983" y="166087"/>
                    </a:cubicBezTo>
                    <a:cubicBezTo>
                      <a:pt x="101505" y="166087"/>
                      <a:pt x="123638" y="139852"/>
                      <a:pt x="123638" y="105539"/>
                    </a:cubicBezTo>
                    <a:cubicBezTo>
                      <a:pt x="123638" y="71225"/>
                      <a:pt x="101505" y="44663"/>
                      <a:pt x="68750" y="44663"/>
                    </a:cubicBezTo>
                    <a:close/>
                    <a:moveTo>
                      <a:pt x="62188" y="135163"/>
                    </a:moveTo>
                    <a:cubicBezTo>
                      <a:pt x="45346" y="135163"/>
                      <a:pt x="32947" y="121533"/>
                      <a:pt x="32947" y="105552"/>
                    </a:cubicBezTo>
                    <a:cubicBezTo>
                      <a:pt x="32947" y="89571"/>
                      <a:pt x="45346" y="76174"/>
                      <a:pt x="62188" y="76174"/>
                    </a:cubicBezTo>
                    <a:cubicBezTo>
                      <a:pt x="79031" y="76174"/>
                      <a:pt x="90965" y="89571"/>
                      <a:pt x="90965" y="105552"/>
                    </a:cubicBezTo>
                    <a:cubicBezTo>
                      <a:pt x="90965" y="121533"/>
                      <a:pt x="78798" y="135163"/>
                      <a:pt x="62188" y="13516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" name="Freeform: Shape 18">
                <a:extLst>
                  <a:ext uri="{FF2B5EF4-FFF2-40B4-BE49-F238E27FC236}">
                    <a16:creationId xmlns:a16="http://schemas.microsoft.com/office/drawing/2014/main" id="{5382CB98-5474-292E-F762-4612E2FFF109}"/>
                  </a:ext>
                </a:extLst>
              </p:cNvPr>
              <p:cNvSpPr/>
              <p:nvPr/>
            </p:nvSpPr>
            <p:spPr>
              <a:xfrm>
                <a:off x="11359421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" name="Freeform: Shape 19">
                <a:extLst>
                  <a:ext uri="{FF2B5EF4-FFF2-40B4-BE49-F238E27FC236}">
                    <a16:creationId xmlns:a16="http://schemas.microsoft.com/office/drawing/2014/main" id="{883122FB-831B-DE76-E07A-87DAFE6225D0}"/>
                  </a:ext>
                </a:extLst>
              </p:cNvPr>
              <p:cNvSpPr/>
              <p:nvPr/>
            </p:nvSpPr>
            <p:spPr>
              <a:xfrm>
                <a:off x="11662542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" name="Freeform: Shape 20">
                <a:extLst>
                  <a:ext uri="{FF2B5EF4-FFF2-40B4-BE49-F238E27FC236}">
                    <a16:creationId xmlns:a16="http://schemas.microsoft.com/office/drawing/2014/main" id="{5BE8D63C-78B7-6A2B-1ACE-B1DB46522C9A}"/>
                  </a:ext>
                </a:extLst>
              </p:cNvPr>
              <p:cNvSpPr/>
              <p:nvPr/>
            </p:nvSpPr>
            <p:spPr>
              <a:xfrm>
                <a:off x="11122821" y="6519528"/>
                <a:ext cx="32932" cy="116680"/>
              </a:xfrm>
              <a:custGeom>
                <a:avLst/>
                <a:gdLst>
                  <a:gd name="connsiteX0" fmla="*/ 29843 w 32932"/>
                  <a:gd name="connsiteY0" fmla="*/ 116680 h 116680"/>
                  <a:gd name="connsiteX1" fmla="*/ 3103 w 32932"/>
                  <a:gd name="connsiteY1" fmla="*/ 116680 h 116680"/>
                  <a:gd name="connsiteX2" fmla="*/ 0 w 32932"/>
                  <a:gd name="connsiteY2" fmla="*/ 113577 h 116680"/>
                  <a:gd name="connsiteX3" fmla="*/ 0 w 32932"/>
                  <a:gd name="connsiteY3" fmla="*/ 30554 h 116680"/>
                  <a:gd name="connsiteX4" fmla="*/ 1859 w 32932"/>
                  <a:gd name="connsiteY4" fmla="*/ 26125 h 116680"/>
                  <a:gd name="connsiteX5" fmla="*/ 27670 w 32932"/>
                  <a:gd name="connsiteY5" fmla="*/ 888 h 116680"/>
                  <a:gd name="connsiteX6" fmla="*/ 32933 w 32932"/>
                  <a:gd name="connsiteY6" fmla="*/ 3103 h 116680"/>
                  <a:gd name="connsiteX7" fmla="*/ 32933 w 32932"/>
                  <a:gd name="connsiteY7" fmla="*/ 113577 h 116680"/>
                  <a:gd name="connsiteX8" fmla="*/ 29830 w 32932"/>
                  <a:gd name="connsiteY8" fmla="*/ 116680 h 116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932" h="116680">
                    <a:moveTo>
                      <a:pt x="29843" y="116680"/>
                    </a:moveTo>
                    <a:lnTo>
                      <a:pt x="3103" y="116680"/>
                    </a:lnTo>
                    <a:cubicBezTo>
                      <a:pt x="1394" y="116680"/>
                      <a:pt x="0" y="115286"/>
                      <a:pt x="0" y="113577"/>
                    </a:cubicBezTo>
                    <a:lnTo>
                      <a:pt x="0" y="30554"/>
                    </a:lnTo>
                    <a:cubicBezTo>
                      <a:pt x="0" y="28886"/>
                      <a:pt x="670" y="27287"/>
                      <a:pt x="1859" y="26125"/>
                    </a:cubicBezTo>
                    <a:lnTo>
                      <a:pt x="27670" y="888"/>
                    </a:lnTo>
                    <a:cubicBezTo>
                      <a:pt x="29638" y="-1026"/>
                      <a:pt x="32933" y="355"/>
                      <a:pt x="32933" y="3103"/>
                    </a:cubicBezTo>
                    <a:lnTo>
                      <a:pt x="32933" y="113577"/>
                    </a:lnTo>
                    <a:cubicBezTo>
                      <a:pt x="32933" y="115286"/>
                      <a:pt x="31538" y="116680"/>
                      <a:pt x="29830" y="11668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" name="Freeform: Shape 21">
                <a:extLst>
                  <a:ext uri="{FF2B5EF4-FFF2-40B4-BE49-F238E27FC236}">
                    <a16:creationId xmlns:a16="http://schemas.microsoft.com/office/drawing/2014/main" id="{17F6FBDB-CFE7-E6BC-9DB0-44EFE5777A6F}"/>
                  </a:ext>
                </a:extLst>
              </p:cNvPr>
              <p:cNvSpPr/>
              <p:nvPr/>
            </p:nvSpPr>
            <p:spPr>
              <a:xfrm>
                <a:off x="11173074" y="6517105"/>
                <a:ext cx="107493" cy="119116"/>
              </a:xfrm>
              <a:custGeom>
                <a:avLst/>
                <a:gdLst>
                  <a:gd name="connsiteX0" fmla="*/ 107480 w 107493"/>
                  <a:gd name="connsiteY0" fmla="*/ 41877 h 119116"/>
                  <a:gd name="connsiteX1" fmla="*/ 65237 w 107493"/>
                  <a:gd name="connsiteY1" fmla="*/ 3 h 119116"/>
                  <a:gd name="connsiteX2" fmla="*/ 32947 w 107493"/>
                  <a:gd name="connsiteY2" fmla="*/ 17474 h 119116"/>
                  <a:gd name="connsiteX3" fmla="*/ 32947 w 107493"/>
                  <a:gd name="connsiteY3" fmla="*/ 5581 h 119116"/>
                  <a:gd name="connsiteX4" fmla="*/ 29843 w 107493"/>
                  <a:gd name="connsiteY4" fmla="*/ 2478 h 119116"/>
                  <a:gd name="connsiteX5" fmla="*/ 3103 w 107493"/>
                  <a:gd name="connsiteY5" fmla="*/ 2478 h 119116"/>
                  <a:gd name="connsiteX6" fmla="*/ 0 w 107493"/>
                  <a:gd name="connsiteY6" fmla="*/ 5581 h 119116"/>
                  <a:gd name="connsiteX7" fmla="*/ 0 w 107493"/>
                  <a:gd name="connsiteY7" fmla="*/ 116000 h 119116"/>
                  <a:gd name="connsiteX8" fmla="*/ 3103 w 107493"/>
                  <a:gd name="connsiteY8" fmla="*/ 119103 h 119116"/>
                  <a:gd name="connsiteX9" fmla="*/ 29843 w 107493"/>
                  <a:gd name="connsiteY9" fmla="*/ 119103 h 119116"/>
                  <a:gd name="connsiteX10" fmla="*/ 32947 w 107493"/>
                  <a:gd name="connsiteY10" fmla="*/ 116000 h 119116"/>
                  <a:gd name="connsiteX11" fmla="*/ 32947 w 107493"/>
                  <a:gd name="connsiteY11" fmla="*/ 51788 h 119116"/>
                  <a:gd name="connsiteX12" fmla="*/ 53740 w 107493"/>
                  <a:gd name="connsiteY12" fmla="*/ 31747 h 119116"/>
                  <a:gd name="connsiteX13" fmla="*/ 74547 w 107493"/>
                  <a:gd name="connsiteY13" fmla="*/ 53210 h 119116"/>
                  <a:gd name="connsiteX14" fmla="*/ 74547 w 107493"/>
                  <a:gd name="connsiteY14" fmla="*/ 116014 h 119116"/>
                  <a:gd name="connsiteX15" fmla="*/ 77650 w 107493"/>
                  <a:gd name="connsiteY15" fmla="*/ 119117 h 119116"/>
                  <a:gd name="connsiteX16" fmla="*/ 104390 w 107493"/>
                  <a:gd name="connsiteY16" fmla="*/ 119117 h 119116"/>
                  <a:gd name="connsiteX17" fmla="*/ 107493 w 107493"/>
                  <a:gd name="connsiteY17" fmla="*/ 116014 h 119116"/>
                  <a:gd name="connsiteX18" fmla="*/ 107493 w 107493"/>
                  <a:gd name="connsiteY18" fmla="*/ 41890 h 119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7493" h="119116">
                    <a:moveTo>
                      <a:pt x="107480" y="41877"/>
                    </a:moveTo>
                    <a:cubicBezTo>
                      <a:pt x="107480" y="19252"/>
                      <a:pt x="88792" y="277"/>
                      <a:pt x="65237" y="3"/>
                    </a:cubicBezTo>
                    <a:cubicBezTo>
                      <a:pt x="49912" y="-175"/>
                      <a:pt x="39563" y="7331"/>
                      <a:pt x="32947" y="17474"/>
                    </a:cubicBezTo>
                    <a:lnTo>
                      <a:pt x="32947" y="5581"/>
                    </a:lnTo>
                    <a:cubicBezTo>
                      <a:pt x="32947" y="3872"/>
                      <a:pt x="31552" y="2478"/>
                      <a:pt x="29843" y="2478"/>
                    </a:cubicBezTo>
                    <a:lnTo>
                      <a:pt x="3103" y="2478"/>
                    </a:lnTo>
                    <a:cubicBezTo>
                      <a:pt x="1394" y="2478"/>
                      <a:pt x="0" y="3872"/>
                      <a:pt x="0" y="5581"/>
                    </a:cubicBezTo>
                    <a:lnTo>
                      <a:pt x="0" y="116000"/>
                    </a:lnTo>
                    <a:cubicBezTo>
                      <a:pt x="0" y="117709"/>
                      <a:pt x="1394" y="119103"/>
                      <a:pt x="3103" y="119103"/>
                    </a:cubicBezTo>
                    <a:lnTo>
                      <a:pt x="29843" y="119103"/>
                    </a:lnTo>
                    <a:cubicBezTo>
                      <a:pt x="31552" y="119103"/>
                      <a:pt x="32947" y="117709"/>
                      <a:pt x="32947" y="116000"/>
                    </a:cubicBezTo>
                    <a:lnTo>
                      <a:pt x="32947" y="51788"/>
                    </a:lnTo>
                    <a:cubicBezTo>
                      <a:pt x="33685" y="39430"/>
                      <a:pt x="41518" y="31747"/>
                      <a:pt x="53740" y="31747"/>
                    </a:cubicBezTo>
                    <a:cubicBezTo>
                      <a:pt x="65961" y="31747"/>
                      <a:pt x="74547" y="40373"/>
                      <a:pt x="74547" y="53210"/>
                    </a:cubicBezTo>
                    <a:lnTo>
                      <a:pt x="74547" y="116014"/>
                    </a:lnTo>
                    <a:cubicBezTo>
                      <a:pt x="74547" y="117722"/>
                      <a:pt x="75941" y="119117"/>
                      <a:pt x="77650" y="119117"/>
                    </a:cubicBezTo>
                    <a:lnTo>
                      <a:pt x="104390" y="119117"/>
                    </a:lnTo>
                    <a:cubicBezTo>
                      <a:pt x="106099" y="119117"/>
                      <a:pt x="107493" y="117722"/>
                      <a:pt x="107493" y="116014"/>
                    </a:cubicBezTo>
                    <a:lnTo>
                      <a:pt x="107493" y="41890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5" name="Title 1">
            <a:extLst>
              <a:ext uri="{FF2B5EF4-FFF2-40B4-BE49-F238E27FC236}">
                <a16:creationId xmlns:a16="http://schemas.microsoft.com/office/drawing/2014/main" id="{3564880D-1526-2339-31A9-EC15260295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978" y="297451"/>
            <a:ext cx="11118522" cy="815043"/>
          </a:xfrm>
          <a:prstGeom prst="rect">
            <a:avLst/>
          </a:prstGeom>
        </p:spPr>
        <p:txBody>
          <a:bodyPr anchor="b" anchorCtr="0"/>
          <a:lstStyle>
            <a:lvl1pPr>
              <a:defRPr sz="3400" b="1" i="0" cap="all" baseline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r>
              <a:rPr lang="en-US"/>
              <a:t>Slide Title ONLY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7D4386A-F54E-1D9A-CC04-0262F091CDE1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546582" y="1135122"/>
            <a:ext cx="5943600" cy="27432"/>
          </a:xfrm>
          <a:prstGeom prst="rect">
            <a:avLst/>
          </a:prstGeom>
        </p:spPr>
      </p:pic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0264B9E1-6411-5F1E-6094-E12B692EC23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46100" y="1398495"/>
            <a:ext cx="11107738" cy="486260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Lato" panose="020F0502020204030203" pitchFamily="34" charset="77"/>
              </a:defRPr>
            </a:lvl1pPr>
            <a:lvl2pPr>
              <a:defRPr>
                <a:solidFill>
                  <a:schemeClr val="bg1"/>
                </a:solidFill>
                <a:latin typeface="Lato" panose="020F0502020204030203" pitchFamily="34" charset="77"/>
              </a:defRPr>
            </a:lvl2pPr>
            <a:lvl3pPr>
              <a:defRPr>
                <a:solidFill>
                  <a:schemeClr val="bg1"/>
                </a:solidFill>
                <a:latin typeface="Lato" panose="020F0502020204030203" pitchFamily="34" charset="77"/>
              </a:defRPr>
            </a:lvl3pPr>
            <a:lvl4pPr>
              <a:defRPr>
                <a:solidFill>
                  <a:schemeClr val="bg1"/>
                </a:solidFill>
                <a:latin typeface="Lato" panose="020F0502020204030203" pitchFamily="34" charset="77"/>
              </a:defRPr>
            </a:lvl4pPr>
            <a:lvl5pPr>
              <a:defRPr>
                <a:solidFill>
                  <a:schemeClr val="bg1"/>
                </a:solidFill>
                <a:latin typeface="Lato" panose="020F05020202040302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97770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ubtitle and Content" preserve="1" userDrawn="1">
  <p:cSld name="1_Title Subtitle and Content">
    <p:spTree>
      <p:nvGrpSpPr>
        <p:cNvPr id="1" name="Shape 1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" name="Google Shape;175;p70"/>
          <p:cNvSpPr txBox="1">
            <a:spLocks noGrp="1"/>
          </p:cNvSpPr>
          <p:nvPr>
            <p:ph type="title"/>
          </p:nvPr>
        </p:nvSpPr>
        <p:spPr>
          <a:xfrm>
            <a:off x="501978" y="54865"/>
            <a:ext cx="11118522" cy="10802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40" tIns="45700" rIns="91425" bIns="4570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400"/>
              <a:buFont typeface="Lato"/>
              <a:buNone/>
              <a:defRPr sz="3400" b="1" i="0" u="none" strike="noStrike" cap="none">
                <a:solidFill>
                  <a:schemeClr val="bg1"/>
                </a:solidFill>
                <a:latin typeface="Lato"/>
                <a:ea typeface="Lato"/>
                <a:cs typeface="Lato"/>
                <a:sym typeface="Lat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79" name="Google Shape;179;p7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 flipH="1">
            <a:off x="546582" y="1135122"/>
            <a:ext cx="5943600" cy="27432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E2DD32-4DD0-5573-FF51-8F905F303E7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5907" y="1945047"/>
            <a:ext cx="5297479" cy="1772843"/>
          </a:xfrm>
          <a:prstGeom prst="rect">
            <a:avLst/>
          </a:prstGeom>
        </p:spPr>
        <p:txBody>
          <a:bodyPr/>
          <a:lstStyle>
            <a:lvl1pPr marL="274320" indent="-18288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  <a:latin typeface="Lato" panose="020F0502020204030203" pitchFamily="34" charset="77"/>
              </a:defRPr>
            </a:lvl1pPr>
            <a:lvl2pPr>
              <a:defRPr>
                <a:latin typeface="Lato" panose="020F0502020204030203" pitchFamily="34" charset="77"/>
              </a:defRPr>
            </a:lvl2pPr>
            <a:lvl3pPr>
              <a:defRPr>
                <a:latin typeface="Lato" panose="020F0502020204030203" pitchFamily="34" charset="77"/>
              </a:defRPr>
            </a:lvl3pPr>
            <a:lvl4pPr>
              <a:defRPr>
                <a:latin typeface="Lato" panose="020F0502020204030203" pitchFamily="34" charset="77"/>
              </a:defRPr>
            </a:lvl4pPr>
            <a:lvl5pPr>
              <a:defRPr>
                <a:latin typeface="Lato" panose="020F05020202040302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F650A77D-7F9B-97BA-C4A4-647941DB558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5907" y="1432595"/>
            <a:ext cx="5297479" cy="51245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200">
                <a:solidFill>
                  <a:schemeClr val="bg1"/>
                </a:solidFill>
                <a:latin typeface="Lato" panose="020F0502020204030203" pitchFamily="34" charset="77"/>
              </a:defRPr>
            </a:lvl1pPr>
            <a:lvl2pPr>
              <a:defRPr>
                <a:latin typeface="Lato" panose="020F0502020204030203" pitchFamily="34" charset="77"/>
              </a:defRPr>
            </a:lvl2pPr>
            <a:lvl3pPr>
              <a:defRPr>
                <a:latin typeface="Lato" panose="020F0502020204030203" pitchFamily="34" charset="77"/>
              </a:defRPr>
            </a:lvl3pPr>
            <a:lvl4pPr>
              <a:defRPr>
                <a:latin typeface="Lato" panose="020F0502020204030203" pitchFamily="34" charset="77"/>
              </a:defRPr>
            </a:lvl4pPr>
            <a:lvl5pPr>
              <a:defRPr>
                <a:latin typeface="Lato" panose="020F05020202040302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F712605-8329-031F-55DB-722ABD35F08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47423" y="1945047"/>
            <a:ext cx="5373075" cy="1772843"/>
          </a:xfrm>
          <a:prstGeom prst="rect">
            <a:avLst/>
          </a:prstGeom>
        </p:spPr>
        <p:txBody>
          <a:bodyPr/>
          <a:lstStyle>
            <a:lvl1pPr marL="274320" indent="-18288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  <a:latin typeface="Lato" panose="020F0502020204030203" pitchFamily="34" charset="77"/>
              </a:defRPr>
            </a:lvl1pPr>
            <a:lvl2pPr>
              <a:defRPr>
                <a:latin typeface="Lato" panose="020F0502020204030203" pitchFamily="34" charset="77"/>
              </a:defRPr>
            </a:lvl2pPr>
            <a:lvl3pPr>
              <a:defRPr>
                <a:latin typeface="Lato" panose="020F0502020204030203" pitchFamily="34" charset="77"/>
              </a:defRPr>
            </a:lvl3pPr>
            <a:lvl4pPr>
              <a:defRPr>
                <a:latin typeface="Lato" panose="020F0502020204030203" pitchFamily="34" charset="77"/>
              </a:defRPr>
            </a:lvl4pPr>
            <a:lvl5pPr>
              <a:defRPr>
                <a:latin typeface="Lato" panose="020F05020202040302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0BACEA22-8839-D191-0AC2-CDF3A91F832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47423" y="1432595"/>
            <a:ext cx="5373075" cy="51245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200">
                <a:solidFill>
                  <a:schemeClr val="bg1"/>
                </a:solidFill>
                <a:latin typeface="Lato" panose="020F0502020204030203" pitchFamily="34" charset="77"/>
              </a:defRPr>
            </a:lvl1pPr>
            <a:lvl2pPr>
              <a:defRPr>
                <a:latin typeface="Lato" panose="020F0502020204030203" pitchFamily="34" charset="77"/>
              </a:defRPr>
            </a:lvl2pPr>
            <a:lvl3pPr>
              <a:defRPr>
                <a:latin typeface="Lato" panose="020F0502020204030203" pitchFamily="34" charset="77"/>
              </a:defRPr>
            </a:lvl3pPr>
            <a:lvl4pPr>
              <a:defRPr>
                <a:latin typeface="Lato" panose="020F0502020204030203" pitchFamily="34" charset="77"/>
              </a:defRPr>
            </a:lvl4pPr>
            <a:lvl5pPr>
              <a:defRPr>
                <a:latin typeface="Lato" panose="020F05020202040302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0FBD4EC7-0730-0275-0B54-7B4D0D52F7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05907" y="4537522"/>
            <a:ext cx="5297479" cy="1772843"/>
          </a:xfrm>
          <a:prstGeom prst="rect">
            <a:avLst/>
          </a:prstGeom>
        </p:spPr>
        <p:txBody>
          <a:bodyPr/>
          <a:lstStyle>
            <a:lvl1pPr marL="274320" indent="-18288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  <a:latin typeface="Lato" panose="020F0502020204030203" pitchFamily="34" charset="77"/>
              </a:defRPr>
            </a:lvl1pPr>
            <a:lvl2pPr>
              <a:defRPr>
                <a:latin typeface="Lato" panose="020F0502020204030203" pitchFamily="34" charset="77"/>
              </a:defRPr>
            </a:lvl2pPr>
            <a:lvl3pPr>
              <a:defRPr>
                <a:latin typeface="Lato" panose="020F0502020204030203" pitchFamily="34" charset="77"/>
              </a:defRPr>
            </a:lvl3pPr>
            <a:lvl4pPr>
              <a:defRPr>
                <a:latin typeface="Lato" panose="020F0502020204030203" pitchFamily="34" charset="77"/>
              </a:defRPr>
            </a:lvl4pPr>
            <a:lvl5pPr>
              <a:defRPr>
                <a:latin typeface="Lato" panose="020F05020202040302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FDDB667-29A7-1773-1075-D5A8EF27B5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5907" y="4025070"/>
            <a:ext cx="5297479" cy="51245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200">
                <a:solidFill>
                  <a:schemeClr val="bg1"/>
                </a:solidFill>
                <a:latin typeface="Lato" panose="020F0502020204030203" pitchFamily="34" charset="77"/>
              </a:defRPr>
            </a:lvl1pPr>
            <a:lvl2pPr>
              <a:defRPr>
                <a:latin typeface="Lato" panose="020F0502020204030203" pitchFamily="34" charset="77"/>
              </a:defRPr>
            </a:lvl2pPr>
            <a:lvl3pPr>
              <a:defRPr>
                <a:latin typeface="Lato" panose="020F0502020204030203" pitchFamily="34" charset="77"/>
              </a:defRPr>
            </a:lvl3pPr>
            <a:lvl4pPr>
              <a:defRPr>
                <a:latin typeface="Lato" panose="020F0502020204030203" pitchFamily="34" charset="77"/>
              </a:defRPr>
            </a:lvl4pPr>
            <a:lvl5pPr>
              <a:defRPr>
                <a:latin typeface="Lato" panose="020F05020202040302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074011F-DDDE-2ECA-7C4C-ACF1194F984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47423" y="4537522"/>
            <a:ext cx="5373075" cy="1772843"/>
          </a:xfrm>
          <a:prstGeom prst="rect">
            <a:avLst/>
          </a:prstGeom>
        </p:spPr>
        <p:txBody>
          <a:bodyPr/>
          <a:lstStyle>
            <a:lvl1pPr marL="274320" indent="-18288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  <a:latin typeface="Lato" panose="020F0502020204030203" pitchFamily="34" charset="77"/>
              </a:defRPr>
            </a:lvl1pPr>
            <a:lvl2pPr>
              <a:defRPr>
                <a:latin typeface="Lato" panose="020F0502020204030203" pitchFamily="34" charset="77"/>
              </a:defRPr>
            </a:lvl2pPr>
            <a:lvl3pPr>
              <a:defRPr>
                <a:latin typeface="Lato" panose="020F0502020204030203" pitchFamily="34" charset="77"/>
              </a:defRPr>
            </a:lvl3pPr>
            <a:lvl4pPr>
              <a:defRPr>
                <a:latin typeface="Lato" panose="020F0502020204030203" pitchFamily="34" charset="77"/>
              </a:defRPr>
            </a:lvl4pPr>
            <a:lvl5pPr>
              <a:defRPr>
                <a:latin typeface="Lato" panose="020F05020202040302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815BA76D-D893-AB6D-49C5-6CCDA06C7A6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47423" y="4025070"/>
            <a:ext cx="5373075" cy="51245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200">
                <a:solidFill>
                  <a:schemeClr val="bg1"/>
                </a:solidFill>
                <a:latin typeface="Lato" panose="020F0502020204030203" pitchFamily="34" charset="77"/>
              </a:defRPr>
            </a:lvl1pPr>
            <a:lvl2pPr>
              <a:defRPr>
                <a:latin typeface="Lato" panose="020F0502020204030203" pitchFamily="34" charset="77"/>
              </a:defRPr>
            </a:lvl2pPr>
            <a:lvl3pPr>
              <a:defRPr>
                <a:latin typeface="Lato" panose="020F0502020204030203" pitchFamily="34" charset="77"/>
              </a:defRPr>
            </a:lvl3pPr>
            <a:lvl4pPr>
              <a:defRPr>
                <a:latin typeface="Lato" panose="020F0502020204030203" pitchFamily="34" charset="77"/>
              </a:defRPr>
            </a:lvl4pPr>
            <a:lvl5pPr>
              <a:defRPr>
                <a:latin typeface="Lato" panose="020F05020202040302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2EC0CB7-CBCC-C053-1C94-32E716540230}"/>
              </a:ext>
            </a:extLst>
          </p:cNvPr>
          <p:cNvCxnSpPr>
            <a:cxnSpLocks/>
          </p:cNvCxnSpPr>
          <p:nvPr userDrawn="1"/>
        </p:nvCxnSpPr>
        <p:spPr>
          <a:xfrm>
            <a:off x="6075904" y="1432595"/>
            <a:ext cx="0" cy="4877770"/>
          </a:xfrm>
          <a:prstGeom prst="line">
            <a:avLst/>
          </a:prstGeom>
          <a:ln w="12700">
            <a:solidFill>
              <a:srgbClr val="5E5E5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B34E21C-F1C3-CFE9-BD6E-B3AC81D66FC7}"/>
              </a:ext>
            </a:extLst>
          </p:cNvPr>
          <p:cNvCxnSpPr>
            <a:cxnSpLocks/>
          </p:cNvCxnSpPr>
          <p:nvPr userDrawn="1"/>
        </p:nvCxnSpPr>
        <p:spPr>
          <a:xfrm flipV="1">
            <a:off x="501978" y="3834213"/>
            <a:ext cx="11118522" cy="24355"/>
          </a:xfrm>
          <a:prstGeom prst="line">
            <a:avLst/>
          </a:prstGeom>
          <a:ln w="12700">
            <a:solidFill>
              <a:srgbClr val="5E5E5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8E592940-873E-EA83-C8EC-A5E904090DD3}"/>
              </a:ext>
            </a:extLst>
          </p:cNvPr>
          <p:cNvGrpSpPr/>
          <p:nvPr userDrawn="1"/>
        </p:nvGrpSpPr>
        <p:grpSpPr>
          <a:xfrm>
            <a:off x="11122821" y="6472473"/>
            <a:ext cx="799629" cy="166100"/>
            <a:chOff x="11122821" y="6472473"/>
            <a:chExt cx="799629" cy="166100"/>
          </a:xfrm>
        </p:grpSpPr>
        <p:sp>
          <p:nvSpPr>
            <p:cNvPr id="3" name="Freeform: Shape 11">
              <a:extLst>
                <a:ext uri="{FF2B5EF4-FFF2-40B4-BE49-F238E27FC236}">
                  <a16:creationId xmlns:a16="http://schemas.microsoft.com/office/drawing/2014/main" id="{1C50A7C4-0E7F-6108-6D9E-A52E17EE8A27}"/>
                </a:ext>
              </a:extLst>
            </p:cNvPr>
            <p:cNvSpPr/>
            <p:nvPr/>
          </p:nvSpPr>
          <p:spPr>
            <a:xfrm rot="18900000">
              <a:off x="11134957" y="6473485"/>
              <a:ext cx="35147" cy="35147"/>
            </a:xfrm>
            <a:custGeom>
              <a:avLst/>
              <a:gdLst>
                <a:gd name="connsiteX0" fmla="*/ 32044 w 35147"/>
                <a:gd name="connsiteY0" fmla="*/ 0 h 35147"/>
                <a:gd name="connsiteX1" fmla="*/ 35148 w 35147"/>
                <a:gd name="connsiteY1" fmla="*/ 3103 h 35147"/>
                <a:gd name="connsiteX2" fmla="*/ 35148 w 35147"/>
                <a:gd name="connsiteY2" fmla="*/ 32044 h 35147"/>
                <a:gd name="connsiteX3" fmla="*/ 32044 w 35147"/>
                <a:gd name="connsiteY3" fmla="*/ 35148 h 35147"/>
                <a:gd name="connsiteX4" fmla="*/ 3103 w 35147"/>
                <a:gd name="connsiteY4" fmla="*/ 35148 h 35147"/>
                <a:gd name="connsiteX5" fmla="*/ 0 w 35147"/>
                <a:gd name="connsiteY5" fmla="*/ 32044 h 35147"/>
                <a:gd name="connsiteX6" fmla="*/ 0 w 35147"/>
                <a:gd name="connsiteY6" fmla="*/ 3103 h 35147"/>
                <a:gd name="connsiteX7" fmla="*/ 3103 w 35147"/>
                <a:gd name="connsiteY7" fmla="*/ 0 h 35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147" h="35147">
                  <a:moveTo>
                    <a:pt x="32044" y="0"/>
                  </a:moveTo>
                  <a:cubicBezTo>
                    <a:pt x="33758" y="0"/>
                    <a:pt x="35148" y="1389"/>
                    <a:pt x="35148" y="3103"/>
                  </a:cubicBezTo>
                  <a:lnTo>
                    <a:pt x="35148" y="32044"/>
                  </a:lnTo>
                  <a:cubicBezTo>
                    <a:pt x="35148" y="33758"/>
                    <a:pt x="33758" y="35148"/>
                    <a:pt x="32044" y="35148"/>
                  </a:cubicBezTo>
                  <a:lnTo>
                    <a:pt x="3103" y="35148"/>
                  </a:lnTo>
                  <a:cubicBezTo>
                    <a:pt x="1389" y="35148"/>
                    <a:pt x="0" y="33758"/>
                    <a:pt x="0" y="32044"/>
                  </a:cubicBezTo>
                  <a:lnTo>
                    <a:pt x="0" y="3103"/>
                  </a:lnTo>
                  <a:cubicBezTo>
                    <a:pt x="0" y="1389"/>
                    <a:pt x="1389" y="0"/>
                    <a:pt x="3103" y="0"/>
                  </a:cubicBezTo>
                  <a:close/>
                </a:path>
              </a:pathLst>
            </a:custGeom>
            <a:solidFill>
              <a:srgbClr val="00BD4D"/>
            </a:solidFill>
            <a:ln w="135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80664D94-290F-0DFF-19FD-B3ED58A876D7}"/>
                </a:ext>
              </a:extLst>
            </p:cNvPr>
            <p:cNvGrpSpPr/>
            <p:nvPr/>
          </p:nvGrpSpPr>
          <p:grpSpPr>
            <a:xfrm>
              <a:off x="11122821" y="6472473"/>
              <a:ext cx="799629" cy="166100"/>
              <a:chOff x="11122821" y="6472473"/>
              <a:chExt cx="799629" cy="166100"/>
            </a:xfrm>
            <a:solidFill>
              <a:schemeClr val="bg1"/>
            </a:solidFill>
          </p:grpSpPr>
          <p:sp>
            <p:nvSpPr>
              <p:cNvPr id="7" name="Freeform: Shape 13">
                <a:extLst>
                  <a:ext uri="{FF2B5EF4-FFF2-40B4-BE49-F238E27FC236}">
                    <a16:creationId xmlns:a16="http://schemas.microsoft.com/office/drawing/2014/main" id="{62F38078-E50F-16E6-2A69-6E99888205DF}"/>
                  </a:ext>
                </a:extLst>
              </p:cNvPr>
              <p:cNvSpPr/>
              <p:nvPr/>
            </p:nvSpPr>
            <p:spPr>
              <a:xfrm>
                <a:off x="11774281" y="6519597"/>
                <a:ext cx="119385" cy="116611"/>
              </a:xfrm>
              <a:custGeom>
                <a:avLst/>
                <a:gdLst>
                  <a:gd name="connsiteX0" fmla="*/ 82523 w 119385"/>
                  <a:gd name="connsiteY0" fmla="*/ 58306 h 116611"/>
                  <a:gd name="connsiteX1" fmla="*/ 118887 w 119385"/>
                  <a:gd name="connsiteY1" fmla="*/ 112265 h 116611"/>
                  <a:gd name="connsiteX2" fmla="*/ 116385 w 119385"/>
                  <a:gd name="connsiteY2" fmla="*/ 116612 h 116611"/>
                  <a:gd name="connsiteX3" fmla="*/ 85831 w 119385"/>
                  <a:gd name="connsiteY3" fmla="*/ 116612 h 116611"/>
                  <a:gd name="connsiteX4" fmla="*/ 80718 w 119385"/>
                  <a:gd name="connsiteY4" fmla="*/ 113919 h 116611"/>
                  <a:gd name="connsiteX5" fmla="*/ 59693 w 119385"/>
                  <a:gd name="connsiteY5" fmla="*/ 81751 h 116611"/>
                  <a:gd name="connsiteX6" fmla="*/ 38667 w 119385"/>
                  <a:gd name="connsiteY6" fmla="*/ 113919 h 116611"/>
                  <a:gd name="connsiteX7" fmla="*/ 33554 w 119385"/>
                  <a:gd name="connsiteY7" fmla="*/ 116612 h 116611"/>
                  <a:gd name="connsiteX8" fmla="*/ 3000 w 119385"/>
                  <a:gd name="connsiteY8" fmla="*/ 116612 h 116611"/>
                  <a:gd name="connsiteX9" fmla="*/ 498 w 119385"/>
                  <a:gd name="connsiteY9" fmla="*/ 112265 h 116611"/>
                  <a:gd name="connsiteX10" fmla="*/ 36753 w 119385"/>
                  <a:gd name="connsiteY10" fmla="*/ 58306 h 116611"/>
                  <a:gd name="connsiteX11" fmla="*/ 498 w 119385"/>
                  <a:gd name="connsiteY11" fmla="*/ 4347 h 116611"/>
                  <a:gd name="connsiteX12" fmla="*/ 3000 w 119385"/>
                  <a:gd name="connsiteY12" fmla="*/ 0 h 116611"/>
                  <a:gd name="connsiteX13" fmla="*/ 34853 w 119385"/>
                  <a:gd name="connsiteY13" fmla="*/ 0 h 116611"/>
                  <a:gd name="connsiteX14" fmla="*/ 37778 w 119385"/>
                  <a:gd name="connsiteY14" fmla="*/ 1449 h 116611"/>
                  <a:gd name="connsiteX15" fmla="*/ 59679 w 119385"/>
                  <a:gd name="connsiteY15" fmla="*/ 34806 h 116611"/>
                  <a:gd name="connsiteX16" fmla="*/ 80240 w 119385"/>
                  <a:gd name="connsiteY16" fmla="*/ 1463 h 116611"/>
                  <a:gd name="connsiteX17" fmla="*/ 83165 w 119385"/>
                  <a:gd name="connsiteY17" fmla="*/ 0 h 116611"/>
                  <a:gd name="connsiteX18" fmla="*/ 115333 w 119385"/>
                  <a:gd name="connsiteY18" fmla="*/ 0 h 116611"/>
                  <a:gd name="connsiteX19" fmla="*/ 117834 w 119385"/>
                  <a:gd name="connsiteY19" fmla="*/ 4334 h 116611"/>
                  <a:gd name="connsiteX20" fmla="*/ 82495 w 119385"/>
                  <a:gd name="connsiteY20" fmla="*/ 58306 h 116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19385" h="116611">
                    <a:moveTo>
                      <a:pt x="82523" y="58306"/>
                    </a:moveTo>
                    <a:lnTo>
                      <a:pt x="118887" y="112265"/>
                    </a:lnTo>
                    <a:cubicBezTo>
                      <a:pt x="120199" y="114124"/>
                      <a:pt x="118764" y="116612"/>
                      <a:pt x="116385" y="116612"/>
                    </a:cubicBezTo>
                    <a:lnTo>
                      <a:pt x="85831" y="116612"/>
                    </a:lnTo>
                    <a:cubicBezTo>
                      <a:pt x="83794" y="116612"/>
                      <a:pt x="81880" y="115600"/>
                      <a:pt x="80718" y="113919"/>
                    </a:cubicBezTo>
                    <a:lnTo>
                      <a:pt x="59693" y="81751"/>
                    </a:lnTo>
                    <a:lnTo>
                      <a:pt x="38667" y="113919"/>
                    </a:lnTo>
                    <a:cubicBezTo>
                      <a:pt x="37505" y="115600"/>
                      <a:pt x="35605" y="116612"/>
                      <a:pt x="33554" y="116612"/>
                    </a:cubicBezTo>
                    <a:lnTo>
                      <a:pt x="3000" y="116612"/>
                    </a:lnTo>
                    <a:cubicBezTo>
                      <a:pt x="621" y="116612"/>
                      <a:pt x="-814" y="114138"/>
                      <a:pt x="498" y="112265"/>
                    </a:cubicBezTo>
                    <a:lnTo>
                      <a:pt x="36753" y="58306"/>
                    </a:lnTo>
                    <a:lnTo>
                      <a:pt x="498" y="4347"/>
                    </a:lnTo>
                    <a:cubicBezTo>
                      <a:pt x="-814" y="2488"/>
                      <a:pt x="621" y="0"/>
                      <a:pt x="3000" y="0"/>
                    </a:cubicBezTo>
                    <a:lnTo>
                      <a:pt x="34853" y="0"/>
                    </a:lnTo>
                    <a:cubicBezTo>
                      <a:pt x="36042" y="0"/>
                      <a:pt x="37149" y="547"/>
                      <a:pt x="37778" y="1449"/>
                    </a:cubicBezTo>
                    <a:lnTo>
                      <a:pt x="59679" y="34806"/>
                    </a:lnTo>
                    <a:lnTo>
                      <a:pt x="80240" y="1463"/>
                    </a:lnTo>
                    <a:cubicBezTo>
                      <a:pt x="80855" y="561"/>
                      <a:pt x="81976" y="0"/>
                      <a:pt x="83165" y="0"/>
                    </a:cubicBezTo>
                    <a:lnTo>
                      <a:pt x="115333" y="0"/>
                    </a:lnTo>
                    <a:cubicBezTo>
                      <a:pt x="117711" y="0"/>
                      <a:pt x="119133" y="2474"/>
                      <a:pt x="117834" y="4334"/>
                    </a:cubicBezTo>
                    <a:lnTo>
                      <a:pt x="82495" y="58306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" name="Freeform: Shape 14">
                <a:extLst>
                  <a:ext uri="{FF2B5EF4-FFF2-40B4-BE49-F238E27FC236}">
                    <a16:creationId xmlns:a16="http://schemas.microsoft.com/office/drawing/2014/main" id="{C24E84BD-320E-B50B-6F30-33428A2E1585}"/>
                  </a:ext>
                </a:extLst>
              </p:cNvPr>
              <p:cNvSpPr/>
              <p:nvPr/>
            </p:nvSpPr>
            <p:spPr>
              <a:xfrm>
                <a:off x="11284928" y="6472473"/>
                <a:ext cx="78825" cy="163762"/>
              </a:xfrm>
              <a:custGeom>
                <a:avLst/>
                <a:gdLst>
                  <a:gd name="connsiteX0" fmla="*/ 75722 w 78825"/>
                  <a:gd name="connsiteY0" fmla="*/ 14 h 163762"/>
                  <a:gd name="connsiteX1" fmla="*/ 50377 w 78825"/>
                  <a:gd name="connsiteY1" fmla="*/ 14 h 163762"/>
                  <a:gd name="connsiteX2" fmla="*/ 43801 w 78825"/>
                  <a:gd name="connsiteY2" fmla="*/ 2734 h 163762"/>
                  <a:gd name="connsiteX3" fmla="*/ 19987 w 78825"/>
                  <a:gd name="connsiteY3" fmla="*/ 26549 h 163762"/>
                  <a:gd name="connsiteX4" fmla="*/ 17266 w 78825"/>
                  <a:gd name="connsiteY4" fmla="*/ 33124 h 163762"/>
                  <a:gd name="connsiteX5" fmla="*/ 17266 w 78825"/>
                  <a:gd name="connsiteY5" fmla="*/ 51867 h 163762"/>
                  <a:gd name="connsiteX6" fmla="*/ 3049 w 78825"/>
                  <a:gd name="connsiteY6" fmla="*/ 51867 h 163762"/>
                  <a:gd name="connsiteX7" fmla="*/ 0 w 78825"/>
                  <a:gd name="connsiteY7" fmla="*/ 54916 h 163762"/>
                  <a:gd name="connsiteX8" fmla="*/ 0 w 78825"/>
                  <a:gd name="connsiteY8" fmla="*/ 75955 h 163762"/>
                  <a:gd name="connsiteX9" fmla="*/ 3049 w 78825"/>
                  <a:gd name="connsiteY9" fmla="*/ 79004 h 163762"/>
                  <a:gd name="connsiteX10" fmla="*/ 17266 w 78825"/>
                  <a:gd name="connsiteY10" fmla="*/ 79004 h 163762"/>
                  <a:gd name="connsiteX11" fmla="*/ 17266 w 78825"/>
                  <a:gd name="connsiteY11" fmla="*/ 160659 h 163762"/>
                  <a:gd name="connsiteX12" fmla="*/ 20369 w 78825"/>
                  <a:gd name="connsiteY12" fmla="*/ 163763 h 163762"/>
                  <a:gd name="connsiteX13" fmla="*/ 47109 w 78825"/>
                  <a:gd name="connsiteY13" fmla="*/ 163763 h 163762"/>
                  <a:gd name="connsiteX14" fmla="*/ 50213 w 78825"/>
                  <a:gd name="connsiteY14" fmla="*/ 160659 h 163762"/>
                  <a:gd name="connsiteX15" fmla="*/ 50213 w 78825"/>
                  <a:gd name="connsiteY15" fmla="*/ 78990 h 163762"/>
                  <a:gd name="connsiteX16" fmla="*/ 71443 w 78825"/>
                  <a:gd name="connsiteY16" fmla="*/ 78990 h 163762"/>
                  <a:gd name="connsiteX17" fmla="*/ 74492 w 78825"/>
                  <a:gd name="connsiteY17" fmla="*/ 75941 h 163762"/>
                  <a:gd name="connsiteX18" fmla="*/ 74492 w 78825"/>
                  <a:gd name="connsiteY18" fmla="*/ 54902 h 163762"/>
                  <a:gd name="connsiteX19" fmla="*/ 71443 w 78825"/>
                  <a:gd name="connsiteY19" fmla="*/ 51853 h 163762"/>
                  <a:gd name="connsiteX20" fmla="*/ 50213 w 78825"/>
                  <a:gd name="connsiteY20" fmla="*/ 51853 h 163762"/>
                  <a:gd name="connsiteX21" fmla="*/ 50213 w 78825"/>
                  <a:gd name="connsiteY21" fmla="*/ 38565 h 163762"/>
                  <a:gd name="connsiteX22" fmla="*/ 59509 w 78825"/>
                  <a:gd name="connsiteY22" fmla="*/ 29269 h 163762"/>
                  <a:gd name="connsiteX23" fmla="*/ 75722 w 78825"/>
                  <a:gd name="connsiteY23" fmla="*/ 29269 h 163762"/>
                  <a:gd name="connsiteX24" fmla="*/ 78826 w 78825"/>
                  <a:gd name="connsiteY24" fmla="*/ 26166 h 163762"/>
                  <a:gd name="connsiteX25" fmla="*/ 78826 w 78825"/>
                  <a:gd name="connsiteY25" fmla="*/ 3103 h 163762"/>
                  <a:gd name="connsiteX26" fmla="*/ 75722 w 78825"/>
                  <a:gd name="connsiteY26" fmla="*/ 0 h 163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78825" h="163762">
                    <a:moveTo>
                      <a:pt x="75722" y="14"/>
                    </a:moveTo>
                    <a:lnTo>
                      <a:pt x="50377" y="14"/>
                    </a:lnTo>
                    <a:cubicBezTo>
                      <a:pt x="47916" y="14"/>
                      <a:pt x="45551" y="998"/>
                      <a:pt x="43801" y="2734"/>
                    </a:cubicBezTo>
                    <a:lnTo>
                      <a:pt x="19987" y="26549"/>
                    </a:lnTo>
                    <a:cubicBezTo>
                      <a:pt x="18237" y="28299"/>
                      <a:pt x="17266" y="30664"/>
                      <a:pt x="17266" y="33124"/>
                    </a:cubicBezTo>
                    <a:lnTo>
                      <a:pt x="17266" y="51867"/>
                    </a:lnTo>
                    <a:lnTo>
                      <a:pt x="3049" y="51867"/>
                    </a:lnTo>
                    <a:cubicBezTo>
                      <a:pt x="1367" y="51867"/>
                      <a:pt x="0" y="53234"/>
                      <a:pt x="0" y="54916"/>
                    </a:cubicBezTo>
                    <a:lnTo>
                      <a:pt x="0" y="75955"/>
                    </a:lnTo>
                    <a:cubicBezTo>
                      <a:pt x="0" y="77636"/>
                      <a:pt x="1367" y="79004"/>
                      <a:pt x="3049" y="79004"/>
                    </a:cubicBezTo>
                    <a:lnTo>
                      <a:pt x="17266" y="79004"/>
                    </a:lnTo>
                    <a:lnTo>
                      <a:pt x="17266" y="160659"/>
                    </a:lnTo>
                    <a:cubicBezTo>
                      <a:pt x="17266" y="162368"/>
                      <a:pt x="18661" y="163763"/>
                      <a:pt x="20369" y="163763"/>
                    </a:cubicBezTo>
                    <a:lnTo>
                      <a:pt x="47109" y="163763"/>
                    </a:lnTo>
                    <a:cubicBezTo>
                      <a:pt x="48818" y="163763"/>
                      <a:pt x="50213" y="162368"/>
                      <a:pt x="50213" y="160659"/>
                    </a:cubicBezTo>
                    <a:lnTo>
                      <a:pt x="50213" y="78990"/>
                    </a:lnTo>
                    <a:lnTo>
                      <a:pt x="71443" y="78990"/>
                    </a:lnTo>
                    <a:cubicBezTo>
                      <a:pt x="73125" y="78990"/>
                      <a:pt x="74492" y="77623"/>
                      <a:pt x="74492" y="75941"/>
                    </a:cubicBezTo>
                    <a:lnTo>
                      <a:pt x="74492" y="54902"/>
                    </a:lnTo>
                    <a:cubicBezTo>
                      <a:pt x="74492" y="53220"/>
                      <a:pt x="73125" y="51853"/>
                      <a:pt x="71443" y="51853"/>
                    </a:cubicBezTo>
                    <a:lnTo>
                      <a:pt x="50213" y="51853"/>
                    </a:lnTo>
                    <a:lnTo>
                      <a:pt x="50213" y="38565"/>
                    </a:lnTo>
                    <a:cubicBezTo>
                      <a:pt x="50213" y="33425"/>
                      <a:pt x="54382" y="29269"/>
                      <a:pt x="59509" y="29269"/>
                    </a:cubicBezTo>
                    <a:lnTo>
                      <a:pt x="75722" y="29269"/>
                    </a:lnTo>
                    <a:cubicBezTo>
                      <a:pt x="77431" y="29269"/>
                      <a:pt x="78826" y="27875"/>
                      <a:pt x="78826" y="26166"/>
                    </a:cubicBezTo>
                    <a:lnTo>
                      <a:pt x="78826" y="3103"/>
                    </a:lnTo>
                    <a:cubicBezTo>
                      <a:pt x="78826" y="1394"/>
                      <a:pt x="77431" y="0"/>
                      <a:pt x="75722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" name="Freeform: Shape 15">
                <a:extLst>
                  <a:ext uri="{FF2B5EF4-FFF2-40B4-BE49-F238E27FC236}">
                    <a16:creationId xmlns:a16="http://schemas.microsoft.com/office/drawing/2014/main" id="{062D7EDD-6EA0-F637-0CDE-A77A12ABDB77}"/>
                  </a:ext>
                </a:extLst>
              </p:cNvPr>
              <p:cNvSpPr/>
              <p:nvPr/>
            </p:nvSpPr>
            <p:spPr>
              <a:xfrm>
                <a:off x="11896791" y="6612367"/>
                <a:ext cx="25659" cy="25660"/>
              </a:xfrm>
              <a:custGeom>
                <a:avLst/>
                <a:gdLst>
                  <a:gd name="connsiteX0" fmla="*/ 25660 w 25659"/>
                  <a:gd name="connsiteY0" fmla="*/ 12810 h 25660"/>
                  <a:gd name="connsiteX1" fmla="*/ 12782 w 25659"/>
                  <a:gd name="connsiteY1" fmla="*/ 25660 h 25660"/>
                  <a:gd name="connsiteX2" fmla="*/ 0 w 25659"/>
                  <a:gd name="connsiteY2" fmla="*/ 12810 h 25660"/>
                  <a:gd name="connsiteX3" fmla="*/ 12823 w 25659"/>
                  <a:gd name="connsiteY3" fmla="*/ 0 h 25660"/>
                  <a:gd name="connsiteX4" fmla="*/ 25646 w 25659"/>
                  <a:gd name="connsiteY4" fmla="*/ 12810 h 25660"/>
                  <a:gd name="connsiteX5" fmla="*/ 23691 w 25659"/>
                  <a:gd name="connsiteY5" fmla="*/ 12864 h 25660"/>
                  <a:gd name="connsiteX6" fmla="*/ 12837 w 25659"/>
                  <a:gd name="connsiteY6" fmla="*/ 1832 h 25660"/>
                  <a:gd name="connsiteX7" fmla="*/ 1982 w 25659"/>
                  <a:gd name="connsiteY7" fmla="*/ 12851 h 25660"/>
                  <a:gd name="connsiteX8" fmla="*/ 12782 w 25659"/>
                  <a:gd name="connsiteY8" fmla="*/ 23856 h 25660"/>
                  <a:gd name="connsiteX9" fmla="*/ 23691 w 25659"/>
                  <a:gd name="connsiteY9" fmla="*/ 12864 h 25660"/>
                  <a:gd name="connsiteX10" fmla="*/ 15585 w 25659"/>
                  <a:gd name="connsiteY10" fmla="*/ 14888 h 25660"/>
                  <a:gd name="connsiteX11" fmla="*/ 18811 w 25659"/>
                  <a:gd name="connsiteY11" fmla="*/ 19905 h 25660"/>
                  <a:gd name="connsiteX12" fmla="*/ 16678 w 25659"/>
                  <a:gd name="connsiteY12" fmla="*/ 19905 h 25660"/>
                  <a:gd name="connsiteX13" fmla="*/ 13097 w 25659"/>
                  <a:gd name="connsiteY13" fmla="*/ 14218 h 25660"/>
                  <a:gd name="connsiteX14" fmla="*/ 9829 w 25659"/>
                  <a:gd name="connsiteY14" fmla="*/ 14218 h 25660"/>
                  <a:gd name="connsiteX15" fmla="*/ 9829 w 25659"/>
                  <a:gd name="connsiteY15" fmla="*/ 19905 h 25660"/>
                  <a:gd name="connsiteX16" fmla="*/ 8038 w 25659"/>
                  <a:gd name="connsiteY16" fmla="*/ 19905 h 25660"/>
                  <a:gd name="connsiteX17" fmla="*/ 8038 w 25659"/>
                  <a:gd name="connsiteY17" fmla="*/ 5523 h 25660"/>
                  <a:gd name="connsiteX18" fmla="*/ 13616 w 25659"/>
                  <a:gd name="connsiteY18" fmla="*/ 5523 h 25660"/>
                  <a:gd name="connsiteX19" fmla="*/ 18155 w 25659"/>
                  <a:gd name="connsiteY19" fmla="*/ 9761 h 25660"/>
                  <a:gd name="connsiteX20" fmla="*/ 14887 w 25659"/>
                  <a:gd name="connsiteY20" fmla="*/ 13917 h 25660"/>
                  <a:gd name="connsiteX21" fmla="*/ 15585 w 25659"/>
                  <a:gd name="connsiteY21" fmla="*/ 14901 h 25660"/>
                  <a:gd name="connsiteX22" fmla="*/ 13015 w 25659"/>
                  <a:gd name="connsiteY22" fmla="*/ 12522 h 25660"/>
                  <a:gd name="connsiteX23" fmla="*/ 16282 w 25659"/>
                  <a:gd name="connsiteY23" fmla="*/ 9870 h 25660"/>
                  <a:gd name="connsiteX24" fmla="*/ 13657 w 25659"/>
                  <a:gd name="connsiteY24" fmla="*/ 7191 h 25660"/>
                  <a:gd name="connsiteX25" fmla="*/ 9816 w 25659"/>
                  <a:gd name="connsiteY25" fmla="*/ 7191 h 25660"/>
                  <a:gd name="connsiteX26" fmla="*/ 9816 w 25659"/>
                  <a:gd name="connsiteY26" fmla="*/ 12509 h 25660"/>
                  <a:gd name="connsiteX27" fmla="*/ 13015 w 25659"/>
                  <a:gd name="connsiteY27" fmla="*/ 12509 h 25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25659" h="25660">
                    <a:moveTo>
                      <a:pt x="25660" y="12810"/>
                    </a:moveTo>
                    <a:cubicBezTo>
                      <a:pt x="25660" y="19946"/>
                      <a:pt x="19946" y="25660"/>
                      <a:pt x="12782" y="25660"/>
                    </a:cubicBezTo>
                    <a:cubicBezTo>
                      <a:pt x="5619" y="25660"/>
                      <a:pt x="0" y="19891"/>
                      <a:pt x="0" y="12810"/>
                    </a:cubicBezTo>
                    <a:cubicBezTo>
                      <a:pt x="0" y="5728"/>
                      <a:pt x="5714" y="0"/>
                      <a:pt x="12823" y="0"/>
                    </a:cubicBezTo>
                    <a:cubicBezTo>
                      <a:pt x="19932" y="0"/>
                      <a:pt x="25646" y="5687"/>
                      <a:pt x="25646" y="12810"/>
                    </a:cubicBezTo>
                    <a:close/>
                    <a:moveTo>
                      <a:pt x="23691" y="12864"/>
                    </a:moveTo>
                    <a:cubicBezTo>
                      <a:pt x="23691" y="6712"/>
                      <a:pt x="18838" y="1832"/>
                      <a:pt x="12837" y="1832"/>
                    </a:cubicBezTo>
                    <a:cubicBezTo>
                      <a:pt x="6835" y="1832"/>
                      <a:pt x="1982" y="6658"/>
                      <a:pt x="1982" y="12851"/>
                    </a:cubicBezTo>
                    <a:cubicBezTo>
                      <a:pt x="1982" y="19043"/>
                      <a:pt x="6890" y="23856"/>
                      <a:pt x="12782" y="23856"/>
                    </a:cubicBezTo>
                    <a:cubicBezTo>
                      <a:pt x="18674" y="23856"/>
                      <a:pt x="23691" y="19002"/>
                      <a:pt x="23691" y="12864"/>
                    </a:cubicBezTo>
                    <a:close/>
                    <a:moveTo>
                      <a:pt x="15585" y="14888"/>
                    </a:moveTo>
                    <a:lnTo>
                      <a:pt x="18811" y="19905"/>
                    </a:lnTo>
                    <a:lnTo>
                      <a:pt x="16678" y="19905"/>
                    </a:lnTo>
                    <a:lnTo>
                      <a:pt x="13097" y="14218"/>
                    </a:lnTo>
                    <a:lnTo>
                      <a:pt x="9829" y="14218"/>
                    </a:lnTo>
                    <a:lnTo>
                      <a:pt x="9829" y="19905"/>
                    </a:lnTo>
                    <a:lnTo>
                      <a:pt x="8038" y="19905"/>
                    </a:lnTo>
                    <a:lnTo>
                      <a:pt x="8038" y="5523"/>
                    </a:lnTo>
                    <a:lnTo>
                      <a:pt x="13616" y="5523"/>
                    </a:lnTo>
                    <a:cubicBezTo>
                      <a:pt x="16364" y="5523"/>
                      <a:pt x="18155" y="6999"/>
                      <a:pt x="18155" y="9761"/>
                    </a:cubicBezTo>
                    <a:cubicBezTo>
                      <a:pt x="18155" y="11989"/>
                      <a:pt x="16801" y="13370"/>
                      <a:pt x="14887" y="13917"/>
                    </a:cubicBezTo>
                    <a:cubicBezTo>
                      <a:pt x="15147" y="14204"/>
                      <a:pt x="15407" y="14559"/>
                      <a:pt x="15585" y="14901"/>
                    </a:cubicBezTo>
                    <a:close/>
                    <a:moveTo>
                      <a:pt x="13015" y="12522"/>
                    </a:moveTo>
                    <a:cubicBezTo>
                      <a:pt x="15038" y="12522"/>
                      <a:pt x="16282" y="11565"/>
                      <a:pt x="16282" y="9870"/>
                    </a:cubicBezTo>
                    <a:cubicBezTo>
                      <a:pt x="16282" y="8175"/>
                      <a:pt x="15421" y="7191"/>
                      <a:pt x="13657" y="7191"/>
                    </a:cubicBezTo>
                    <a:lnTo>
                      <a:pt x="9816" y="7191"/>
                    </a:lnTo>
                    <a:lnTo>
                      <a:pt x="9816" y="12509"/>
                    </a:lnTo>
                    <a:lnTo>
                      <a:pt x="13015" y="12509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" name="Freeform: Shape 16">
                <a:extLst>
                  <a:ext uri="{FF2B5EF4-FFF2-40B4-BE49-F238E27FC236}">
                    <a16:creationId xmlns:a16="http://schemas.microsoft.com/office/drawing/2014/main" id="{7D11AFB0-4ED3-B822-FEE8-4111BCA66D32}"/>
                  </a:ext>
                </a:extLst>
              </p:cNvPr>
              <p:cNvSpPr/>
              <p:nvPr/>
            </p:nvSpPr>
            <p:spPr>
              <a:xfrm>
                <a:off x="11620956" y="6472487"/>
                <a:ext cx="32932" cy="163721"/>
              </a:xfrm>
              <a:custGeom>
                <a:avLst/>
                <a:gdLst>
                  <a:gd name="connsiteX0" fmla="*/ 29830 w 32932"/>
                  <a:gd name="connsiteY0" fmla="*/ 0 h 163721"/>
                  <a:gd name="connsiteX1" fmla="*/ 32933 w 32932"/>
                  <a:gd name="connsiteY1" fmla="*/ 3103 h 163721"/>
                  <a:gd name="connsiteX2" fmla="*/ 32933 w 32932"/>
                  <a:gd name="connsiteY2" fmla="*/ 160618 h 163721"/>
                  <a:gd name="connsiteX3" fmla="*/ 29830 w 32932"/>
                  <a:gd name="connsiteY3" fmla="*/ 163722 h 163721"/>
                  <a:gd name="connsiteX4" fmla="*/ 3103 w 32932"/>
                  <a:gd name="connsiteY4" fmla="*/ 163722 h 163721"/>
                  <a:gd name="connsiteX5" fmla="*/ 0 w 32932"/>
                  <a:gd name="connsiteY5" fmla="*/ 160618 h 163721"/>
                  <a:gd name="connsiteX6" fmla="*/ 0 w 32932"/>
                  <a:gd name="connsiteY6" fmla="*/ 3103 h 163721"/>
                  <a:gd name="connsiteX7" fmla="*/ 3103 w 32932"/>
                  <a:gd name="connsiteY7" fmla="*/ 0 h 163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2932" h="163721">
                    <a:moveTo>
                      <a:pt x="29830" y="0"/>
                    </a:moveTo>
                    <a:cubicBezTo>
                      <a:pt x="31544" y="0"/>
                      <a:pt x="32933" y="1389"/>
                      <a:pt x="32933" y="3103"/>
                    </a:cubicBezTo>
                    <a:lnTo>
                      <a:pt x="32933" y="160618"/>
                    </a:lnTo>
                    <a:cubicBezTo>
                      <a:pt x="32933" y="162332"/>
                      <a:pt x="31543" y="163722"/>
                      <a:pt x="29830" y="163722"/>
                    </a:cubicBezTo>
                    <a:lnTo>
                      <a:pt x="3103" y="163722"/>
                    </a:lnTo>
                    <a:cubicBezTo>
                      <a:pt x="1389" y="163722"/>
                      <a:pt x="0" y="162332"/>
                      <a:pt x="0" y="160618"/>
                    </a:cubicBezTo>
                    <a:lnTo>
                      <a:pt x="0" y="3103"/>
                    </a:lnTo>
                    <a:cubicBezTo>
                      <a:pt x="0" y="1389"/>
                      <a:pt x="1389" y="0"/>
                      <a:pt x="3103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" name="Freeform: Shape 17">
                <a:extLst>
                  <a:ext uri="{FF2B5EF4-FFF2-40B4-BE49-F238E27FC236}">
                    <a16:creationId xmlns:a16="http://schemas.microsoft.com/office/drawing/2014/main" id="{76E093FA-5C9F-860B-D1AD-7B3BFDA48469}"/>
                  </a:ext>
                </a:extLst>
              </p:cNvPr>
              <p:cNvSpPr/>
              <p:nvPr/>
            </p:nvSpPr>
            <p:spPr>
              <a:xfrm>
                <a:off x="11488486" y="6472473"/>
                <a:ext cx="123638" cy="166086"/>
              </a:xfrm>
              <a:custGeom>
                <a:avLst/>
                <a:gdLst>
                  <a:gd name="connsiteX0" fmla="*/ 68737 w 123638"/>
                  <a:gd name="connsiteY0" fmla="*/ 44663 h 166086"/>
                  <a:gd name="connsiteX1" fmla="*/ 32947 w 123638"/>
                  <a:gd name="connsiteY1" fmla="*/ 62052 h 166086"/>
                  <a:gd name="connsiteX2" fmla="*/ 32947 w 123638"/>
                  <a:gd name="connsiteY2" fmla="*/ 3103 h 166086"/>
                  <a:gd name="connsiteX3" fmla="*/ 29843 w 123638"/>
                  <a:gd name="connsiteY3" fmla="*/ 0 h 166086"/>
                  <a:gd name="connsiteX4" fmla="*/ 3103 w 123638"/>
                  <a:gd name="connsiteY4" fmla="*/ 0 h 166086"/>
                  <a:gd name="connsiteX5" fmla="*/ 0 w 123638"/>
                  <a:gd name="connsiteY5" fmla="*/ 3103 h 166086"/>
                  <a:gd name="connsiteX6" fmla="*/ 0 w 123638"/>
                  <a:gd name="connsiteY6" fmla="*/ 160632 h 166086"/>
                  <a:gd name="connsiteX7" fmla="*/ 3103 w 123638"/>
                  <a:gd name="connsiteY7" fmla="*/ 163735 h 166086"/>
                  <a:gd name="connsiteX8" fmla="*/ 29843 w 123638"/>
                  <a:gd name="connsiteY8" fmla="*/ 163735 h 166086"/>
                  <a:gd name="connsiteX9" fmla="*/ 32947 w 123638"/>
                  <a:gd name="connsiteY9" fmla="*/ 160632 h 166086"/>
                  <a:gd name="connsiteX10" fmla="*/ 32947 w 123638"/>
                  <a:gd name="connsiteY10" fmla="*/ 149025 h 166086"/>
                  <a:gd name="connsiteX11" fmla="*/ 68983 w 123638"/>
                  <a:gd name="connsiteY11" fmla="*/ 166087 h 166086"/>
                  <a:gd name="connsiteX12" fmla="*/ 123638 w 123638"/>
                  <a:gd name="connsiteY12" fmla="*/ 105539 h 166086"/>
                  <a:gd name="connsiteX13" fmla="*/ 68750 w 123638"/>
                  <a:gd name="connsiteY13" fmla="*/ 44663 h 166086"/>
                  <a:gd name="connsiteX14" fmla="*/ 62188 w 123638"/>
                  <a:gd name="connsiteY14" fmla="*/ 135163 h 166086"/>
                  <a:gd name="connsiteX15" fmla="*/ 32947 w 123638"/>
                  <a:gd name="connsiteY15" fmla="*/ 105552 h 166086"/>
                  <a:gd name="connsiteX16" fmla="*/ 62188 w 123638"/>
                  <a:gd name="connsiteY16" fmla="*/ 76174 h 166086"/>
                  <a:gd name="connsiteX17" fmla="*/ 90965 w 123638"/>
                  <a:gd name="connsiteY17" fmla="*/ 105552 h 166086"/>
                  <a:gd name="connsiteX18" fmla="*/ 62188 w 123638"/>
                  <a:gd name="connsiteY18" fmla="*/ 135163 h 166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23638" h="166086">
                    <a:moveTo>
                      <a:pt x="68737" y="44663"/>
                    </a:moveTo>
                    <a:cubicBezTo>
                      <a:pt x="53535" y="44663"/>
                      <a:pt x="40889" y="51252"/>
                      <a:pt x="32947" y="62052"/>
                    </a:cubicBezTo>
                    <a:lnTo>
                      <a:pt x="32947" y="3103"/>
                    </a:lnTo>
                    <a:cubicBezTo>
                      <a:pt x="32947" y="1394"/>
                      <a:pt x="31552" y="0"/>
                      <a:pt x="29843" y="0"/>
                    </a:cubicBezTo>
                    <a:lnTo>
                      <a:pt x="3103" y="0"/>
                    </a:lnTo>
                    <a:cubicBezTo>
                      <a:pt x="1394" y="0"/>
                      <a:pt x="0" y="1394"/>
                      <a:pt x="0" y="3103"/>
                    </a:cubicBezTo>
                    <a:lnTo>
                      <a:pt x="0" y="160632"/>
                    </a:lnTo>
                    <a:cubicBezTo>
                      <a:pt x="0" y="162341"/>
                      <a:pt x="1394" y="163735"/>
                      <a:pt x="3103" y="163735"/>
                    </a:cubicBezTo>
                    <a:lnTo>
                      <a:pt x="29843" y="163735"/>
                    </a:lnTo>
                    <a:cubicBezTo>
                      <a:pt x="31552" y="163735"/>
                      <a:pt x="32947" y="162341"/>
                      <a:pt x="32947" y="160632"/>
                    </a:cubicBezTo>
                    <a:lnTo>
                      <a:pt x="32947" y="149025"/>
                    </a:lnTo>
                    <a:cubicBezTo>
                      <a:pt x="40903" y="159839"/>
                      <a:pt x="53535" y="166087"/>
                      <a:pt x="68983" y="166087"/>
                    </a:cubicBezTo>
                    <a:cubicBezTo>
                      <a:pt x="101505" y="166087"/>
                      <a:pt x="123638" y="139852"/>
                      <a:pt x="123638" y="105539"/>
                    </a:cubicBezTo>
                    <a:cubicBezTo>
                      <a:pt x="123638" y="71225"/>
                      <a:pt x="101505" y="44663"/>
                      <a:pt x="68750" y="44663"/>
                    </a:cubicBezTo>
                    <a:close/>
                    <a:moveTo>
                      <a:pt x="62188" y="135163"/>
                    </a:moveTo>
                    <a:cubicBezTo>
                      <a:pt x="45346" y="135163"/>
                      <a:pt x="32947" y="121533"/>
                      <a:pt x="32947" y="105552"/>
                    </a:cubicBezTo>
                    <a:cubicBezTo>
                      <a:pt x="32947" y="89571"/>
                      <a:pt x="45346" y="76174"/>
                      <a:pt x="62188" y="76174"/>
                    </a:cubicBezTo>
                    <a:cubicBezTo>
                      <a:pt x="79031" y="76174"/>
                      <a:pt x="90965" y="89571"/>
                      <a:pt x="90965" y="105552"/>
                    </a:cubicBezTo>
                    <a:cubicBezTo>
                      <a:pt x="90965" y="121533"/>
                      <a:pt x="78798" y="135163"/>
                      <a:pt x="62188" y="13516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" name="Freeform: Shape 18">
                <a:extLst>
                  <a:ext uri="{FF2B5EF4-FFF2-40B4-BE49-F238E27FC236}">
                    <a16:creationId xmlns:a16="http://schemas.microsoft.com/office/drawing/2014/main" id="{5A5F8F02-88E9-5E6C-317F-1DB444B42188}"/>
                  </a:ext>
                </a:extLst>
              </p:cNvPr>
              <p:cNvSpPr/>
              <p:nvPr/>
            </p:nvSpPr>
            <p:spPr>
              <a:xfrm>
                <a:off x="11359421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" name="Freeform: Shape 19">
                <a:extLst>
                  <a:ext uri="{FF2B5EF4-FFF2-40B4-BE49-F238E27FC236}">
                    <a16:creationId xmlns:a16="http://schemas.microsoft.com/office/drawing/2014/main" id="{CB1F4B3A-A732-2909-1B70-F4703F6A838A}"/>
                  </a:ext>
                </a:extLst>
              </p:cNvPr>
              <p:cNvSpPr/>
              <p:nvPr/>
            </p:nvSpPr>
            <p:spPr>
              <a:xfrm>
                <a:off x="11662542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" name="Freeform: Shape 20">
                <a:extLst>
                  <a:ext uri="{FF2B5EF4-FFF2-40B4-BE49-F238E27FC236}">
                    <a16:creationId xmlns:a16="http://schemas.microsoft.com/office/drawing/2014/main" id="{78B8C343-E4CF-3267-10DF-542F5F0CCEB2}"/>
                  </a:ext>
                </a:extLst>
              </p:cNvPr>
              <p:cNvSpPr/>
              <p:nvPr/>
            </p:nvSpPr>
            <p:spPr>
              <a:xfrm>
                <a:off x="11122821" y="6519528"/>
                <a:ext cx="32932" cy="116680"/>
              </a:xfrm>
              <a:custGeom>
                <a:avLst/>
                <a:gdLst>
                  <a:gd name="connsiteX0" fmla="*/ 29843 w 32932"/>
                  <a:gd name="connsiteY0" fmla="*/ 116680 h 116680"/>
                  <a:gd name="connsiteX1" fmla="*/ 3103 w 32932"/>
                  <a:gd name="connsiteY1" fmla="*/ 116680 h 116680"/>
                  <a:gd name="connsiteX2" fmla="*/ 0 w 32932"/>
                  <a:gd name="connsiteY2" fmla="*/ 113577 h 116680"/>
                  <a:gd name="connsiteX3" fmla="*/ 0 w 32932"/>
                  <a:gd name="connsiteY3" fmla="*/ 30554 h 116680"/>
                  <a:gd name="connsiteX4" fmla="*/ 1859 w 32932"/>
                  <a:gd name="connsiteY4" fmla="*/ 26125 h 116680"/>
                  <a:gd name="connsiteX5" fmla="*/ 27670 w 32932"/>
                  <a:gd name="connsiteY5" fmla="*/ 888 h 116680"/>
                  <a:gd name="connsiteX6" fmla="*/ 32933 w 32932"/>
                  <a:gd name="connsiteY6" fmla="*/ 3103 h 116680"/>
                  <a:gd name="connsiteX7" fmla="*/ 32933 w 32932"/>
                  <a:gd name="connsiteY7" fmla="*/ 113577 h 116680"/>
                  <a:gd name="connsiteX8" fmla="*/ 29830 w 32932"/>
                  <a:gd name="connsiteY8" fmla="*/ 116680 h 116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932" h="116680">
                    <a:moveTo>
                      <a:pt x="29843" y="116680"/>
                    </a:moveTo>
                    <a:lnTo>
                      <a:pt x="3103" y="116680"/>
                    </a:lnTo>
                    <a:cubicBezTo>
                      <a:pt x="1394" y="116680"/>
                      <a:pt x="0" y="115286"/>
                      <a:pt x="0" y="113577"/>
                    </a:cubicBezTo>
                    <a:lnTo>
                      <a:pt x="0" y="30554"/>
                    </a:lnTo>
                    <a:cubicBezTo>
                      <a:pt x="0" y="28886"/>
                      <a:pt x="670" y="27287"/>
                      <a:pt x="1859" y="26125"/>
                    </a:cubicBezTo>
                    <a:lnTo>
                      <a:pt x="27670" y="888"/>
                    </a:lnTo>
                    <a:cubicBezTo>
                      <a:pt x="29638" y="-1026"/>
                      <a:pt x="32933" y="355"/>
                      <a:pt x="32933" y="3103"/>
                    </a:cubicBezTo>
                    <a:lnTo>
                      <a:pt x="32933" y="113577"/>
                    </a:lnTo>
                    <a:cubicBezTo>
                      <a:pt x="32933" y="115286"/>
                      <a:pt x="31538" y="116680"/>
                      <a:pt x="29830" y="11668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" name="Freeform: Shape 21">
                <a:extLst>
                  <a:ext uri="{FF2B5EF4-FFF2-40B4-BE49-F238E27FC236}">
                    <a16:creationId xmlns:a16="http://schemas.microsoft.com/office/drawing/2014/main" id="{4FE543A3-3FFA-9667-B009-2C886F2E1CC0}"/>
                  </a:ext>
                </a:extLst>
              </p:cNvPr>
              <p:cNvSpPr/>
              <p:nvPr/>
            </p:nvSpPr>
            <p:spPr>
              <a:xfrm>
                <a:off x="11173074" y="6517105"/>
                <a:ext cx="107493" cy="119116"/>
              </a:xfrm>
              <a:custGeom>
                <a:avLst/>
                <a:gdLst>
                  <a:gd name="connsiteX0" fmla="*/ 107480 w 107493"/>
                  <a:gd name="connsiteY0" fmla="*/ 41877 h 119116"/>
                  <a:gd name="connsiteX1" fmla="*/ 65237 w 107493"/>
                  <a:gd name="connsiteY1" fmla="*/ 3 h 119116"/>
                  <a:gd name="connsiteX2" fmla="*/ 32947 w 107493"/>
                  <a:gd name="connsiteY2" fmla="*/ 17474 h 119116"/>
                  <a:gd name="connsiteX3" fmla="*/ 32947 w 107493"/>
                  <a:gd name="connsiteY3" fmla="*/ 5581 h 119116"/>
                  <a:gd name="connsiteX4" fmla="*/ 29843 w 107493"/>
                  <a:gd name="connsiteY4" fmla="*/ 2478 h 119116"/>
                  <a:gd name="connsiteX5" fmla="*/ 3103 w 107493"/>
                  <a:gd name="connsiteY5" fmla="*/ 2478 h 119116"/>
                  <a:gd name="connsiteX6" fmla="*/ 0 w 107493"/>
                  <a:gd name="connsiteY6" fmla="*/ 5581 h 119116"/>
                  <a:gd name="connsiteX7" fmla="*/ 0 w 107493"/>
                  <a:gd name="connsiteY7" fmla="*/ 116000 h 119116"/>
                  <a:gd name="connsiteX8" fmla="*/ 3103 w 107493"/>
                  <a:gd name="connsiteY8" fmla="*/ 119103 h 119116"/>
                  <a:gd name="connsiteX9" fmla="*/ 29843 w 107493"/>
                  <a:gd name="connsiteY9" fmla="*/ 119103 h 119116"/>
                  <a:gd name="connsiteX10" fmla="*/ 32947 w 107493"/>
                  <a:gd name="connsiteY10" fmla="*/ 116000 h 119116"/>
                  <a:gd name="connsiteX11" fmla="*/ 32947 w 107493"/>
                  <a:gd name="connsiteY11" fmla="*/ 51788 h 119116"/>
                  <a:gd name="connsiteX12" fmla="*/ 53740 w 107493"/>
                  <a:gd name="connsiteY12" fmla="*/ 31747 h 119116"/>
                  <a:gd name="connsiteX13" fmla="*/ 74547 w 107493"/>
                  <a:gd name="connsiteY13" fmla="*/ 53210 h 119116"/>
                  <a:gd name="connsiteX14" fmla="*/ 74547 w 107493"/>
                  <a:gd name="connsiteY14" fmla="*/ 116014 h 119116"/>
                  <a:gd name="connsiteX15" fmla="*/ 77650 w 107493"/>
                  <a:gd name="connsiteY15" fmla="*/ 119117 h 119116"/>
                  <a:gd name="connsiteX16" fmla="*/ 104390 w 107493"/>
                  <a:gd name="connsiteY16" fmla="*/ 119117 h 119116"/>
                  <a:gd name="connsiteX17" fmla="*/ 107493 w 107493"/>
                  <a:gd name="connsiteY17" fmla="*/ 116014 h 119116"/>
                  <a:gd name="connsiteX18" fmla="*/ 107493 w 107493"/>
                  <a:gd name="connsiteY18" fmla="*/ 41890 h 119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7493" h="119116">
                    <a:moveTo>
                      <a:pt x="107480" y="41877"/>
                    </a:moveTo>
                    <a:cubicBezTo>
                      <a:pt x="107480" y="19252"/>
                      <a:pt x="88792" y="277"/>
                      <a:pt x="65237" y="3"/>
                    </a:cubicBezTo>
                    <a:cubicBezTo>
                      <a:pt x="49912" y="-175"/>
                      <a:pt x="39563" y="7331"/>
                      <a:pt x="32947" y="17474"/>
                    </a:cubicBezTo>
                    <a:lnTo>
                      <a:pt x="32947" y="5581"/>
                    </a:lnTo>
                    <a:cubicBezTo>
                      <a:pt x="32947" y="3872"/>
                      <a:pt x="31552" y="2478"/>
                      <a:pt x="29843" y="2478"/>
                    </a:cubicBezTo>
                    <a:lnTo>
                      <a:pt x="3103" y="2478"/>
                    </a:lnTo>
                    <a:cubicBezTo>
                      <a:pt x="1394" y="2478"/>
                      <a:pt x="0" y="3872"/>
                      <a:pt x="0" y="5581"/>
                    </a:cubicBezTo>
                    <a:lnTo>
                      <a:pt x="0" y="116000"/>
                    </a:lnTo>
                    <a:cubicBezTo>
                      <a:pt x="0" y="117709"/>
                      <a:pt x="1394" y="119103"/>
                      <a:pt x="3103" y="119103"/>
                    </a:cubicBezTo>
                    <a:lnTo>
                      <a:pt x="29843" y="119103"/>
                    </a:lnTo>
                    <a:cubicBezTo>
                      <a:pt x="31552" y="119103"/>
                      <a:pt x="32947" y="117709"/>
                      <a:pt x="32947" y="116000"/>
                    </a:cubicBezTo>
                    <a:lnTo>
                      <a:pt x="32947" y="51788"/>
                    </a:lnTo>
                    <a:cubicBezTo>
                      <a:pt x="33685" y="39430"/>
                      <a:pt x="41518" y="31747"/>
                      <a:pt x="53740" y="31747"/>
                    </a:cubicBezTo>
                    <a:cubicBezTo>
                      <a:pt x="65961" y="31747"/>
                      <a:pt x="74547" y="40373"/>
                      <a:pt x="74547" y="53210"/>
                    </a:cubicBezTo>
                    <a:lnTo>
                      <a:pt x="74547" y="116014"/>
                    </a:lnTo>
                    <a:cubicBezTo>
                      <a:pt x="74547" y="117722"/>
                      <a:pt x="75941" y="119117"/>
                      <a:pt x="77650" y="119117"/>
                    </a:cubicBezTo>
                    <a:lnTo>
                      <a:pt x="104390" y="119117"/>
                    </a:lnTo>
                    <a:cubicBezTo>
                      <a:pt x="106099" y="119117"/>
                      <a:pt x="107493" y="117722"/>
                      <a:pt x="107493" y="116014"/>
                    </a:cubicBezTo>
                    <a:lnTo>
                      <a:pt x="107493" y="41890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85156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bg>
      <p:bgPr>
        <a:solidFill>
          <a:srgbClr val="D9E1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8CD8E0-C4FA-BEDC-5938-36BDD273715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0758" y="2215811"/>
            <a:ext cx="6005789" cy="1248751"/>
          </a:xfrm>
          <a:prstGeom prst="rect">
            <a:avLst/>
          </a:prstGeom>
        </p:spPr>
        <p:txBody>
          <a:bodyPr anchor="b" anchorCtr="0"/>
          <a:lstStyle>
            <a:lvl1pPr algn="l">
              <a:defRPr sz="3800" b="1" i="0" cap="all" baseline="0">
                <a:solidFill>
                  <a:schemeClr val="tx1"/>
                </a:solidFill>
                <a:latin typeface="Lato" panose="020F0502020204030203" pitchFamily="34" charset="77"/>
              </a:defRPr>
            </a:lvl1pPr>
          </a:lstStyle>
          <a:p>
            <a:r>
              <a:rPr lang="en-US" dirty="0"/>
              <a:t>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F514931-92B9-1384-0FE7-44734F85020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0760" y="3584250"/>
            <a:ext cx="5361442" cy="1406620"/>
          </a:xfrm>
          <a:prstGeom prst="rect">
            <a:avLst/>
          </a:prstGeom>
        </p:spPr>
        <p:txBody>
          <a:bodyPr anchor="t" anchorCtr="0"/>
          <a:lstStyle>
            <a:lvl1pPr marL="0" indent="0" algn="l">
              <a:buNone/>
              <a:defRPr sz="2200" b="0" i="0" cap="all" baseline="0">
                <a:solidFill>
                  <a:schemeClr val="tx1"/>
                </a:solidFill>
                <a:latin typeface="Lato" panose="020F0502020204030203" pitchFamily="34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0BF40706-C866-5AC7-0F17-E8A735F20830}"/>
              </a:ext>
            </a:extLst>
          </p:cNvPr>
          <p:cNvSpPr/>
          <p:nvPr/>
        </p:nvSpPr>
        <p:spPr>
          <a:xfrm>
            <a:off x="5985330" y="0"/>
            <a:ext cx="6206669" cy="5339096"/>
          </a:xfrm>
          <a:custGeom>
            <a:avLst/>
            <a:gdLst>
              <a:gd name="connsiteX0" fmla="*/ 4921328 w 7487352"/>
              <a:gd name="connsiteY0" fmla="*/ 3378066 h 6440764"/>
              <a:gd name="connsiteX1" fmla="*/ 5062002 w 7487352"/>
              <a:gd name="connsiteY1" fmla="*/ 3436328 h 6440764"/>
              <a:gd name="connsiteX2" fmla="*/ 6394417 w 7487352"/>
              <a:gd name="connsiteY2" fmla="*/ 4768743 h 6440764"/>
              <a:gd name="connsiteX3" fmla="*/ 6394417 w 7487352"/>
              <a:gd name="connsiteY3" fmla="*/ 5050089 h 6440764"/>
              <a:gd name="connsiteX4" fmla="*/ 5062002 w 7487352"/>
              <a:gd name="connsiteY4" fmla="*/ 6382503 h 6440764"/>
              <a:gd name="connsiteX5" fmla="*/ 4780655 w 7487352"/>
              <a:gd name="connsiteY5" fmla="*/ 6382503 h 6440764"/>
              <a:gd name="connsiteX6" fmla="*/ 3448240 w 7487352"/>
              <a:gd name="connsiteY6" fmla="*/ 5050089 h 6440764"/>
              <a:gd name="connsiteX7" fmla="*/ 3448240 w 7487352"/>
              <a:gd name="connsiteY7" fmla="*/ 4768743 h 6440764"/>
              <a:gd name="connsiteX8" fmla="*/ 4780655 w 7487352"/>
              <a:gd name="connsiteY8" fmla="*/ 3436328 h 6440764"/>
              <a:gd name="connsiteX9" fmla="*/ 4921328 w 7487352"/>
              <a:gd name="connsiteY9" fmla="*/ 3378066 h 6440764"/>
              <a:gd name="connsiteX10" fmla="*/ 6615341 w 7487352"/>
              <a:gd name="connsiteY10" fmla="*/ 1684052 h 6440764"/>
              <a:gd name="connsiteX11" fmla="*/ 6756015 w 7487352"/>
              <a:gd name="connsiteY11" fmla="*/ 1742314 h 6440764"/>
              <a:gd name="connsiteX12" fmla="*/ 7487352 w 7487352"/>
              <a:gd name="connsiteY12" fmla="*/ 2473651 h 6440764"/>
              <a:gd name="connsiteX13" fmla="*/ 7487352 w 7487352"/>
              <a:gd name="connsiteY13" fmla="*/ 3957153 h 6440764"/>
              <a:gd name="connsiteX14" fmla="*/ 6756015 w 7487352"/>
              <a:gd name="connsiteY14" fmla="*/ 4688489 h 6440764"/>
              <a:gd name="connsiteX15" fmla="*/ 6474668 w 7487352"/>
              <a:gd name="connsiteY15" fmla="*/ 4688489 h 6440764"/>
              <a:gd name="connsiteX16" fmla="*/ 5142253 w 7487352"/>
              <a:gd name="connsiteY16" fmla="*/ 3356075 h 6440764"/>
              <a:gd name="connsiteX17" fmla="*/ 5142253 w 7487352"/>
              <a:gd name="connsiteY17" fmla="*/ 3074729 h 6440764"/>
              <a:gd name="connsiteX18" fmla="*/ 6474668 w 7487352"/>
              <a:gd name="connsiteY18" fmla="*/ 1742314 h 6440764"/>
              <a:gd name="connsiteX19" fmla="*/ 6615341 w 7487352"/>
              <a:gd name="connsiteY19" fmla="*/ 1684052 h 6440764"/>
              <a:gd name="connsiteX20" fmla="*/ 3226341 w 7487352"/>
              <a:gd name="connsiteY20" fmla="*/ 1683078 h 6440764"/>
              <a:gd name="connsiteX21" fmla="*/ 3367014 w 7487352"/>
              <a:gd name="connsiteY21" fmla="*/ 1741340 h 6440764"/>
              <a:gd name="connsiteX22" fmla="*/ 4699429 w 7487352"/>
              <a:gd name="connsiteY22" fmla="*/ 3073755 h 6440764"/>
              <a:gd name="connsiteX23" fmla="*/ 4699429 w 7487352"/>
              <a:gd name="connsiteY23" fmla="*/ 3355101 h 6440764"/>
              <a:gd name="connsiteX24" fmla="*/ 3367014 w 7487352"/>
              <a:gd name="connsiteY24" fmla="*/ 4687515 h 6440764"/>
              <a:gd name="connsiteX25" fmla="*/ 3085667 w 7487352"/>
              <a:gd name="connsiteY25" fmla="*/ 4687515 h 6440764"/>
              <a:gd name="connsiteX26" fmla="*/ 1753252 w 7487352"/>
              <a:gd name="connsiteY26" fmla="*/ 3355101 h 6440764"/>
              <a:gd name="connsiteX27" fmla="*/ 1753252 w 7487352"/>
              <a:gd name="connsiteY27" fmla="*/ 3073755 h 6440764"/>
              <a:gd name="connsiteX28" fmla="*/ 3085667 w 7487352"/>
              <a:gd name="connsiteY28" fmla="*/ 1741340 h 6440764"/>
              <a:gd name="connsiteX29" fmla="*/ 3226341 w 7487352"/>
              <a:gd name="connsiteY29" fmla="*/ 1683078 h 6440764"/>
              <a:gd name="connsiteX30" fmla="*/ 7487352 w 7487352"/>
              <a:gd name="connsiteY30" fmla="*/ 729630 h 6440764"/>
              <a:gd name="connsiteX31" fmla="*/ 7487352 w 7487352"/>
              <a:gd name="connsiteY31" fmla="*/ 2313150 h 6440764"/>
              <a:gd name="connsiteX32" fmla="*/ 6836265 w 7487352"/>
              <a:gd name="connsiteY32" fmla="*/ 1662063 h 6440764"/>
              <a:gd name="connsiteX33" fmla="*/ 6836265 w 7487352"/>
              <a:gd name="connsiteY33" fmla="*/ 1380717 h 6440764"/>
              <a:gd name="connsiteX34" fmla="*/ 5174201 w 7487352"/>
              <a:gd name="connsiteY34" fmla="*/ 0 h 6440764"/>
              <a:gd name="connsiteX35" fmla="*/ 7487352 w 7487352"/>
              <a:gd name="connsiteY35" fmla="*/ 0 h 6440764"/>
              <a:gd name="connsiteX36" fmla="*/ 7487352 w 7487352"/>
              <a:gd name="connsiteY36" fmla="*/ 567176 h 6440764"/>
              <a:gd name="connsiteX37" fmla="*/ 6755038 w 7487352"/>
              <a:gd name="connsiteY37" fmla="*/ 1299490 h 6440764"/>
              <a:gd name="connsiteX38" fmla="*/ 6473691 w 7487352"/>
              <a:gd name="connsiteY38" fmla="*/ 1299490 h 6440764"/>
              <a:gd name="connsiteX39" fmla="*/ 4864147 w 7487352"/>
              <a:gd name="connsiteY39" fmla="*/ 0 h 6440764"/>
              <a:gd name="connsiteX40" fmla="*/ 4976561 w 7487352"/>
              <a:gd name="connsiteY40" fmla="*/ 0 h 6440764"/>
              <a:gd name="connsiteX41" fmla="*/ 4995219 w 7487352"/>
              <a:gd name="connsiteY41" fmla="*/ 3630 h 6440764"/>
              <a:gd name="connsiteX42" fmla="*/ 5061028 w 7487352"/>
              <a:gd name="connsiteY42" fmla="*/ 47326 h 6440764"/>
              <a:gd name="connsiteX43" fmla="*/ 6393443 w 7487352"/>
              <a:gd name="connsiteY43" fmla="*/ 1379741 h 6440764"/>
              <a:gd name="connsiteX44" fmla="*/ 6393443 w 7487352"/>
              <a:gd name="connsiteY44" fmla="*/ 1661087 h 6440764"/>
              <a:gd name="connsiteX45" fmla="*/ 5061028 w 7487352"/>
              <a:gd name="connsiteY45" fmla="*/ 2993501 h 6440764"/>
              <a:gd name="connsiteX46" fmla="*/ 4779681 w 7487352"/>
              <a:gd name="connsiteY46" fmla="*/ 2993501 h 6440764"/>
              <a:gd name="connsiteX47" fmla="*/ 3447266 w 7487352"/>
              <a:gd name="connsiteY47" fmla="*/ 1661087 h 6440764"/>
              <a:gd name="connsiteX48" fmla="*/ 3447266 w 7487352"/>
              <a:gd name="connsiteY48" fmla="*/ 1379741 h 6440764"/>
              <a:gd name="connsiteX49" fmla="*/ 4779681 w 7487352"/>
              <a:gd name="connsiteY49" fmla="*/ 47326 h 6440764"/>
              <a:gd name="connsiteX50" fmla="*/ 4845489 w 7487352"/>
              <a:gd name="connsiteY50" fmla="*/ 3630 h 6440764"/>
              <a:gd name="connsiteX51" fmla="*/ 1786176 w 7487352"/>
              <a:gd name="connsiteY51" fmla="*/ 0 h 6440764"/>
              <a:gd name="connsiteX52" fmla="*/ 4664553 w 7487352"/>
              <a:gd name="connsiteY52" fmla="*/ 0 h 6440764"/>
              <a:gd name="connsiteX53" fmla="*/ 3366038 w 7487352"/>
              <a:gd name="connsiteY53" fmla="*/ 1298515 h 6440764"/>
              <a:gd name="connsiteX54" fmla="*/ 3084691 w 7487352"/>
              <a:gd name="connsiteY54" fmla="*/ 1298515 h 6440764"/>
              <a:gd name="connsiteX55" fmla="*/ 1470144 w 7487352"/>
              <a:gd name="connsiteY55" fmla="*/ 0 h 6440764"/>
              <a:gd name="connsiteX56" fmla="*/ 1592557 w 7487352"/>
              <a:gd name="connsiteY56" fmla="*/ 0 h 6440764"/>
              <a:gd name="connsiteX57" fmla="*/ 1606215 w 7487352"/>
              <a:gd name="connsiteY57" fmla="*/ 2657 h 6440764"/>
              <a:gd name="connsiteX58" fmla="*/ 1672023 w 7487352"/>
              <a:gd name="connsiteY58" fmla="*/ 46354 h 6440764"/>
              <a:gd name="connsiteX59" fmla="*/ 3004439 w 7487352"/>
              <a:gd name="connsiteY59" fmla="*/ 1378768 h 6440764"/>
              <a:gd name="connsiteX60" fmla="*/ 3004439 w 7487352"/>
              <a:gd name="connsiteY60" fmla="*/ 1660114 h 6440764"/>
              <a:gd name="connsiteX61" fmla="*/ 1672023 w 7487352"/>
              <a:gd name="connsiteY61" fmla="*/ 2992528 h 6440764"/>
              <a:gd name="connsiteX62" fmla="*/ 1390677 w 7487352"/>
              <a:gd name="connsiteY62" fmla="*/ 2992528 h 6440764"/>
              <a:gd name="connsiteX63" fmla="*/ 58262 w 7487352"/>
              <a:gd name="connsiteY63" fmla="*/ 1660114 h 6440764"/>
              <a:gd name="connsiteX64" fmla="*/ 58262 w 7487352"/>
              <a:gd name="connsiteY64" fmla="*/ 1378768 h 6440764"/>
              <a:gd name="connsiteX65" fmla="*/ 1390677 w 7487352"/>
              <a:gd name="connsiteY65" fmla="*/ 46354 h 6440764"/>
              <a:gd name="connsiteX66" fmla="*/ 1456486 w 7487352"/>
              <a:gd name="connsiteY66" fmla="*/ 2657 h 6440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7487352" h="6440764">
                <a:moveTo>
                  <a:pt x="4921328" y="3378066"/>
                </a:moveTo>
                <a:cubicBezTo>
                  <a:pt x="4972244" y="3378066"/>
                  <a:pt x="5023161" y="3397487"/>
                  <a:pt x="5062002" y="3436328"/>
                </a:cubicBezTo>
                <a:lnTo>
                  <a:pt x="6394417" y="4768743"/>
                </a:lnTo>
                <a:cubicBezTo>
                  <a:pt x="6472099" y="4846425"/>
                  <a:pt x="6472099" y="4972406"/>
                  <a:pt x="6394417" y="5050089"/>
                </a:cubicBezTo>
                <a:lnTo>
                  <a:pt x="5062002" y="6382503"/>
                </a:lnTo>
                <a:cubicBezTo>
                  <a:pt x="4984319" y="6460185"/>
                  <a:pt x="4858338" y="6460185"/>
                  <a:pt x="4780655" y="6382503"/>
                </a:cubicBezTo>
                <a:lnTo>
                  <a:pt x="3448240" y="5050089"/>
                </a:lnTo>
                <a:cubicBezTo>
                  <a:pt x="3370557" y="4972406"/>
                  <a:pt x="3370557" y="4846425"/>
                  <a:pt x="3448240" y="4768743"/>
                </a:cubicBezTo>
                <a:lnTo>
                  <a:pt x="4780655" y="3436328"/>
                </a:lnTo>
                <a:cubicBezTo>
                  <a:pt x="4819497" y="3397487"/>
                  <a:pt x="4870412" y="3378066"/>
                  <a:pt x="4921328" y="3378066"/>
                </a:cubicBezTo>
                <a:close/>
                <a:moveTo>
                  <a:pt x="6615341" y="1684052"/>
                </a:moveTo>
                <a:cubicBezTo>
                  <a:pt x="6666257" y="1684052"/>
                  <a:pt x="6717173" y="1703473"/>
                  <a:pt x="6756015" y="1742314"/>
                </a:cubicBezTo>
                <a:lnTo>
                  <a:pt x="7487352" y="2473651"/>
                </a:lnTo>
                <a:lnTo>
                  <a:pt x="7487352" y="3957153"/>
                </a:lnTo>
                <a:lnTo>
                  <a:pt x="6756015" y="4688489"/>
                </a:lnTo>
                <a:cubicBezTo>
                  <a:pt x="6678332" y="4766171"/>
                  <a:pt x="6552351" y="4766171"/>
                  <a:pt x="6474668" y="4688489"/>
                </a:cubicBezTo>
                <a:lnTo>
                  <a:pt x="5142253" y="3356075"/>
                </a:lnTo>
                <a:cubicBezTo>
                  <a:pt x="5064570" y="3278392"/>
                  <a:pt x="5064570" y="3152411"/>
                  <a:pt x="5142253" y="3074729"/>
                </a:cubicBezTo>
                <a:lnTo>
                  <a:pt x="6474668" y="1742314"/>
                </a:lnTo>
                <a:cubicBezTo>
                  <a:pt x="6513509" y="1703473"/>
                  <a:pt x="6564425" y="1684052"/>
                  <a:pt x="6615341" y="1684052"/>
                </a:cubicBezTo>
                <a:close/>
                <a:moveTo>
                  <a:pt x="3226341" y="1683078"/>
                </a:moveTo>
                <a:cubicBezTo>
                  <a:pt x="3277257" y="1683078"/>
                  <a:pt x="3328173" y="1702499"/>
                  <a:pt x="3367014" y="1741340"/>
                </a:cubicBezTo>
                <a:lnTo>
                  <a:pt x="4699429" y="3073755"/>
                </a:lnTo>
                <a:cubicBezTo>
                  <a:pt x="4777111" y="3151437"/>
                  <a:pt x="4777111" y="3277418"/>
                  <a:pt x="4699429" y="3355101"/>
                </a:cubicBezTo>
                <a:lnTo>
                  <a:pt x="3367014" y="4687515"/>
                </a:lnTo>
                <a:cubicBezTo>
                  <a:pt x="3289331" y="4765197"/>
                  <a:pt x="3163350" y="4765197"/>
                  <a:pt x="3085667" y="4687515"/>
                </a:cubicBezTo>
                <a:lnTo>
                  <a:pt x="1753252" y="3355101"/>
                </a:lnTo>
                <a:cubicBezTo>
                  <a:pt x="1675569" y="3277418"/>
                  <a:pt x="1675569" y="3151437"/>
                  <a:pt x="1753252" y="3073755"/>
                </a:cubicBezTo>
                <a:lnTo>
                  <a:pt x="3085667" y="1741340"/>
                </a:lnTo>
                <a:cubicBezTo>
                  <a:pt x="3124509" y="1702499"/>
                  <a:pt x="3175425" y="1683078"/>
                  <a:pt x="3226341" y="1683078"/>
                </a:cubicBezTo>
                <a:close/>
                <a:moveTo>
                  <a:pt x="7487352" y="729630"/>
                </a:moveTo>
                <a:lnTo>
                  <a:pt x="7487352" y="2313150"/>
                </a:lnTo>
                <a:lnTo>
                  <a:pt x="6836265" y="1662063"/>
                </a:lnTo>
                <a:cubicBezTo>
                  <a:pt x="6758582" y="1584380"/>
                  <a:pt x="6758582" y="1458399"/>
                  <a:pt x="6836265" y="1380717"/>
                </a:cubicBezTo>
                <a:close/>
                <a:moveTo>
                  <a:pt x="5174201" y="0"/>
                </a:moveTo>
                <a:lnTo>
                  <a:pt x="7487352" y="0"/>
                </a:lnTo>
                <a:lnTo>
                  <a:pt x="7487352" y="567176"/>
                </a:lnTo>
                <a:lnTo>
                  <a:pt x="6755038" y="1299490"/>
                </a:lnTo>
                <a:cubicBezTo>
                  <a:pt x="6677355" y="1377172"/>
                  <a:pt x="6551374" y="1377172"/>
                  <a:pt x="6473691" y="1299490"/>
                </a:cubicBezTo>
                <a:close/>
                <a:moveTo>
                  <a:pt x="4864147" y="0"/>
                </a:moveTo>
                <a:lnTo>
                  <a:pt x="4976561" y="0"/>
                </a:lnTo>
                <a:lnTo>
                  <a:pt x="4995219" y="3630"/>
                </a:lnTo>
                <a:cubicBezTo>
                  <a:pt x="5019167" y="13340"/>
                  <a:pt x="5041607" y="27906"/>
                  <a:pt x="5061028" y="47326"/>
                </a:cubicBezTo>
                <a:lnTo>
                  <a:pt x="6393443" y="1379741"/>
                </a:lnTo>
                <a:cubicBezTo>
                  <a:pt x="6471125" y="1457423"/>
                  <a:pt x="6471125" y="1583404"/>
                  <a:pt x="6393443" y="1661087"/>
                </a:cubicBezTo>
                <a:lnTo>
                  <a:pt x="5061028" y="2993501"/>
                </a:lnTo>
                <a:cubicBezTo>
                  <a:pt x="4983345" y="3071183"/>
                  <a:pt x="4857364" y="3071183"/>
                  <a:pt x="4779681" y="2993501"/>
                </a:cubicBezTo>
                <a:lnTo>
                  <a:pt x="3447266" y="1661087"/>
                </a:lnTo>
                <a:cubicBezTo>
                  <a:pt x="3369583" y="1583404"/>
                  <a:pt x="3369583" y="1457423"/>
                  <a:pt x="3447266" y="1379741"/>
                </a:cubicBezTo>
                <a:lnTo>
                  <a:pt x="4779681" y="47326"/>
                </a:lnTo>
                <a:cubicBezTo>
                  <a:pt x="4799102" y="27906"/>
                  <a:pt x="4821541" y="13340"/>
                  <a:pt x="4845489" y="3630"/>
                </a:cubicBezTo>
                <a:close/>
                <a:moveTo>
                  <a:pt x="1786176" y="0"/>
                </a:moveTo>
                <a:lnTo>
                  <a:pt x="4664553" y="0"/>
                </a:lnTo>
                <a:lnTo>
                  <a:pt x="3366038" y="1298515"/>
                </a:lnTo>
                <a:cubicBezTo>
                  <a:pt x="3288355" y="1376197"/>
                  <a:pt x="3162374" y="1376197"/>
                  <a:pt x="3084691" y="1298515"/>
                </a:cubicBezTo>
                <a:close/>
                <a:moveTo>
                  <a:pt x="1470144" y="0"/>
                </a:moveTo>
                <a:lnTo>
                  <a:pt x="1592557" y="0"/>
                </a:lnTo>
                <a:lnTo>
                  <a:pt x="1606215" y="2657"/>
                </a:lnTo>
                <a:cubicBezTo>
                  <a:pt x="1630164" y="12368"/>
                  <a:pt x="1652603" y="26933"/>
                  <a:pt x="1672023" y="46354"/>
                </a:cubicBezTo>
                <a:lnTo>
                  <a:pt x="3004439" y="1378768"/>
                </a:lnTo>
                <a:cubicBezTo>
                  <a:pt x="3082121" y="1456450"/>
                  <a:pt x="3082121" y="1582431"/>
                  <a:pt x="3004439" y="1660114"/>
                </a:cubicBezTo>
                <a:lnTo>
                  <a:pt x="1672023" y="2992528"/>
                </a:lnTo>
                <a:cubicBezTo>
                  <a:pt x="1594341" y="3070210"/>
                  <a:pt x="1468359" y="3070210"/>
                  <a:pt x="1390677" y="2992528"/>
                </a:cubicBezTo>
                <a:lnTo>
                  <a:pt x="58262" y="1660114"/>
                </a:lnTo>
                <a:cubicBezTo>
                  <a:pt x="-19421" y="1582431"/>
                  <a:pt x="-19421" y="1456450"/>
                  <a:pt x="58262" y="1378768"/>
                </a:cubicBezTo>
                <a:lnTo>
                  <a:pt x="1390677" y="46354"/>
                </a:lnTo>
                <a:cubicBezTo>
                  <a:pt x="1410098" y="26933"/>
                  <a:pt x="1432537" y="12368"/>
                  <a:pt x="1456486" y="2657"/>
                </a:cubicBezTo>
                <a:close/>
              </a:path>
            </a:pathLst>
          </a:custGeom>
          <a:solidFill>
            <a:schemeClr val="bg1"/>
          </a:solidFill>
          <a:ln w="685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b="0" i="0" dirty="0">
              <a:latin typeface="Lato" panose="020F0502020204030203" pitchFamily="34" charset="77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A2FA817-9D84-1A99-23CC-CBCFE5D1536E}"/>
              </a:ext>
            </a:extLst>
          </p:cNvPr>
          <p:cNvGrpSpPr/>
          <p:nvPr userDrawn="1"/>
        </p:nvGrpSpPr>
        <p:grpSpPr>
          <a:xfrm>
            <a:off x="733434" y="542252"/>
            <a:ext cx="2455606" cy="510077"/>
            <a:chOff x="733434" y="876300"/>
            <a:chExt cx="2455606" cy="510077"/>
          </a:xfrm>
        </p:grpSpPr>
        <p:sp>
          <p:nvSpPr>
            <p:cNvPr id="6" name="Freeform: Shape 8">
              <a:extLst>
                <a:ext uri="{FF2B5EF4-FFF2-40B4-BE49-F238E27FC236}">
                  <a16:creationId xmlns:a16="http://schemas.microsoft.com/office/drawing/2014/main" id="{AB1F9E73-82D0-DC33-BDC9-C706D3B35182}"/>
                </a:ext>
              </a:extLst>
            </p:cNvPr>
            <p:cNvSpPr/>
            <p:nvPr/>
          </p:nvSpPr>
          <p:spPr>
            <a:xfrm rot="18900000">
              <a:off x="770705" y="879406"/>
              <a:ext cx="107935" cy="107935"/>
            </a:xfrm>
            <a:custGeom>
              <a:avLst/>
              <a:gdLst>
                <a:gd name="connsiteX0" fmla="*/ 67007 w 73496"/>
                <a:gd name="connsiteY0" fmla="*/ 0 h 73496"/>
                <a:gd name="connsiteX1" fmla="*/ 73497 w 73496"/>
                <a:gd name="connsiteY1" fmla="*/ 6489 h 73496"/>
                <a:gd name="connsiteX2" fmla="*/ 73497 w 73496"/>
                <a:gd name="connsiteY2" fmla="*/ 67007 h 73496"/>
                <a:gd name="connsiteX3" fmla="*/ 67007 w 73496"/>
                <a:gd name="connsiteY3" fmla="*/ 73496 h 73496"/>
                <a:gd name="connsiteX4" fmla="*/ 6489 w 73496"/>
                <a:gd name="connsiteY4" fmla="*/ 73496 h 73496"/>
                <a:gd name="connsiteX5" fmla="*/ 0 w 73496"/>
                <a:gd name="connsiteY5" fmla="*/ 67007 h 73496"/>
                <a:gd name="connsiteX6" fmla="*/ 0 w 73496"/>
                <a:gd name="connsiteY6" fmla="*/ 6489 h 73496"/>
                <a:gd name="connsiteX7" fmla="*/ 6489 w 73496"/>
                <a:gd name="connsiteY7" fmla="*/ 0 h 73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496" h="73496">
                  <a:moveTo>
                    <a:pt x="67007" y="0"/>
                  </a:moveTo>
                  <a:cubicBezTo>
                    <a:pt x="70591" y="0"/>
                    <a:pt x="73497" y="2905"/>
                    <a:pt x="73497" y="6489"/>
                  </a:cubicBezTo>
                  <a:lnTo>
                    <a:pt x="73497" y="67007"/>
                  </a:lnTo>
                  <a:cubicBezTo>
                    <a:pt x="73497" y="70591"/>
                    <a:pt x="70591" y="73496"/>
                    <a:pt x="67007" y="73496"/>
                  </a:cubicBezTo>
                  <a:lnTo>
                    <a:pt x="6489" y="73496"/>
                  </a:lnTo>
                  <a:cubicBezTo>
                    <a:pt x="2905" y="73496"/>
                    <a:pt x="0" y="70591"/>
                    <a:pt x="0" y="67007"/>
                  </a:cubicBezTo>
                  <a:lnTo>
                    <a:pt x="0" y="6489"/>
                  </a:lnTo>
                  <a:cubicBezTo>
                    <a:pt x="0" y="2905"/>
                    <a:pt x="2905" y="0"/>
                    <a:pt x="6489" y="0"/>
                  </a:cubicBezTo>
                  <a:close/>
                </a:path>
              </a:pathLst>
            </a:custGeom>
            <a:solidFill>
              <a:srgbClr val="00BD4D"/>
            </a:solidFill>
            <a:ln w="284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="0" i="0" dirty="0">
                <a:latin typeface="Lato" panose="020F0502020204030203" pitchFamily="34" charset="77"/>
              </a:endParaRP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4A3671CF-780B-CE96-C8ED-7B11C0CCDEB6}"/>
                </a:ext>
              </a:extLst>
            </p:cNvPr>
            <p:cNvGrpSpPr/>
            <p:nvPr/>
          </p:nvGrpSpPr>
          <p:grpSpPr>
            <a:xfrm>
              <a:off x="733434" y="876300"/>
              <a:ext cx="2455606" cy="510077"/>
              <a:chOff x="9242171" y="3011696"/>
              <a:chExt cx="1672097" cy="347327"/>
            </a:xfrm>
            <a:solidFill>
              <a:schemeClr val="tx1"/>
            </a:solidFill>
          </p:grpSpPr>
          <p:sp>
            <p:nvSpPr>
              <p:cNvPr id="8" name="Freeform: Shape 10">
                <a:extLst>
                  <a:ext uri="{FF2B5EF4-FFF2-40B4-BE49-F238E27FC236}">
                    <a16:creationId xmlns:a16="http://schemas.microsoft.com/office/drawing/2014/main" id="{6EE866AA-77CF-705E-3ABC-1A2D7484E778}"/>
                  </a:ext>
                </a:extLst>
              </p:cNvPr>
              <p:cNvSpPr/>
              <p:nvPr/>
            </p:nvSpPr>
            <p:spPr>
              <a:xfrm>
                <a:off x="10604432" y="3110234"/>
                <a:ext cx="249644" cy="243844"/>
              </a:xfrm>
              <a:custGeom>
                <a:avLst/>
                <a:gdLst>
                  <a:gd name="connsiteX0" fmla="*/ 172562 w 249644"/>
                  <a:gd name="connsiteY0" fmla="*/ 121922 h 243844"/>
                  <a:gd name="connsiteX1" fmla="*/ 248603 w 249644"/>
                  <a:gd name="connsiteY1" fmla="*/ 234754 h 243844"/>
                  <a:gd name="connsiteX2" fmla="*/ 243372 w 249644"/>
                  <a:gd name="connsiteY2" fmla="*/ 243845 h 243844"/>
                  <a:gd name="connsiteX3" fmla="*/ 179480 w 249644"/>
                  <a:gd name="connsiteY3" fmla="*/ 243845 h 243844"/>
                  <a:gd name="connsiteX4" fmla="*/ 168789 w 249644"/>
                  <a:gd name="connsiteY4" fmla="*/ 238213 h 243844"/>
                  <a:gd name="connsiteX5" fmla="*/ 124822 w 249644"/>
                  <a:gd name="connsiteY5" fmla="*/ 170949 h 243844"/>
                  <a:gd name="connsiteX6" fmla="*/ 80856 w 249644"/>
                  <a:gd name="connsiteY6" fmla="*/ 238213 h 243844"/>
                  <a:gd name="connsiteX7" fmla="*/ 70164 w 249644"/>
                  <a:gd name="connsiteY7" fmla="*/ 243845 h 243844"/>
                  <a:gd name="connsiteX8" fmla="*/ 6273 w 249644"/>
                  <a:gd name="connsiteY8" fmla="*/ 243845 h 243844"/>
                  <a:gd name="connsiteX9" fmla="*/ 1042 w 249644"/>
                  <a:gd name="connsiteY9" fmla="*/ 234754 h 243844"/>
                  <a:gd name="connsiteX10" fmla="*/ 76854 w 249644"/>
                  <a:gd name="connsiteY10" fmla="*/ 121922 h 243844"/>
                  <a:gd name="connsiteX11" fmla="*/ 1042 w 249644"/>
                  <a:gd name="connsiteY11" fmla="*/ 9091 h 243844"/>
                  <a:gd name="connsiteX12" fmla="*/ 6273 w 249644"/>
                  <a:gd name="connsiteY12" fmla="*/ 0 h 243844"/>
                  <a:gd name="connsiteX13" fmla="*/ 72880 w 249644"/>
                  <a:gd name="connsiteY13" fmla="*/ 0 h 243844"/>
                  <a:gd name="connsiteX14" fmla="*/ 78998 w 249644"/>
                  <a:gd name="connsiteY14" fmla="*/ 3030 h 243844"/>
                  <a:gd name="connsiteX15" fmla="*/ 124794 w 249644"/>
                  <a:gd name="connsiteY15" fmla="*/ 72782 h 243844"/>
                  <a:gd name="connsiteX16" fmla="*/ 167788 w 249644"/>
                  <a:gd name="connsiteY16" fmla="*/ 3059 h 243844"/>
                  <a:gd name="connsiteX17" fmla="*/ 173906 w 249644"/>
                  <a:gd name="connsiteY17" fmla="*/ 0 h 243844"/>
                  <a:gd name="connsiteX18" fmla="*/ 241171 w 249644"/>
                  <a:gd name="connsiteY18" fmla="*/ 0 h 243844"/>
                  <a:gd name="connsiteX19" fmla="*/ 246402 w 249644"/>
                  <a:gd name="connsiteY19" fmla="*/ 9062 h 243844"/>
                  <a:gd name="connsiteX20" fmla="*/ 172505 w 249644"/>
                  <a:gd name="connsiteY20" fmla="*/ 121922 h 243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49644" h="243844">
                    <a:moveTo>
                      <a:pt x="172562" y="121922"/>
                    </a:moveTo>
                    <a:lnTo>
                      <a:pt x="248603" y="234754"/>
                    </a:lnTo>
                    <a:cubicBezTo>
                      <a:pt x="251347" y="238642"/>
                      <a:pt x="248346" y="243845"/>
                      <a:pt x="243372" y="243845"/>
                    </a:cubicBezTo>
                    <a:lnTo>
                      <a:pt x="179480" y="243845"/>
                    </a:lnTo>
                    <a:cubicBezTo>
                      <a:pt x="175221" y="243845"/>
                      <a:pt x="171219" y="241729"/>
                      <a:pt x="168789" y="238213"/>
                    </a:cubicBezTo>
                    <a:lnTo>
                      <a:pt x="124822" y="170949"/>
                    </a:lnTo>
                    <a:lnTo>
                      <a:pt x="80856" y="238213"/>
                    </a:lnTo>
                    <a:cubicBezTo>
                      <a:pt x="78426" y="241729"/>
                      <a:pt x="74452" y="243845"/>
                      <a:pt x="70164" y="243845"/>
                    </a:cubicBezTo>
                    <a:lnTo>
                      <a:pt x="6273" y="243845"/>
                    </a:lnTo>
                    <a:cubicBezTo>
                      <a:pt x="1299" y="243845"/>
                      <a:pt x="-1703" y="238671"/>
                      <a:pt x="1042" y="234754"/>
                    </a:cubicBezTo>
                    <a:lnTo>
                      <a:pt x="76854" y="121922"/>
                    </a:lnTo>
                    <a:lnTo>
                      <a:pt x="1042" y="9091"/>
                    </a:lnTo>
                    <a:cubicBezTo>
                      <a:pt x="-1703" y="5203"/>
                      <a:pt x="1299" y="0"/>
                      <a:pt x="6273" y="0"/>
                    </a:cubicBezTo>
                    <a:lnTo>
                      <a:pt x="72880" y="0"/>
                    </a:lnTo>
                    <a:cubicBezTo>
                      <a:pt x="75367" y="0"/>
                      <a:pt x="77683" y="1143"/>
                      <a:pt x="78998" y="3030"/>
                    </a:cubicBezTo>
                    <a:lnTo>
                      <a:pt x="124794" y="72782"/>
                    </a:lnTo>
                    <a:lnTo>
                      <a:pt x="167788" y="3059"/>
                    </a:lnTo>
                    <a:cubicBezTo>
                      <a:pt x="169075" y="1172"/>
                      <a:pt x="171419" y="0"/>
                      <a:pt x="173906" y="0"/>
                    </a:cubicBezTo>
                    <a:lnTo>
                      <a:pt x="241171" y="0"/>
                    </a:lnTo>
                    <a:cubicBezTo>
                      <a:pt x="246145" y="0"/>
                      <a:pt x="249118" y="5174"/>
                      <a:pt x="246402" y="9062"/>
                    </a:cubicBezTo>
                    <a:lnTo>
                      <a:pt x="172505" y="121922"/>
                    </a:ln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9" name="Freeform: Shape 11">
                <a:extLst>
                  <a:ext uri="{FF2B5EF4-FFF2-40B4-BE49-F238E27FC236}">
                    <a16:creationId xmlns:a16="http://schemas.microsoft.com/office/drawing/2014/main" id="{A32E3006-639A-B2A0-AAD1-4813716BC0F3}"/>
                  </a:ext>
                </a:extLst>
              </p:cNvPr>
              <p:cNvSpPr/>
              <p:nvPr/>
            </p:nvSpPr>
            <p:spPr>
              <a:xfrm>
                <a:off x="9581152" y="3011696"/>
                <a:ext cx="164831" cy="342440"/>
              </a:xfrm>
              <a:custGeom>
                <a:avLst/>
                <a:gdLst>
                  <a:gd name="connsiteX0" fmla="*/ 158342 w 164831"/>
                  <a:gd name="connsiteY0" fmla="*/ 29 h 342440"/>
                  <a:gd name="connsiteX1" fmla="*/ 105342 w 164831"/>
                  <a:gd name="connsiteY1" fmla="*/ 29 h 342440"/>
                  <a:gd name="connsiteX2" fmla="*/ 91592 w 164831"/>
                  <a:gd name="connsiteY2" fmla="*/ 5717 h 342440"/>
                  <a:gd name="connsiteX3" fmla="*/ 41794 w 164831"/>
                  <a:gd name="connsiteY3" fmla="*/ 55515 h 342440"/>
                  <a:gd name="connsiteX4" fmla="*/ 36105 w 164831"/>
                  <a:gd name="connsiteY4" fmla="*/ 69266 h 342440"/>
                  <a:gd name="connsiteX5" fmla="*/ 36105 w 164831"/>
                  <a:gd name="connsiteY5" fmla="*/ 108458 h 342440"/>
                  <a:gd name="connsiteX6" fmla="*/ 6375 w 164831"/>
                  <a:gd name="connsiteY6" fmla="*/ 108458 h 342440"/>
                  <a:gd name="connsiteX7" fmla="*/ 0 w 164831"/>
                  <a:gd name="connsiteY7" fmla="*/ 114833 h 342440"/>
                  <a:gd name="connsiteX8" fmla="*/ 0 w 164831"/>
                  <a:gd name="connsiteY8" fmla="*/ 158828 h 342440"/>
                  <a:gd name="connsiteX9" fmla="*/ 6375 w 164831"/>
                  <a:gd name="connsiteY9" fmla="*/ 165203 h 342440"/>
                  <a:gd name="connsiteX10" fmla="*/ 36105 w 164831"/>
                  <a:gd name="connsiteY10" fmla="*/ 165203 h 342440"/>
                  <a:gd name="connsiteX11" fmla="*/ 36105 w 164831"/>
                  <a:gd name="connsiteY11" fmla="*/ 335951 h 342440"/>
                  <a:gd name="connsiteX12" fmla="*/ 42594 w 164831"/>
                  <a:gd name="connsiteY12" fmla="*/ 342440 h 342440"/>
                  <a:gd name="connsiteX13" fmla="*/ 98510 w 164831"/>
                  <a:gd name="connsiteY13" fmla="*/ 342440 h 342440"/>
                  <a:gd name="connsiteX14" fmla="*/ 104999 w 164831"/>
                  <a:gd name="connsiteY14" fmla="*/ 335951 h 342440"/>
                  <a:gd name="connsiteX15" fmla="*/ 104999 w 164831"/>
                  <a:gd name="connsiteY15" fmla="*/ 165174 h 342440"/>
                  <a:gd name="connsiteX16" fmla="*/ 149394 w 164831"/>
                  <a:gd name="connsiteY16" fmla="*/ 165174 h 342440"/>
                  <a:gd name="connsiteX17" fmla="*/ 155769 w 164831"/>
                  <a:gd name="connsiteY17" fmla="*/ 158799 h 342440"/>
                  <a:gd name="connsiteX18" fmla="*/ 155769 w 164831"/>
                  <a:gd name="connsiteY18" fmla="*/ 114804 h 342440"/>
                  <a:gd name="connsiteX19" fmla="*/ 149394 w 164831"/>
                  <a:gd name="connsiteY19" fmla="*/ 108429 h 342440"/>
                  <a:gd name="connsiteX20" fmla="*/ 104999 w 164831"/>
                  <a:gd name="connsiteY20" fmla="*/ 108429 h 342440"/>
                  <a:gd name="connsiteX21" fmla="*/ 104999 w 164831"/>
                  <a:gd name="connsiteY21" fmla="*/ 80643 h 342440"/>
                  <a:gd name="connsiteX22" fmla="*/ 124438 w 164831"/>
                  <a:gd name="connsiteY22" fmla="*/ 61204 h 342440"/>
                  <a:gd name="connsiteX23" fmla="*/ 158342 w 164831"/>
                  <a:gd name="connsiteY23" fmla="*/ 61204 h 342440"/>
                  <a:gd name="connsiteX24" fmla="*/ 164831 w 164831"/>
                  <a:gd name="connsiteY24" fmla="*/ 54715 h 342440"/>
                  <a:gd name="connsiteX25" fmla="*/ 164831 w 164831"/>
                  <a:gd name="connsiteY25" fmla="*/ 6489 h 342440"/>
                  <a:gd name="connsiteX26" fmla="*/ 158342 w 164831"/>
                  <a:gd name="connsiteY26" fmla="*/ 0 h 342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64831" h="342440">
                    <a:moveTo>
                      <a:pt x="158342" y="29"/>
                    </a:moveTo>
                    <a:lnTo>
                      <a:pt x="105342" y="29"/>
                    </a:lnTo>
                    <a:cubicBezTo>
                      <a:pt x="100197" y="29"/>
                      <a:pt x="95251" y="2087"/>
                      <a:pt x="91592" y="5717"/>
                    </a:cubicBezTo>
                    <a:lnTo>
                      <a:pt x="41794" y="55515"/>
                    </a:lnTo>
                    <a:cubicBezTo>
                      <a:pt x="38135" y="59175"/>
                      <a:pt x="36105" y="64120"/>
                      <a:pt x="36105" y="69266"/>
                    </a:cubicBezTo>
                    <a:lnTo>
                      <a:pt x="36105" y="108458"/>
                    </a:lnTo>
                    <a:lnTo>
                      <a:pt x="6375" y="108458"/>
                    </a:lnTo>
                    <a:cubicBezTo>
                      <a:pt x="2859" y="108458"/>
                      <a:pt x="0" y="111317"/>
                      <a:pt x="0" y="114833"/>
                    </a:cubicBezTo>
                    <a:lnTo>
                      <a:pt x="0" y="158828"/>
                    </a:lnTo>
                    <a:cubicBezTo>
                      <a:pt x="0" y="162344"/>
                      <a:pt x="2859" y="165203"/>
                      <a:pt x="6375" y="165203"/>
                    </a:cubicBezTo>
                    <a:lnTo>
                      <a:pt x="36105" y="165203"/>
                    </a:lnTo>
                    <a:lnTo>
                      <a:pt x="36105" y="335951"/>
                    </a:lnTo>
                    <a:cubicBezTo>
                      <a:pt x="36105" y="339524"/>
                      <a:pt x="39021" y="342440"/>
                      <a:pt x="42594" y="342440"/>
                    </a:cubicBezTo>
                    <a:lnTo>
                      <a:pt x="98510" y="342440"/>
                    </a:lnTo>
                    <a:cubicBezTo>
                      <a:pt x="102083" y="342440"/>
                      <a:pt x="104999" y="339524"/>
                      <a:pt x="104999" y="335951"/>
                    </a:cubicBezTo>
                    <a:lnTo>
                      <a:pt x="104999" y="165174"/>
                    </a:lnTo>
                    <a:lnTo>
                      <a:pt x="149394" y="165174"/>
                    </a:lnTo>
                    <a:cubicBezTo>
                      <a:pt x="152911" y="165174"/>
                      <a:pt x="155769" y="162315"/>
                      <a:pt x="155769" y="158799"/>
                    </a:cubicBezTo>
                    <a:lnTo>
                      <a:pt x="155769" y="114804"/>
                    </a:lnTo>
                    <a:cubicBezTo>
                      <a:pt x="155769" y="111288"/>
                      <a:pt x="152911" y="108429"/>
                      <a:pt x="149394" y="108429"/>
                    </a:cubicBezTo>
                    <a:lnTo>
                      <a:pt x="104999" y="108429"/>
                    </a:lnTo>
                    <a:lnTo>
                      <a:pt x="104999" y="80643"/>
                    </a:lnTo>
                    <a:cubicBezTo>
                      <a:pt x="104999" y="69895"/>
                      <a:pt x="113718" y="61204"/>
                      <a:pt x="124438" y="61204"/>
                    </a:cubicBezTo>
                    <a:lnTo>
                      <a:pt x="158342" y="61204"/>
                    </a:lnTo>
                    <a:cubicBezTo>
                      <a:pt x="161915" y="61204"/>
                      <a:pt x="164831" y="58288"/>
                      <a:pt x="164831" y="54715"/>
                    </a:cubicBezTo>
                    <a:lnTo>
                      <a:pt x="164831" y="6489"/>
                    </a:lnTo>
                    <a:cubicBezTo>
                      <a:pt x="164831" y="2916"/>
                      <a:pt x="161915" y="0"/>
                      <a:pt x="158342" y="0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10" name="Freeform: Shape 12">
                <a:extLst>
                  <a:ext uri="{FF2B5EF4-FFF2-40B4-BE49-F238E27FC236}">
                    <a16:creationId xmlns:a16="http://schemas.microsoft.com/office/drawing/2014/main" id="{03F994C2-54A7-8E21-D667-22363CF9EC9A}"/>
                  </a:ext>
                </a:extLst>
              </p:cNvPr>
              <p:cNvSpPr/>
              <p:nvPr/>
            </p:nvSpPr>
            <p:spPr>
              <a:xfrm>
                <a:off x="10860611" y="3304224"/>
                <a:ext cx="53657" cy="53657"/>
              </a:xfrm>
              <a:custGeom>
                <a:avLst/>
                <a:gdLst>
                  <a:gd name="connsiteX0" fmla="*/ 53657 w 53657"/>
                  <a:gd name="connsiteY0" fmla="*/ 26786 h 53657"/>
                  <a:gd name="connsiteX1" fmla="*/ 26729 w 53657"/>
                  <a:gd name="connsiteY1" fmla="*/ 53657 h 53657"/>
                  <a:gd name="connsiteX2" fmla="*/ 0 w 53657"/>
                  <a:gd name="connsiteY2" fmla="*/ 26786 h 53657"/>
                  <a:gd name="connsiteX3" fmla="*/ 26814 w 53657"/>
                  <a:gd name="connsiteY3" fmla="*/ 0 h 53657"/>
                  <a:gd name="connsiteX4" fmla="*/ 53629 w 53657"/>
                  <a:gd name="connsiteY4" fmla="*/ 26786 h 53657"/>
                  <a:gd name="connsiteX5" fmla="*/ 49541 w 53657"/>
                  <a:gd name="connsiteY5" fmla="*/ 26900 h 53657"/>
                  <a:gd name="connsiteX6" fmla="*/ 26843 w 53657"/>
                  <a:gd name="connsiteY6" fmla="*/ 3831 h 53657"/>
                  <a:gd name="connsiteX7" fmla="*/ 4145 w 53657"/>
                  <a:gd name="connsiteY7" fmla="*/ 26872 h 53657"/>
                  <a:gd name="connsiteX8" fmla="*/ 26729 w 53657"/>
                  <a:gd name="connsiteY8" fmla="*/ 49884 h 53657"/>
                  <a:gd name="connsiteX9" fmla="*/ 49541 w 53657"/>
                  <a:gd name="connsiteY9" fmla="*/ 26900 h 53657"/>
                  <a:gd name="connsiteX10" fmla="*/ 32589 w 53657"/>
                  <a:gd name="connsiteY10" fmla="*/ 31131 h 53657"/>
                  <a:gd name="connsiteX11" fmla="*/ 39335 w 53657"/>
                  <a:gd name="connsiteY11" fmla="*/ 41622 h 53657"/>
                  <a:gd name="connsiteX12" fmla="*/ 34876 w 53657"/>
                  <a:gd name="connsiteY12" fmla="*/ 41622 h 53657"/>
                  <a:gd name="connsiteX13" fmla="*/ 27386 w 53657"/>
                  <a:gd name="connsiteY13" fmla="*/ 29730 h 53657"/>
                  <a:gd name="connsiteX14" fmla="*/ 20554 w 53657"/>
                  <a:gd name="connsiteY14" fmla="*/ 29730 h 53657"/>
                  <a:gd name="connsiteX15" fmla="*/ 20554 w 53657"/>
                  <a:gd name="connsiteY15" fmla="*/ 41622 h 53657"/>
                  <a:gd name="connsiteX16" fmla="*/ 16809 w 53657"/>
                  <a:gd name="connsiteY16" fmla="*/ 41622 h 53657"/>
                  <a:gd name="connsiteX17" fmla="*/ 16809 w 53657"/>
                  <a:gd name="connsiteY17" fmla="*/ 11549 h 53657"/>
                  <a:gd name="connsiteX18" fmla="*/ 28472 w 53657"/>
                  <a:gd name="connsiteY18" fmla="*/ 11549 h 53657"/>
                  <a:gd name="connsiteX19" fmla="*/ 37963 w 53657"/>
                  <a:gd name="connsiteY19" fmla="*/ 20411 h 53657"/>
                  <a:gd name="connsiteX20" fmla="*/ 31131 w 53657"/>
                  <a:gd name="connsiteY20" fmla="*/ 29101 h 53657"/>
                  <a:gd name="connsiteX21" fmla="*/ 32589 w 53657"/>
                  <a:gd name="connsiteY21" fmla="*/ 31160 h 53657"/>
                  <a:gd name="connsiteX22" fmla="*/ 27214 w 53657"/>
                  <a:gd name="connsiteY22" fmla="*/ 26185 h 53657"/>
                  <a:gd name="connsiteX23" fmla="*/ 34047 w 53657"/>
                  <a:gd name="connsiteY23" fmla="*/ 20640 h 53657"/>
                  <a:gd name="connsiteX24" fmla="*/ 28558 w 53657"/>
                  <a:gd name="connsiteY24" fmla="*/ 15037 h 53657"/>
                  <a:gd name="connsiteX25" fmla="*/ 20525 w 53657"/>
                  <a:gd name="connsiteY25" fmla="*/ 15037 h 53657"/>
                  <a:gd name="connsiteX26" fmla="*/ 20525 w 53657"/>
                  <a:gd name="connsiteY26" fmla="*/ 26157 h 53657"/>
                  <a:gd name="connsiteX27" fmla="*/ 27214 w 53657"/>
                  <a:gd name="connsiteY27" fmla="*/ 26157 h 53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53657" h="53657">
                    <a:moveTo>
                      <a:pt x="53657" y="26786"/>
                    </a:moveTo>
                    <a:cubicBezTo>
                      <a:pt x="53657" y="41708"/>
                      <a:pt x="41708" y="53657"/>
                      <a:pt x="26729" y="53657"/>
                    </a:cubicBezTo>
                    <a:cubicBezTo>
                      <a:pt x="11749" y="53657"/>
                      <a:pt x="0" y="41594"/>
                      <a:pt x="0" y="26786"/>
                    </a:cubicBezTo>
                    <a:cubicBezTo>
                      <a:pt x="0" y="11978"/>
                      <a:pt x="11949" y="0"/>
                      <a:pt x="26814" y="0"/>
                    </a:cubicBezTo>
                    <a:cubicBezTo>
                      <a:pt x="41679" y="0"/>
                      <a:pt x="53629" y="11892"/>
                      <a:pt x="53629" y="26786"/>
                    </a:cubicBezTo>
                    <a:close/>
                    <a:moveTo>
                      <a:pt x="49541" y="26900"/>
                    </a:moveTo>
                    <a:cubicBezTo>
                      <a:pt x="49541" y="14036"/>
                      <a:pt x="39392" y="3831"/>
                      <a:pt x="26843" y="3831"/>
                    </a:cubicBezTo>
                    <a:cubicBezTo>
                      <a:pt x="14293" y="3831"/>
                      <a:pt x="4145" y="13922"/>
                      <a:pt x="4145" y="26872"/>
                    </a:cubicBezTo>
                    <a:cubicBezTo>
                      <a:pt x="4145" y="39821"/>
                      <a:pt x="14408" y="49884"/>
                      <a:pt x="26729" y="49884"/>
                    </a:cubicBezTo>
                    <a:cubicBezTo>
                      <a:pt x="39049" y="49884"/>
                      <a:pt x="49541" y="39736"/>
                      <a:pt x="49541" y="26900"/>
                    </a:cubicBezTo>
                    <a:close/>
                    <a:moveTo>
                      <a:pt x="32589" y="31131"/>
                    </a:moveTo>
                    <a:lnTo>
                      <a:pt x="39335" y="41622"/>
                    </a:lnTo>
                    <a:lnTo>
                      <a:pt x="34876" y="41622"/>
                    </a:lnTo>
                    <a:lnTo>
                      <a:pt x="27386" y="29730"/>
                    </a:lnTo>
                    <a:lnTo>
                      <a:pt x="20554" y="29730"/>
                    </a:lnTo>
                    <a:lnTo>
                      <a:pt x="20554" y="41622"/>
                    </a:lnTo>
                    <a:lnTo>
                      <a:pt x="16809" y="41622"/>
                    </a:lnTo>
                    <a:lnTo>
                      <a:pt x="16809" y="11549"/>
                    </a:lnTo>
                    <a:lnTo>
                      <a:pt x="28472" y="11549"/>
                    </a:lnTo>
                    <a:cubicBezTo>
                      <a:pt x="34218" y="11549"/>
                      <a:pt x="37963" y="14636"/>
                      <a:pt x="37963" y="20411"/>
                    </a:cubicBezTo>
                    <a:cubicBezTo>
                      <a:pt x="37963" y="25071"/>
                      <a:pt x="35133" y="27958"/>
                      <a:pt x="31131" y="29101"/>
                    </a:cubicBezTo>
                    <a:cubicBezTo>
                      <a:pt x="31674" y="29702"/>
                      <a:pt x="32217" y="30445"/>
                      <a:pt x="32589" y="31160"/>
                    </a:cubicBezTo>
                    <a:close/>
                    <a:moveTo>
                      <a:pt x="27214" y="26185"/>
                    </a:moveTo>
                    <a:cubicBezTo>
                      <a:pt x="31445" y="26185"/>
                      <a:pt x="34047" y="24184"/>
                      <a:pt x="34047" y="20640"/>
                    </a:cubicBezTo>
                    <a:cubicBezTo>
                      <a:pt x="34047" y="17095"/>
                      <a:pt x="32246" y="15037"/>
                      <a:pt x="28558" y="15037"/>
                    </a:cubicBezTo>
                    <a:lnTo>
                      <a:pt x="20525" y="15037"/>
                    </a:lnTo>
                    <a:lnTo>
                      <a:pt x="20525" y="26157"/>
                    </a:lnTo>
                    <a:lnTo>
                      <a:pt x="27214" y="26157"/>
                    </a:ln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11" name="Freeform: Shape 13">
                <a:extLst>
                  <a:ext uri="{FF2B5EF4-FFF2-40B4-BE49-F238E27FC236}">
                    <a16:creationId xmlns:a16="http://schemas.microsoft.com/office/drawing/2014/main" id="{790D2529-B37A-87B0-875D-CBA685093DF2}"/>
                  </a:ext>
                </a:extLst>
              </p:cNvPr>
              <p:cNvSpPr/>
              <p:nvPr/>
            </p:nvSpPr>
            <p:spPr>
              <a:xfrm>
                <a:off x="10283815" y="3011724"/>
                <a:ext cx="68865" cy="342354"/>
              </a:xfrm>
              <a:custGeom>
                <a:avLst/>
                <a:gdLst>
                  <a:gd name="connsiteX0" fmla="*/ 62376 w 68865"/>
                  <a:gd name="connsiteY0" fmla="*/ 0 h 342354"/>
                  <a:gd name="connsiteX1" fmla="*/ 68866 w 68865"/>
                  <a:gd name="connsiteY1" fmla="*/ 6489 h 342354"/>
                  <a:gd name="connsiteX2" fmla="*/ 68866 w 68865"/>
                  <a:gd name="connsiteY2" fmla="*/ 335865 h 342354"/>
                  <a:gd name="connsiteX3" fmla="*/ 62376 w 68865"/>
                  <a:gd name="connsiteY3" fmla="*/ 342355 h 342354"/>
                  <a:gd name="connsiteX4" fmla="*/ 6489 w 68865"/>
                  <a:gd name="connsiteY4" fmla="*/ 342355 h 342354"/>
                  <a:gd name="connsiteX5" fmla="*/ 0 w 68865"/>
                  <a:gd name="connsiteY5" fmla="*/ 335865 h 342354"/>
                  <a:gd name="connsiteX6" fmla="*/ 0 w 68865"/>
                  <a:gd name="connsiteY6" fmla="*/ 6489 h 342354"/>
                  <a:gd name="connsiteX7" fmla="*/ 6489 w 68865"/>
                  <a:gd name="connsiteY7" fmla="*/ 0 h 3423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8865" h="342354">
                    <a:moveTo>
                      <a:pt x="62376" y="0"/>
                    </a:moveTo>
                    <a:cubicBezTo>
                      <a:pt x="65960" y="0"/>
                      <a:pt x="68866" y="2905"/>
                      <a:pt x="68866" y="6489"/>
                    </a:cubicBezTo>
                    <a:lnTo>
                      <a:pt x="68866" y="335865"/>
                    </a:lnTo>
                    <a:cubicBezTo>
                      <a:pt x="68866" y="339449"/>
                      <a:pt x="65960" y="342355"/>
                      <a:pt x="62376" y="342355"/>
                    </a:cubicBezTo>
                    <a:lnTo>
                      <a:pt x="6489" y="342355"/>
                    </a:lnTo>
                    <a:cubicBezTo>
                      <a:pt x="2905" y="342355"/>
                      <a:pt x="0" y="339449"/>
                      <a:pt x="0" y="335865"/>
                    </a:cubicBezTo>
                    <a:lnTo>
                      <a:pt x="0" y="6489"/>
                    </a:lnTo>
                    <a:cubicBezTo>
                      <a:pt x="0" y="2905"/>
                      <a:pt x="2905" y="0"/>
                      <a:pt x="6489" y="0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12" name="Freeform: Shape 14">
                <a:extLst>
                  <a:ext uri="{FF2B5EF4-FFF2-40B4-BE49-F238E27FC236}">
                    <a16:creationId xmlns:a16="http://schemas.microsoft.com/office/drawing/2014/main" id="{0A562DE4-7A24-6EBF-D0C2-67D6381AF712}"/>
                  </a:ext>
                </a:extLst>
              </p:cNvPr>
              <p:cNvSpPr/>
              <p:nvPr/>
            </p:nvSpPr>
            <p:spPr>
              <a:xfrm>
                <a:off x="10006809" y="3011696"/>
                <a:ext cx="258538" cy="347300"/>
              </a:xfrm>
              <a:custGeom>
                <a:avLst/>
                <a:gdLst>
                  <a:gd name="connsiteX0" fmla="*/ 143734 w 258538"/>
                  <a:gd name="connsiteY0" fmla="*/ 93393 h 347300"/>
                  <a:gd name="connsiteX1" fmla="*/ 68894 w 258538"/>
                  <a:gd name="connsiteY1" fmla="*/ 129755 h 347300"/>
                  <a:gd name="connsiteX2" fmla="*/ 68894 w 258538"/>
                  <a:gd name="connsiteY2" fmla="*/ 6489 h 347300"/>
                  <a:gd name="connsiteX3" fmla="*/ 62405 w 258538"/>
                  <a:gd name="connsiteY3" fmla="*/ 0 h 347300"/>
                  <a:gd name="connsiteX4" fmla="*/ 6489 w 258538"/>
                  <a:gd name="connsiteY4" fmla="*/ 0 h 347300"/>
                  <a:gd name="connsiteX5" fmla="*/ 0 w 258538"/>
                  <a:gd name="connsiteY5" fmla="*/ 6489 h 347300"/>
                  <a:gd name="connsiteX6" fmla="*/ 0 w 258538"/>
                  <a:gd name="connsiteY6" fmla="*/ 335894 h 347300"/>
                  <a:gd name="connsiteX7" fmla="*/ 6489 w 258538"/>
                  <a:gd name="connsiteY7" fmla="*/ 342383 h 347300"/>
                  <a:gd name="connsiteX8" fmla="*/ 62405 w 258538"/>
                  <a:gd name="connsiteY8" fmla="*/ 342383 h 347300"/>
                  <a:gd name="connsiteX9" fmla="*/ 68894 w 258538"/>
                  <a:gd name="connsiteY9" fmla="*/ 335894 h 347300"/>
                  <a:gd name="connsiteX10" fmla="*/ 68894 w 258538"/>
                  <a:gd name="connsiteY10" fmla="*/ 311624 h 347300"/>
                  <a:gd name="connsiteX11" fmla="*/ 144249 w 258538"/>
                  <a:gd name="connsiteY11" fmla="*/ 347300 h 347300"/>
                  <a:gd name="connsiteX12" fmla="*/ 258539 w 258538"/>
                  <a:gd name="connsiteY12" fmla="*/ 220689 h 347300"/>
                  <a:gd name="connsiteX13" fmla="*/ 143763 w 258538"/>
                  <a:gd name="connsiteY13" fmla="*/ 93393 h 347300"/>
                  <a:gd name="connsiteX14" fmla="*/ 130041 w 258538"/>
                  <a:gd name="connsiteY14" fmla="*/ 282637 h 347300"/>
                  <a:gd name="connsiteX15" fmla="*/ 68894 w 258538"/>
                  <a:gd name="connsiteY15" fmla="*/ 220718 h 347300"/>
                  <a:gd name="connsiteX16" fmla="*/ 130041 w 258538"/>
                  <a:gd name="connsiteY16" fmla="*/ 159285 h 347300"/>
                  <a:gd name="connsiteX17" fmla="*/ 190216 w 258538"/>
                  <a:gd name="connsiteY17" fmla="*/ 220718 h 347300"/>
                  <a:gd name="connsiteX18" fmla="*/ 130041 w 258538"/>
                  <a:gd name="connsiteY18" fmla="*/ 282637 h 347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8538" h="347300">
                    <a:moveTo>
                      <a:pt x="143734" y="93393"/>
                    </a:moveTo>
                    <a:cubicBezTo>
                      <a:pt x="111946" y="93393"/>
                      <a:pt x="85503" y="107172"/>
                      <a:pt x="68894" y="129755"/>
                    </a:cubicBezTo>
                    <a:lnTo>
                      <a:pt x="68894" y="6489"/>
                    </a:lnTo>
                    <a:cubicBezTo>
                      <a:pt x="68894" y="2916"/>
                      <a:pt x="65978" y="0"/>
                      <a:pt x="62405" y="0"/>
                    </a:cubicBezTo>
                    <a:lnTo>
                      <a:pt x="6489" y="0"/>
                    </a:lnTo>
                    <a:cubicBezTo>
                      <a:pt x="2916" y="0"/>
                      <a:pt x="0" y="2916"/>
                      <a:pt x="0" y="6489"/>
                    </a:cubicBezTo>
                    <a:lnTo>
                      <a:pt x="0" y="335894"/>
                    </a:lnTo>
                    <a:cubicBezTo>
                      <a:pt x="0" y="339467"/>
                      <a:pt x="2916" y="342383"/>
                      <a:pt x="6489" y="342383"/>
                    </a:cubicBezTo>
                    <a:lnTo>
                      <a:pt x="62405" y="342383"/>
                    </a:lnTo>
                    <a:cubicBezTo>
                      <a:pt x="65978" y="342383"/>
                      <a:pt x="68894" y="339467"/>
                      <a:pt x="68894" y="335894"/>
                    </a:cubicBezTo>
                    <a:lnTo>
                      <a:pt x="68894" y="311624"/>
                    </a:lnTo>
                    <a:cubicBezTo>
                      <a:pt x="85532" y="334236"/>
                      <a:pt x="111946" y="347300"/>
                      <a:pt x="144249" y="347300"/>
                    </a:cubicBezTo>
                    <a:cubicBezTo>
                      <a:pt x="212257" y="347300"/>
                      <a:pt x="258539" y="292442"/>
                      <a:pt x="258539" y="220689"/>
                    </a:cubicBezTo>
                    <a:cubicBezTo>
                      <a:pt x="258539" y="148937"/>
                      <a:pt x="212257" y="93393"/>
                      <a:pt x="143763" y="93393"/>
                    </a:cubicBezTo>
                    <a:close/>
                    <a:moveTo>
                      <a:pt x="130041" y="282637"/>
                    </a:moveTo>
                    <a:cubicBezTo>
                      <a:pt x="94822" y="282637"/>
                      <a:pt x="68894" y="254136"/>
                      <a:pt x="68894" y="220718"/>
                    </a:cubicBezTo>
                    <a:cubicBezTo>
                      <a:pt x="68894" y="187300"/>
                      <a:pt x="94822" y="159285"/>
                      <a:pt x="130041" y="159285"/>
                    </a:cubicBezTo>
                    <a:cubicBezTo>
                      <a:pt x="165260" y="159285"/>
                      <a:pt x="190216" y="187300"/>
                      <a:pt x="190216" y="220718"/>
                    </a:cubicBezTo>
                    <a:cubicBezTo>
                      <a:pt x="190216" y="254136"/>
                      <a:pt x="164774" y="282637"/>
                      <a:pt x="130041" y="282637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13" name="Freeform: Shape 15">
                <a:extLst>
                  <a:ext uri="{FF2B5EF4-FFF2-40B4-BE49-F238E27FC236}">
                    <a16:creationId xmlns:a16="http://schemas.microsoft.com/office/drawing/2014/main" id="{609CC692-98B7-74A9-A869-8E9C0A29C14B}"/>
                  </a:ext>
                </a:extLst>
              </p:cNvPr>
              <p:cNvSpPr/>
              <p:nvPr/>
            </p:nvSpPr>
            <p:spPr>
              <a:xfrm>
                <a:off x="9736922" y="3105088"/>
                <a:ext cx="251792" cy="253935"/>
              </a:xfrm>
              <a:custGeom>
                <a:avLst/>
                <a:gdLst>
                  <a:gd name="connsiteX0" fmla="*/ 125896 w 251792"/>
                  <a:gd name="connsiteY0" fmla="*/ 0 h 253935"/>
                  <a:gd name="connsiteX1" fmla="*/ 0 w 251792"/>
                  <a:gd name="connsiteY1" fmla="*/ 126725 h 253935"/>
                  <a:gd name="connsiteX2" fmla="*/ 125896 w 251792"/>
                  <a:gd name="connsiteY2" fmla="*/ 253936 h 253935"/>
                  <a:gd name="connsiteX3" fmla="*/ 251792 w 251792"/>
                  <a:gd name="connsiteY3" fmla="*/ 126725 h 253935"/>
                  <a:gd name="connsiteX4" fmla="*/ 125896 w 251792"/>
                  <a:gd name="connsiteY4" fmla="*/ 0 h 253935"/>
                  <a:gd name="connsiteX5" fmla="*/ 126153 w 251792"/>
                  <a:gd name="connsiteY5" fmla="*/ 188558 h 253935"/>
                  <a:gd name="connsiteX6" fmla="*/ 65378 w 251792"/>
                  <a:gd name="connsiteY6" fmla="*/ 126725 h 253935"/>
                  <a:gd name="connsiteX7" fmla="*/ 126153 w 251792"/>
                  <a:gd name="connsiteY7" fmla="*/ 65378 h 253935"/>
                  <a:gd name="connsiteX8" fmla="*/ 186443 w 251792"/>
                  <a:gd name="connsiteY8" fmla="*/ 126725 h 253935"/>
                  <a:gd name="connsiteX9" fmla="*/ 126153 w 251792"/>
                  <a:gd name="connsiteY9" fmla="*/ 188558 h 253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1792" h="253935">
                    <a:moveTo>
                      <a:pt x="125896" y="0"/>
                    </a:moveTo>
                    <a:cubicBezTo>
                      <a:pt x="54944" y="0"/>
                      <a:pt x="0" y="55287"/>
                      <a:pt x="0" y="126725"/>
                    </a:cubicBezTo>
                    <a:cubicBezTo>
                      <a:pt x="0" y="198163"/>
                      <a:pt x="54915" y="253936"/>
                      <a:pt x="125896" y="253936"/>
                    </a:cubicBezTo>
                    <a:cubicBezTo>
                      <a:pt x="196877" y="253936"/>
                      <a:pt x="251792" y="198163"/>
                      <a:pt x="251792" y="126725"/>
                    </a:cubicBezTo>
                    <a:cubicBezTo>
                      <a:pt x="251792" y="55287"/>
                      <a:pt x="196877" y="0"/>
                      <a:pt x="125896" y="0"/>
                    </a:cubicBezTo>
                    <a:close/>
                    <a:moveTo>
                      <a:pt x="126153" y="188558"/>
                    </a:moveTo>
                    <a:cubicBezTo>
                      <a:pt x="91506" y="188558"/>
                      <a:pt x="65378" y="160314"/>
                      <a:pt x="65378" y="126725"/>
                    </a:cubicBezTo>
                    <a:cubicBezTo>
                      <a:pt x="65378" y="93136"/>
                      <a:pt x="91506" y="65378"/>
                      <a:pt x="126153" y="65378"/>
                    </a:cubicBezTo>
                    <a:cubicBezTo>
                      <a:pt x="160801" y="65378"/>
                      <a:pt x="186443" y="93136"/>
                      <a:pt x="186443" y="126725"/>
                    </a:cubicBezTo>
                    <a:cubicBezTo>
                      <a:pt x="186443" y="160314"/>
                      <a:pt x="161315" y="188558"/>
                      <a:pt x="126153" y="188558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14" name="Freeform: Shape 16">
                <a:extLst>
                  <a:ext uri="{FF2B5EF4-FFF2-40B4-BE49-F238E27FC236}">
                    <a16:creationId xmlns:a16="http://schemas.microsoft.com/office/drawing/2014/main" id="{203812B4-1271-3FED-3E88-3F4A45454726}"/>
                  </a:ext>
                </a:extLst>
              </p:cNvPr>
              <p:cNvSpPr/>
              <p:nvPr/>
            </p:nvSpPr>
            <p:spPr>
              <a:xfrm>
                <a:off x="10370776" y="3105088"/>
                <a:ext cx="251792" cy="253935"/>
              </a:xfrm>
              <a:custGeom>
                <a:avLst/>
                <a:gdLst>
                  <a:gd name="connsiteX0" fmla="*/ 125896 w 251792"/>
                  <a:gd name="connsiteY0" fmla="*/ 0 h 253935"/>
                  <a:gd name="connsiteX1" fmla="*/ 0 w 251792"/>
                  <a:gd name="connsiteY1" fmla="*/ 126725 h 253935"/>
                  <a:gd name="connsiteX2" fmla="*/ 125896 w 251792"/>
                  <a:gd name="connsiteY2" fmla="*/ 253936 h 253935"/>
                  <a:gd name="connsiteX3" fmla="*/ 251792 w 251792"/>
                  <a:gd name="connsiteY3" fmla="*/ 126725 h 253935"/>
                  <a:gd name="connsiteX4" fmla="*/ 125896 w 251792"/>
                  <a:gd name="connsiteY4" fmla="*/ 0 h 253935"/>
                  <a:gd name="connsiteX5" fmla="*/ 126153 w 251792"/>
                  <a:gd name="connsiteY5" fmla="*/ 188558 h 253935"/>
                  <a:gd name="connsiteX6" fmla="*/ 65378 w 251792"/>
                  <a:gd name="connsiteY6" fmla="*/ 126725 h 253935"/>
                  <a:gd name="connsiteX7" fmla="*/ 126153 w 251792"/>
                  <a:gd name="connsiteY7" fmla="*/ 65378 h 253935"/>
                  <a:gd name="connsiteX8" fmla="*/ 186443 w 251792"/>
                  <a:gd name="connsiteY8" fmla="*/ 126725 h 253935"/>
                  <a:gd name="connsiteX9" fmla="*/ 126153 w 251792"/>
                  <a:gd name="connsiteY9" fmla="*/ 188558 h 253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1792" h="253935">
                    <a:moveTo>
                      <a:pt x="125896" y="0"/>
                    </a:moveTo>
                    <a:cubicBezTo>
                      <a:pt x="54944" y="0"/>
                      <a:pt x="0" y="55287"/>
                      <a:pt x="0" y="126725"/>
                    </a:cubicBezTo>
                    <a:cubicBezTo>
                      <a:pt x="0" y="198163"/>
                      <a:pt x="54915" y="253936"/>
                      <a:pt x="125896" y="253936"/>
                    </a:cubicBezTo>
                    <a:cubicBezTo>
                      <a:pt x="196877" y="253936"/>
                      <a:pt x="251792" y="198163"/>
                      <a:pt x="251792" y="126725"/>
                    </a:cubicBezTo>
                    <a:cubicBezTo>
                      <a:pt x="251792" y="55287"/>
                      <a:pt x="196877" y="0"/>
                      <a:pt x="125896" y="0"/>
                    </a:cubicBezTo>
                    <a:close/>
                    <a:moveTo>
                      <a:pt x="126153" y="188558"/>
                    </a:moveTo>
                    <a:cubicBezTo>
                      <a:pt x="91506" y="188558"/>
                      <a:pt x="65378" y="160314"/>
                      <a:pt x="65378" y="126725"/>
                    </a:cubicBezTo>
                    <a:cubicBezTo>
                      <a:pt x="65378" y="93136"/>
                      <a:pt x="91506" y="65378"/>
                      <a:pt x="126153" y="65378"/>
                    </a:cubicBezTo>
                    <a:cubicBezTo>
                      <a:pt x="160801" y="65378"/>
                      <a:pt x="186443" y="93136"/>
                      <a:pt x="186443" y="126725"/>
                    </a:cubicBezTo>
                    <a:cubicBezTo>
                      <a:pt x="186443" y="160314"/>
                      <a:pt x="161315" y="188558"/>
                      <a:pt x="126153" y="188558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15" name="Freeform: Shape 17">
                <a:extLst>
                  <a:ext uri="{FF2B5EF4-FFF2-40B4-BE49-F238E27FC236}">
                    <a16:creationId xmlns:a16="http://schemas.microsoft.com/office/drawing/2014/main" id="{C7FDB80C-5CC9-9475-27DB-ADA7741BDEFC}"/>
                  </a:ext>
                </a:extLst>
              </p:cNvPr>
              <p:cNvSpPr/>
              <p:nvPr/>
            </p:nvSpPr>
            <p:spPr>
              <a:xfrm>
                <a:off x="9242171" y="3110092"/>
                <a:ext cx="68865" cy="243987"/>
              </a:xfrm>
              <a:custGeom>
                <a:avLst/>
                <a:gdLst>
                  <a:gd name="connsiteX0" fmla="*/ 62405 w 68865"/>
                  <a:gd name="connsiteY0" fmla="*/ 243987 h 243987"/>
                  <a:gd name="connsiteX1" fmla="*/ 6489 w 68865"/>
                  <a:gd name="connsiteY1" fmla="*/ 243987 h 243987"/>
                  <a:gd name="connsiteX2" fmla="*/ 0 w 68865"/>
                  <a:gd name="connsiteY2" fmla="*/ 237498 h 243987"/>
                  <a:gd name="connsiteX3" fmla="*/ 0 w 68865"/>
                  <a:gd name="connsiteY3" fmla="*/ 63891 h 243987"/>
                  <a:gd name="connsiteX4" fmla="*/ 3888 w 68865"/>
                  <a:gd name="connsiteY4" fmla="*/ 54629 h 243987"/>
                  <a:gd name="connsiteX5" fmla="*/ 57860 w 68865"/>
                  <a:gd name="connsiteY5" fmla="*/ 1858 h 243987"/>
                  <a:gd name="connsiteX6" fmla="*/ 68866 w 68865"/>
                  <a:gd name="connsiteY6" fmla="*/ 6489 h 243987"/>
                  <a:gd name="connsiteX7" fmla="*/ 68866 w 68865"/>
                  <a:gd name="connsiteY7" fmla="*/ 237498 h 243987"/>
                  <a:gd name="connsiteX8" fmla="*/ 62376 w 68865"/>
                  <a:gd name="connsiteY8" fmla="*/ 243987 h 243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8865" h="243987">
                    <a:moveTo>
                      <a:pt x="62405" y="243987"/>
                    </a:moveTo>
                    <a:lnTo>
                      <a:pt x="6489" y="243987"/>
                    </a:lnTo>
                    <a:cubicBezTo>
                      <a:pt x="2916" y="243987"/>
                      <a:pt x="0" y="241071"/>
                      <a:pt x="0" y="237498"/>
                    </a:cubicBezTo>
                    <a:lnTo>
                      <a:pt x="0" y="63891"/>
                    </a:lnTo>
                    <a:cubicBezTo>
                      <a:pt x="0" y="60403"/>
                      <a:pt x="1401" y="57059"/>
                      <a:pt x="3888" y="54629"/>
                    </a:cubicBezTo>
                    <a:lnTo>
                      <a:pt x="57860" y="1858"/>
                    </a:lnTo>
                    <a:cubicBezTo>
                      <a:pt x="61976" y="-2144"/>
                      <a:pt x="68866" y="743"/>
                      <a:pt x="68866" y="6489"/>
                    </a:cubicBezTo>
                    <a:lnTo>
                      <a:pt x="68866" y="237498"/>
                    </a:lnTo>
                    <a:cubicBezTo>
                      <a:pt x="68866" y="241071"/>
                      <a:pt x="65950" y="243987"/>
                      <a:pt x="62376" y="243987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16" name="Freeform: Shape 18">
                <a:extLst>
                  <a:ext uri="{FF2B5EF4-FFF2-40B4-BE49-F238E27FC236}">
                    <a16:creationId xmlns:a16="http://schemas.microsoft.com/office/drawing/2014/main" id="{F415F7F5-FBF3-228A-4063-88C05061E75C}"/>
                  </a:ext>
                </a:extLst>
              </p:cNvPr>
              <p:cNvSpPr/>
              <p:nvPr/>
            </p:nvSpPr>
            <p:spPr>
              <a:xfrm>
                <a:off x="9347255" y="3105025"/>
                <a:ext cx="224777" cy="249082"/>
              </a:xfrm>
              <a:custGeom>
                <a:avLst/>
                <a:gdLst>
                  <a:gd name="connsiteX0" fmla="*/ 224749 w 224777"/>
                  <a:gd name="connsiteY0" fmla="*/ 87568 h 249082"/>
                  <a:gd name="connsiteX1" fmla="*/ 136416 w 224777"/>
                  <a:gd name="connsiteY1" fmla="*/ 6 h 249082"/>
                  <a:gd name="connsiteX2" fmla="*/ 68894 w 224777"/>
                  <a:gd name="connsiteY2" fmla="*/ 36540 h 249082"/>
                  <a:gd name="connsiteX3" fmla="*/ 68894 w 224777"/>
                  <a:gd name="connsiteY3" fmla="*/ 11670 h 249082"/>
                  <a:gd name="connsiteX4" fmla="*/ 62405 w 224777"/>
                  <a:gd name="connsiteY4" fmla="*/ 5181 h 249082"/>
                  <a:gd name="connsiteX5" fmla="*/ 6489 w 224777"/>
                  <a:gd name="connsiteY5" fmla="*/ 5181 h 249082"/>
                  <a:gd name="connsiteX6" fmla="*/ 0 w 224777"/>
                  <a:gd name="connsiteY6" fmla="*/ 11670 h 249082"/>
                  <a:gd name="connsiteX7" fmla="*/ 0 w 224777"/>
                  <a:gd name="connsiteY7" fmla="*/ 242565 h 249082"/>
                  <a:gd name="connsiteX8" fmla="*/ 6489 w 224777"/>
                  <a:gd name="connsiteY8" fmla="*/ 249054 h 249082"/>
                  <a:gd name="connsiteX9" fmla="*/ 62405 w 224777"/>
                  <a:gd name="connsiteY9" fmla="*/ 249054 h 249082"/>
                  <a:gd name="connsiteX10" fmla="*/ 68894 w 224777"/>
                  <a:gd name="connsiteY10" fmla="*/ 242565 h 249082"/>
                  <a:gd name="connsiteX11" fmla="*/ 68894 w 224777"/>
                  <a:gd name="connsiteY11" fmla="*/ 108293 h 249082"/>
                  <a:gd name="connsiteX12" fmla="*/ 112375 w 224777"/>
                  <a:gd name="connsiteY12" fmla="*/ 66385 h 249082"/>
                  <a:gd name="connsiteX13" fmla="*/ 155884 w 224777"/>
                  <a:gd name="connsiteY13" fmla="*/ 111266 h 249082"/>
                  <a:gd name="connsiteX14" fmla="*/ 155884 w 224777"/>
                  <a:gd name="connsiteY14" fmla="*/ 242593 h 249082"/>
                  <a:gd name="connsiteX15" fmla="*/ 162373 w 224777"/>
                  <a:gd name="connsiteY15" fmla="*/ 249083 h 249082"/>
                  <a:gd name="connsiteX16" fmla="*/ 218289 w 224777"/>
                  <a:gd name="connsiteY16" fmla="*/ 249083 h 249082"/>
                  <a:gd name="connsiteX17" fmla="*/ 224778 w 224777"/>
                  <a:gd name="connsiteY17" fmla="*/ 242593 h 249082"/>
                  <a:gd name="connsiteX18" fmla="*/ 224778 w 224777"/>
                  <a:gd name="connsiteY18" fmla="*/ 87596 h 249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4777" h="249082">
                    <a:moveTo>
                      <a:pt x="224749" y="87568"/>
                    </a:moveTo>
                    <a:cubicBezTo>
                      <a:pt x="224749" y="40257"/>
                      <a:pt x="185671" y="578"/>
                      <a:pt x="136416" y="6"/>
                    </a:cubicBezTo>
                    <a:cubicBezTo>
                      <a:pt x="104370" y="-365"/>
                      <a:pt x="82730" y="15329"/>
                      <a:pt x="68894" y="36540"/>
                    </a:cubicBezTo>
                    <a:lnTo>
                      <a:pt x="68894" y="11670"/>
                    </a:lnTo>
                    <a:cubicBezTo>
                      <a:pt x="68894" y="8097"/>
                      <a:pt x="65978" y="5181"/>
                      <a:pt x="62405" y="5181"/>
                    </a:cubicBezTo>
                    <a:lnTo>
                      <a:pt x="6489" y="5181"/>
                    </a:lnTo>
                    <a:cubicBezTo>
                      <a:pt x="2916" y="5181"/>
                      <a:pt x="0" y="8097"/>
                      <a:pt x="0" y="11670"/>
                    </a:cubicBezTo>
                    <a:lnTo>
                      <a:pt x="0" y="242565"/>
                    </a:lnTo>
                    <a:cubicBezTo>
                      <a:pt x="0" y="246138"/>
                      <a:pt x="2916" y="249054"/>
                      <a:pt x="6489" y="249054"/>
                    </a:cubicBezTo>
                    <a:lnTo>
                      <a:pt x="62405" y="249054"/>
                    </a:lnTo>
                    <a:cubicBezTo>
                      <a:pt x="65978" y="249054"/>
                      <a:pt x="68894" y="246138"/>
                      <a:pt x="68894" y="242565"/>
                    </a:cubicBezTo>
                    <a:lnTo>
                      <a:pt x="68894" y="108293"/>
                    </a:lnTo>
                    <a:cubicBezTo>
                      <a:pt x="70438" y="82451"/>
                      <a:pt x="86818" y="66385"/>
                      <a:pt x="112375" y="66385"/>
                    </a:cubicBezTo>
                    <a:cubicBezTo>
                      <a:pt x="137931" y="66385"/>
                      <a:pt x="155884" y="84423"/>
                      <a:pt x="155884" y="111266"/>
                    </a:cubicBezTo>
                    <a:lnTo>
                      <a:pt x="155884" y="242593"/>
                    </a:lnTo>
                    <a:cubicBezTo>
                      <a:pt x="155884" y="246167"/>
                      <a:pt x="158800" y="249083"/>
                      <a:pt x="162373" y="249083"/>
                    </a:cubicBezTo>
                    <a:lnTo>
                      <a:pt x="218289" y="249083"/>
                    </a:lnTo>
                    <a:cubicBezTo>
                      <a:pt x="221862" y="249083"/>
                      <a:pt x="224778" y="246167"/>
                      <a:pt x="224778" y="242593"/>
                    </a:cubicBezTo>
                    <a:lnTo>
                      <a:pt x="224778" y="87596"/>
                    </a:ln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</p:grpSp>
      </p:grpSp>
      <p:sp>
        <p:nvSpPr>
          <p:cNvPr id="17" name="Oval 16">
            <a:extLst>
              <a:ext uri="{FF2B5EF4-FFF2-40B4-BE49-F238E27FC236}">
                <a16:creationId xmlns:a16="http://schemas.microsoft.com/office/drawing/2014/main" id="{42EBD9E4-A034-DED4-144C-EE48080802FD}"/>
              </a:ext>
            </a:extLst>
          </p:cNvPr>
          <p:cNvSpPr/>
          <p:nvPr userDrawn="1"/>
        </p:nvSpPr>
        <p:spPr>
          <a:xfrm>
            <a:off x="42929" y="6364224"/>
            <a:ext cx="493776" cy="493776"/>
          </a:xfrm>
          <a:prstGeom prst="ellipse">
            <a:avLst/>
          </a:prstGeom>
          <a:solidFill>
            <a:srgbClr val="D9E1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rgbClr val="10182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5662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AAA91C93-6755-27C6-1ADD-A48E0C086DE2}"/>
              </a:ext>
            </a:extLst>
          </p:cNvPr>
          <p:cNvGrpSpPr/>
          <p:nvPr userDrawn="1"/>
        </p:nvGrpSpPr>
        <p:grpSpPr>
          <a:xfrm>
            <a:off x="11122821" y="6472473"/>
            <a:ext cx="799629" cy="166100"/>
            <a:chOff x="11122821" y="6472473"/>
            <a:chExt cx="799629" cy="166100"/>
          </a:xfrm>
        </p:grpSpPr>
        <p:sp>
          <p:nvSpPr>
            <p:cNvPr id="10" name="Freeform: Shape 11">
              <a:extLst>
                <a:ext uri="{FF2B5EF4-FFF2-40B4-BE49-F238E27FC236}">
                  <a16:creationId xmlns:a16="http://schemas.microsoft.com/office/drawing/2014/main" id="{C0C31E08-09C3-29DC-BF86-6A4BA0CA7114}"/>
                </a:ext>
              </a:extLst>
            </p:cNvPr>
            <p:cNvSpPr/>
            <p:nvPr/>
          </p:nvSpPr>
          <p:spPr>
            <a:xfrm rot="18900000">
              <a:off x="11134957" y="6473485"/>
              <a:ext cx="35147" cy="35147"/>
            </a:xfrm>
            <a:custGeom>
              <a:avLst/>
              <a:gdLst>
                <a:gd name="connsiteX0" fmla="*/ 32044 w 35147"/>
                <a:gd name="connsiteY0" fmla="*/ 0 h 35147"/>
                <a:gd name="connsiteX1" fmla="*/ 35148 w 35147"/>
                <a:gd name="connsiteY1" fmla="*/ 3103 h 35147"/>
                <a:gd name="connsiteX2" fmla="*/ 35148 w 35147"/>
                <a:gd name="connsiteY2" fmla="*/ 32044 h 35147"/>
                <a:gd name="connsiteX3" fmla="*/ 32044 w 35147"/>
                <a:gd name="connsiteY3" fmla="*/ 35148 h 35147"/>
                <a:gd name="connsiteX4" fmla="*/ 3103 w 35147"/>
                <a:gd name="connsiteY4" fmla="*/ 35148 h 35147"/>
                <a:gd name="connsiteX5" fmla="*/ 0 w 35147"/>
                <a:gd name="connsiteY5" fmla="*/ 32044 h 35147"/>
                <a:gd name="connsiteX6" fmla="*/ 0 w 35147"/>
                <a:gd name="connsiteY6" fmla="*/ 3103 h 35147"/>
                <a:gd name="connsiteX7" fmla="*/ 3103 w 35147"/>
                <a:gd name="connsiteY7" fmla="*/ 0 h 35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147" h="35147">
                  <a:moveTo>
                    <a:pt x="32044" y="0"/>
                  </a:moveTo>
                  <a:cubicBezTo>
                    <a:pt x="33758" y="0"/>
                    <a:pt x="35148" y="1389"/>
                    <a:pt x="35148" y="3103"/>
                  </a:cubicBezTo>
                  <a:lnTo>
                    <a:pt x="35148" y="32044"/>
                  </a:lnTo>
                  <a:cubicBezTo>
                    <a:pt x="35148" y="33758"/>
                    <a:pt x="33758" y="35148"/>
                    <a:pt x="32044" y="35148"/>
                  </a:cubicBezTo>
                  <a:lnTo>
                    <a:pt x="3103" y="35148"/>
                  </a:lnTo>
                  <a:cubicBezTo>
                    <a:pt x="1389" y="35148"/>
                    <a:pt x="0" y="33758"/>
                    <a:pt x="0" y="32044"/>
                  </a:cubicBezTo>
                  <a:lnTo>
                    <a:pt x="0" y="3103"/>
                  </a:lnTo>
                  <a:cubicBezTo>
                    <a:pt x="0" y="1389"/>
                    <a:pt x="1389" y="0"/>
                    <a:pt x="3103" y="0"/>
                  </a:cubicBezTo>
                  <a:close/>
                </a:path>
              </a:pathLst>
            </a:custGeom>
            <a:solidFill>
              <a:srgbClr val="00BD4D"/>
            </a:solidFill>
            <a:ln w="135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C570BB73-82FE-2742-D5A7-1A2E649FE76E}"/>
                </a:ext>
              </a:extLst>
            </p:cNvPr>
            <p:cNvGrpSpPr/>
            <p:nvPr/>
          </p:nvGrpSpPr>
          <p:grpSpPr>
            <a:xfrm>
              <a:off x="11122821" y="6472473"/>
              <a:ext cx="799629" cy="166100"/>
              <a:chOff x="11122821" y="6472473"/>
              <a:chExt cx="799629" cy="166100"/>
            </a:xfrm>
            <a:solidFill>
              <a:schemeClr val="bg1"/>
            </a:solidFill>
          </p:grpSpPr>
          <p:sp>
            <p:nvSpPr>
              <p:cNvPr id="13" name="Freeform: Shape 13">
                <a:extLst>
                  <a:ext uri="{FF2B5EF4-FFF2-40B4-BE49-F238E27FC236}">
                    <a16:creationId xmlns:a16="http://schemas.microsoft.com/office/drawing/2014/main" id="{8D027BA2-80C9-F8E5-0226-4B9DB52A412B}"/>
                  </a:ext>
                </a:extLst>
              </p:cNvPr>
              <p:cNvSpPr/>
              <p:nvPr/>
            </p:nvSpPr>
            <p:spPr>
              <a:xfrm>
                <a:off x="11774281" y="6519597"/>
                <a:ext cx="119385" cy="116611"/>
              </a:xfrm>
              <a:custGeom>
                <a:avLst/>
                <a:gdLst>
                  <a:gd name="connsiteX0" fmla="*/ 82523 w 119385"/>
                  <a:gd name="connsiteY0" fmla="*/ 58306 h 116611"/>
                  <a:gd name="connsiteX1" fmla="*/ 118887 w 119385"/>
                  <a:gd name="connsiteY1" fmla="*/ 112265 h 116611"/>
                  <a:gd name="connsiteX2" fmla="*/ 116385 w 119385"/>
                  <a:gd name="connsiteY2" fmla="*/ 116612 h 116611"/>
                  <a:gd name="connsiteX3" fmla="*/ 85831 w 119385"/>
                  <a:gd name="connsiteY3" fmla="*/ 116612 h 116611"/>
                  <a:gd name="connsiteX4" fmla="*/ 80718 w 119385"/>
                  <a:gd name="connsiteY4" fmla="*/ 113919 h 116611"/>
                  <a:gd name="connsiteX5" fmla="*/ 59693 w 119385"/>
                  <a:gd name="connsiteY5" fmla="*/ 81751 h 116611"/>
                  <a:gd name="connsiteX6" fmla="*/ 38667 w 119385"/>
                  <a:gd name="connsiteY6" fmla="*/ 113919 h 116611"/>
                  <a:gd name="connsiteX7" fmla="*/ 33554 w 119385"/>
                  <a:gd name="connsiteY7" fmla="*/ 116612 h 116611"/>
                  <a:gd name="connsiteX8" fmla="*/ 3000 w 119385"/>
                  <a:gd name="connsiteY8" fmla="*/ 116612 h 116611"/>
                  <a:gd name="connsiteX9" fmla="*/ 498 w 119385"/>
                  <a:gd name="connsiteY9" fmla="*/ 112265 h 116611"/>
                  <a:gd name="connsiteX10" fmla="*/ 36753 w 119385"/>
                  <a:gd name="connsiteY10" fmla="*/ 58306 h 116611"/>
                  <a:gd name="connsiteX11" fmla="*/ 498 w 119385"/>
                  <a:gd name="connsiteY11" fmla="*/ 4347 h 116611"/>
                  <a:gd name="connsiteX12" fmla="*/ 3000 w 119385"/>
                  <a:gd name="connsiteY12" fmla="*/ 0 h 116611"/>
                  <a:gd name="connsiteX13" fmla="*/ 34853 w 119385"/>
                  <a:gd name="connsiteY13" fmla="*/ 0 h 116611"/>
                  <a:gd name="connsiteX14" fmla="*/ 37778 w 119385"/>
                  <a:gd name="connsiteY14" fmla="*/ 1449 h 116611"/>
                  <a:gd name="connsiteX15" fmla="*/ 59679 w 119385"/>
                  <a:gd name="connsiteY15" fmla="*/ 34806 h 116611"/>
                  <a:gd name="connsiteX16" fmla="*/ 80240 w 119385"/>
                  <a:gd name="connsiteY16" fmla="*/ 1463 h 116611"/>
                  <a:gd name="connsiteX17" fmla="*/ 83165 w 119385"/>
                  <a:gd name="connsiteY17" fmla="*/ 0 h 116611"/>
                  <a:gd name="connsiteX18" fmla="*/ 115333 w 119385"/>
                  <a:gd name="connsiteY18" fmla="*/ 0 h 116611"/>
                  <a:gd name="connsiteX19" fmla="*/ 117834 w 119385"/>
                  <a:gd name="connsiteY19" fmla="*/ 4334 h 116611"/>
                  <a:gd name="connsiteX20" fmla="*/ 82495 w 119385"/>
                  <a:gd name="connsiteY20" fmla="*/ 58306 h 116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19385" h="116611">
                    <a:moveTo>
                      <a:pt x="82523" y="58306"/>
                    </a:moveTo>
                    <a:lnTo>
                      <a:pt x="118887" y="112265"/>
                    </a:lnTo>
                    <a:cubicBezTo>
                      <a:pt x="120199" y="114124"/>
                      <a:pt x="118764" y="116612"/>
                      <a:pt x="116385" y="116612"/>
                    </a:cubicBezTo>
                    <a:lnTo>
                      <a:pt x="85831" y="116612"/>
                    </a:lnTo>
                    <a:cubicBezTo>
                      <a:pt x="83794" y="116612"/>
                      <a:pt x="81880" y="115600"/>
                      <a:pt x="80718" y="113919"/>
                    </a:cubicBezTo>
                    <a:lnTo>
                      <a:pt x="59693" y="81751"/>
                    </a:lnTo>
                    <a:lnTo>
                      <a:pt x="38667" y="113919"/>
                    </a:lnTo>
                    <a:cubicBezTo>
                      <a:pt x="37505" y="115600"/>
                      <a:pt x="35605" y="116612"/>
                      <a:pt x="33554" y="116612"/>
                    </a:cubicBezTo>
                    <a:lnTo>
                      <a:pt x="3000" y="116612"/>
                    </a:lnTo>
                    <a:cubicBezTo>
                      <a:pt x="621" y="116612"/>
                      <a:pt x="-814" y="114138"/>
                      <a:pt x="498" y="112265"/>
                    </a:cubicBezTo>
                    <a:lnTo>
                      <a:pt x="36753" y="58306"/>
                    </a:lnTo>
                    <a:lnTo>
                      <a:pt x="498" y="4347"/>
                    </a:lnTo>
                    <a:cubicBezTo>
                      <a:pt x="-814" y="2488"/>
                      <a:pt x="621" y="0"/>
                      <a:pt x="3000" y="0"/>
                    </a:cubicBezTo>
                    <a:lnTo>
                      <a:pt x="34853" y="0"/>
                    </a:lnTo>
                    <a:cubicBezTo>
                      <a:pt x="36042" y="0"/>
                      <a:pt x="37149" y="547"/>
                      <a:pt x="37778" y="1449"/>
                    </a:cubicBezTo>
                    <a:lnTo>
                      <a:pt x="59679" y="34806"/>
                    </a:lnTo>
                    <a:lnTo>
                      <a:pt x="80240" y="1463"/>
                    </a:lnTo>
                    <a:cubicBezTo>
                      <a:pt x="80855" y="561"/>
                      <a:pt x="81976" y="0"/>
                      <a:pt x="83165" y="0"/>
                    </a:cubicBezTo>
                    <a:lnTo>
                      <a:pt x="115333" y="0"/>
                    </a:lnTo>
                    <a:cubicBezTo>
                      <a:pt x="117711" y="0"/>
                      <a:pt x="119133" y="2474"/>
                      <a:pt x="117834" y="4334"/>
                    </a:cubicBezTo>
                    <a:lnTo>
                      <a:pt x="82495" y="58306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" name="Freeform: Shape 14">
                <a:extLst>
                  <a:ext uri="{FF2B5EF4-FFF2-40B4-BE49-F238E27FC236}">
                    <a16:creationId xmlns:a16="http://schemas.microsoft.com/office/drawing/2014/main" id="{8CF1D8E2-C418-91B7-37E7-68C49337D819}"/>
                  </a:ext>
                </a:extLst>
              </p:cNvPr>
              <p:cNvSpPr/>
              <p:nvPr/>
            </p:nvSpPr>
            <p:spPr>
              <a:xfrm>
                <a:off x="11284928" y="6472473"/>
                <a:ext cx="78825" cy="163762"/>
              </a:xfrm>
              <a:custGeom>
                <a:avLst/>
                <a:gdLst>
                  <a:gd name="connsiteX0" fmla="*/ 75722 w 78825"/>
                  <a:gd name="connsiteY0" fmla="*/ 14 h 163762"/>
                  <a:gd name="connsiteX1" fmla="*/ 50377 w 78825"/>
                  <a:gd name="connsiteY1" fmla="*/ 14 h 163762"/>
                  <a:gd name="connsiteX2" fmla="*/ 43801 w 78825"/>
                  <a:gd name="connsiteY2" fmla="*/ 2734 h 163762"/>
                  <a:gd name="connsiteX3" fmla="*/ 19987 w 78825"/>
                  <a:gd name="connsiteY3" fmla="*/ 26549 h 163762"/>
                  <a:gd name="connsiteX4" fmla="*/ 17266 w 78825"/>
                  <a:gd name="connsiteY4" fmla="*/ 33124 h 163762"/>
                  <a:gd name="connsiteX5" fmla="*/ 17266 w 78825"/>
                  <a:gd name="connsiteY5" fmla="*/ 51867 h 163762"/>
                  <a:gd name="connsiteX6" fmla="*/ 3049 w 78825"/>
                  <a:gd name="connsiteY6" fmla="*/ 51867 h 163762"/>
                  <a:gd name="connsiteX7" fmla="*/ 0 w 78825"/>
                  <a:gd name="connsiteY7" fmla="*/ 54916 h 163762"/>
                  <a:gd name="connsiteX8" fmla="*/ 0 w 78825"/>
                  <a:gd name="connsiteY8" fmla="*/ 75955 h 163762"/>
                  <a:gd name="connsiteX9" fmla="*/ 3049 w 78825"/>
                  <a:gd name="connsiteY9" fmla="*/ 79004 h 163762"/>
                  <a:gd name="connsiteX10" fmla="*/ 17266 w 78825"/>
                  <a:gd name="connsiteY10" fmla="*/ 79004 h 163762"/>
                  <a:gd name="connsiteX11" fmla="*/ 17266 w 78825"/>
                  <a:gd name="connsiteY11" fmla="*/ 160659 h 163762"/>
                  <a:gd name="connsiteX12" fmla="*/ 20369 w 78825"/>
                  <a:gd name="connsiteY12" fmla="*/ 163763 h 163762"/>
                  <a:gd name="connsiteX13" fmla="*/ 47109 w 78825"/>
                  <a:gd name="connsiteY13" fmla="*/ 163763 h 163762"/>
                  <a:gd name="connsiteX14" fmla="*/ 50213 w 78825"/>
                  <a:gd name="connsiteY14" fmla="*/ 160659 h 163762"/>
                  <a:gd name="connsiteX15" fmla="*/ 50213 w 78825"/>
                  <a:gd name="connsiteY15" fmla="*/ 78990 h 163762"/>
                  <a:gd name="connsiteX16" fmla="*/ 71443 w 78825"/>
                  <a:gd name="connsiteY16" fmla="*/ 78990 h 163762"/>
                  <a:gd name="connsiteX17" fmla="*/ 74492 w 78825"/>
                  <a:gd name="connsiteY17" fmla="*/ 75941 h 163762"/>
                  <a:gd name="connsiteX18" fmla="*/ 74492 w 78825"/>
                  <a:gd name="connsiteY18" fmla="*/ 54902 h 163762"/>
                  <a:gd name="connsiteX19" fmla="*/ 71443 w 78825"/>
                  <a:gd name="connsiteY19" fmla="*/ 51853 h 163762"/>
                  <a:gd name="connsiteX20" fmla="*/ 50213 w 78825"/>
                  <a:gd name="connsiteY20" fmla="*/ 51853 h 163762"/>
                  <a:gd name="connsiteX21" fmla="*/ 50213 w 78825"/>
                  <a:gd name="connsiteY21" fmla="*/ 38565 h 163762"/>
                  <a:gd name="connsiteX22" fmla="*/ 59509 w 78825"/>
                  <a:gd name="connsiteY22" fmla="*/ 29269 h 163762"/>
                  <a:gd name="connsiteX23" fmla="*/ 75722 w 78825"/>
                  <a:gd name="connsiteY23" fmla="*/ 29269 h 163762"/>
                  <a:gd name="connsiteX24" fmla="*/ 78826 w 78825"/>
                  <a:gd name="connsiteY24" fmla="*/ 26166 h 163762"/>
                  <a:gd name="connsiteX25" fmla="*/ 78826 w 78825"/>
                  <a:gd name="connsiteY25" fmla="*/ 3103 h 163762"/>
                  <a:gd name="connsiteX26" fmla="*/ 75722 w 78825"/>
                  <a:gd name="connsiteY26" fmla="*/ 0 h 163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78825" h="163762">
                    <a:moveTo>
                      <a:pt x="75722" y="14"/>
                    </a:moveTo>
                    <a:lnTo>
                      <a:pt x="50377" y="14"/>
                    </a:lnTo>
                    <a:cubicBezTo>
                      <a:pt x="47916" y="14"/>
                      <a:pt x="45551" y="998"/>
                      <a:pt x="43801" y="2734"/>
                    </a:cubicBezTo>
                    <a:lnTo>
                      <a:pt x="19987" y="26549"/>
                    </a:lnTo>
                    <a:cubicBezTo>
                      <a:pt x="18237" y="28299"/>
                      <a:pt x="17266" y="30664"/>
                      <a:pt x="17266" y="33124"/>
                    </a:cubicBezTo>
                    <a:lnTo>
                      <a:pt x="17266" y="51867"/>
                    </a:lnTo>
                    <a:lnTo>
                      <a:pt x="3049" y="51867"/>
                    </a:lnTo>
                    <a:cubicBezTo>
                      <a:pt x="1367" y="51867"/>
                      <a:pt x="0" y="53234"/>
                      <a:pt x="0" y="54916"/>
                    </a:cubicBezTo>
                    <a:lnTo>
                      <a:pt x="0" y="75955"/>
                    </a:lnTo>
                    <a:cubicBezTo>
                      <a:pt x="0" y="77636"/>
                      <a:pt x="1367" y="79004"/>
                      <a:pt x="3049" y="79004"/>
                    </a:cubicBezTo>
                    <a:lnTo>
                      <a:pt x="17266" y="79004"/>
                    </a:lnTo>
                    <a:lnTo>
                      <a:pt x="17266" y="160659"/>
                    </a:lnTo>
                    <a:cubicBezTo>
                      <a:pt x="17266" y="162368"/>
                      <a:pt x="18661" y="163763"/>
                      <a:pt x="20369" y="163763"/>
                    </a:cubicBezTo>
                    <a:lnTo>
                      <a:pt x="47109" y="163763"/>
                    </a:lnTo>
                    <a:cubicBezTo>
                      <a:pt x="48818" y="163763"/>
                      <a:pt x="50213" y="162368"/>
                      <a:pt x="50213" y="160659"/>
                    </a:cubicBezTo>
                    <a:lnTo>
                      <a:pt x="50213" y="78990"/>
                    </a:lnTo>
                    <a:lnTo>
                      <a:pt x="71443" y="78990"/>
                    </a:lnTo>
                    <a:cubicBezTo>
                      <a:pt x="73125" y="78990"/>
                      <a:pt x="74492" y="77623"/>
                      <a:pt x="74492" y="75941"/>
                    </a:cubicBezTo>
                    <a:lnTo>
                      <a:pt x="74492" y="54902"/>
                    </a:lnTo>
                    <a:cubicBezTo>
                      <a:pt x="74492" y="53220"/>
                      <a:pt x="73125" y="51853"/>
                      <a:pt x="71443" y="51853"/>
                    </a:cubicBezTo>
                    <a:lnTo>
                      <a:pt x="50213" y="51853"/>
                    </a:lnTo>
                    <a:lnTo>
                      <a:pt x="50213" y="38565"/>
                    </a:lnTo>
                    <a:cubicBezTo>
                      <a:pt x="50213" y="33425"/>
                      <a:pt x="54382" y="29269"/>
                      <a:pt x="59509" y="29269"/>
                    </a:cubicBezTo>
                    <a:lnTo>
                      <a:pt x="75722" y="29269"/>
                    </a:lnTo>
                    <a:cubicBezTo>
                      <a:pt x="77431" y="29269"/>
                      <a:pt x="78826" y="27875"/>
                      <a:pt x="78826" y="26166"/>
                    </a:cubicBezTo>
                    <a:lnTo>
                      <a:pt x="78826" y="3103"/>
                    </a:lnTo>
                    <a:cubicBezTo>
                      <a:pt x="78826" y="1394"/>
                      <a:pt x="77431" y="0"/>
                      <a:pt x="75722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" name="Freeform: Shape 15">
                <a:extLst>
                  <a:ext uri="{FF2B5EF4-FFF2-40B4-BE49-F238E27FC236}">
                    <a16:creationId xmlns:a16="http://schemas.microsoft.com/office/drawing/2014/main" id="{45489233-A829-6DA4-D378-85ED7E2E3C44}"/>
                  </a:ext>
                </a:extLst>
              </p:cNvPr>
              <p:cNvSpPr/>
              <p:nvPr/>
            </p:nvSpPr>
            <p:spPr>
              <a:xfrm>
                <a:off x="11896791" y="6612367"/>
                <a:ext cx="25659" cy="25660"/>
              </a:xfrm>
              <a:custGeom>
                <a:avLst/>
                <a:gdLst>
                  <a:gd name="connsiteX0" fmla="*/ 25660 w 25659"/>
                  <a:gd name="connsiteY0" fmla="*/ 12810 h 25660"/>
                  <a:gd name="connsiteX1" fmla="*/ 12782 w 25659"/>
                  <a:gd name="connsiteY1" fmla="*/ 25660 h 25660"/>
                  <a:gd name="connsiteX2" fmla="*/ 0 w 25659"/>
                  <a:gd name="connsiteY2" fmla="*/ 12810 h 25660"/>
                  <a:gd name="connsiteX3" fmla="*/ 12823 w 25659"/>
                  <a:gd name="connsiteY3" fmla="*/ 0 h 25660"/>
                  <a:gd name="connsiteX4" fmla="*/ 25646 w 25659"/>
                  <a:gd name="connsiteY4" fmla="*/ 12810 h 25660"/>
                  <a:gd name="connsiteX5" fmla="*/ 23691 w 25659"/>
                  <a:gd name="connsiteY5" fmla="*/ 12864 h 25660"/>
                  <a:gd name="connsiteX6" fmla="*/ 12837 w 25659"/>
                  <a:gd name="connsiteY6" fmla="*/ 1832 h 25660"/>
                  <a:gd name="connsiteX7" fmla="*/ 1982 w 25659"/>
                  <a:gd name="connsiteY7" fmla="*/ 12851 h 25660"/>
                  <a:gd name="connsiteX8" fmla="*/ 12782 w 25659"/>
                  <a:gd name="connsiteY8" fmla="*/ 23856 h 25660"/>
                  <a:gd name="connsiteX9" fmla="*/ 23691 w 25659"/>
                  <a:gd name="connsiteY9" fmla="*/ 12864 h 25660"/>
                  <a:gd name="connsiteX10" fmla="*/ 15585 w 25659"/>
                  <a:gd name="connsiteY10" fmla="*/ 14888 h 25660"/>
                  <a:gd name="connsiteX11" fmla="*/ 18811 w 25659"/>
                  <a:gd name="connsiteY11" fmla="*/ 19905 h 25660"/>
                  <a:gd name="connsiteX12" fmla="*/ 16678 w 25659"/>
                  <a:gd name="connsiteY12" fmla="*/ 19905 h 25660"/>
                  <a:gd name="connsiteX13" fmla="*/ 13097 w 25659"/>
                  <a:gd name="connsiteY13" fmla="*/ 14218 h 25660"/>
                  <a:gd name="connsiteX14" fmla="*/ 9829 w 25659"/>
                  <a:gd name="connsiteY14" fmla="*/ 14218 h 25660"/>
                  <a:gd name="connsiteX15" fmla="*/ 9829 w 25659"/>
                  <a:gd name="connsiteY15" fmla="*/ 19905 h 25660"/>
                  <a:gd name="connsiteX16" fmla="*/ 8038 w 25659"/>
                  <a:gd name="connsiteY16" fmla="*/ 19905 h 25660"/>
                  <a:gd name="connsiteX17" fmla="*/ 8038 w 25659"/>
                  <a:gd name="connsiteY17" fmla="*/ 5523 h 25660"/>
                  <a:gd name="connsiteX18" fmla="*/ 13616 w 25659"/>
                  <a:gd name="connsiteY18" fmla="*/ 5523 h 25660"/>
                  <a:gd name="connsiteX19" fmla="*/ 18155 w 25659"/>
                  <a:gd name="connsiteY19" fmla="*/ 9761 h 25660"/>
                  <a:gd name="connsiteX20" fmla="*/ 14887 w 25659"/>
                  <a:gd name="connsiteY20" fmla="*/ 13917 h 25660"/>
                  <a:gd name="connsiteX21" fmla="*/ 15585 w 25659"/>
                  <a:gd name="connsiteY21" fmla="*/ 14901 h 25660"/>
                  <a:gd name="connsiteX22" fmla="*/ 13015 w 25659"/>
                  <a:gd name="connsiteY22" fmla="*/ 12522 h 25660"/>
                  <a:gd name="connsiteX23" fmla="*/ 16282 w 25659"/>
                  <a:gd name="connsiteY23" fmla="*/ 9870 h 25660"/>
                  <a:gd name="connsiteX24" fmla="*/ 13657 w 25659"/>
                  <a:gd name="connsiteY24" fmla="*/ 7191 h 25660"/>
                  <a:gd name="connsiteX25" fmla="*/ 9816 w 25659"/>
                  <a:gd name="connsiteY25" fmla="*/ 7191 h 25660"/>
                  <a:gd name="connsiteX26" fmla="*/ 9816 w 25659"/>
                  <a:gd name="connsiteY26" fmla="*/ 12509 h 25660"/>
                  <a:gd name="connsiteX27" fmla="*/ 13015 w 25659"/>
                  <a:gd name="connsiteY27" fmla="*/ 12509 h 25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25659" h="25660">
                    <a:moveTo>
                      <a:pt x="25660" y="12810"/>
                    </a:moveTo>
                    <a:cubicBezTo>
                      <a:pt x="25660" y="19946"/>
                      <a:pt x="19946" y="25660"/>
                      <a:pt x="12782" y="25660"/>
                    </a:cubicBezTo>
                    <a:cubicBezTo>
                      <a:pt x="5619" y="25660"/>
                      <a:pt x="0" y="19891"/>
                      <a:pt x="0" y="12810"/>
                    </a:cubicBezTo>
                    <a:cubicBezTo>
                      <a:pt x="0" y="5728"/>
                      <a:pt x="5714" y="0"/>
                      <a:pt x="12823" y="0"/>
                    </a:cubicBezTo>
                    <a:cubicBezTo>
                      <a:pt x="19932" y="0"/>
                      <a:pt x="25646" y="5687"/>
                      <a:pt x="25646" y="12810"/>
                    </a:cubicBezTo>
                    <a:close/>
                    <a:moveTo>
                      <a:pt x="23691" y="12864"/>
                    </a:moveTo>
                    <a:cubicBezTo>
                      <a:pt x="23691" y="6712"/>
                      <a:pt x="18838" y="1832"/>
                      <a:pt x="12837" y="1832"/>
                    </a:cubicBezTo>
                    <a:cubicBezTo>
                      <a:pt x="6835" y="1832"/>
                      <a:pt x="1982" y="6658"/>
                      <a:pt x="1982" y="12851"/>
                    </a:cubicBezTo>
                    <a:cubicBezTo>
                      <a:pt x="1982" y="19043"/>
                      <a:pt x="6890" y="23856"/>
                      <a:pt x="12782" y="23856"/>
                    </a:cubicBezTo>
                    <a:cubicBezTo>
                      <a:pt x="18674" y="23856"/>
                      <a:pt x="23691" y="19002"/>
                      <a:pt x="23691" y="12864"/>
                    </a:cubicBezTo>
                    <a:close/>
                    <a:moveTo>
                      <a:pt x="15585" y="14888"/>
                    </a:moveTo>
                    <a:lnTo>
                      <a:pt x="18811" y="19905"/>
                    </a:lnTo>
                    <a:lnTo>
                      <a:pt x="16678" y="19905"/>
                    </a:lnTo>
                    <a:lnTo>
                      <a:pt x="13097" y="14218"/>
                    </a:lnTo>
                    <a:lnTo>
                      <a:pt x="9829" y="14218"/>
                    </a:lnTo>
                    <a:lnTo>
                      <a:pt x="9829" y="19905"/>
                    </a:lnTo>
                    <a:lnTo>
                      <a:pt x="8038" y="19905"/>
                    </a:lnTo>
                    <a:lnTo>
                      <a:pt x="8038" y="5523"/>
                    </a:lnTo>
                    <a:lnTo>
                      <a:pt x="13616" y="5523"/>
                    </a:lnTo>
                    <a:cubicBezTo>
                      <a:pt x="16364" y="5523"/>
                      <a:pt x="18155" y="6999"/>
                      <a:pt x="18155" y="9761"/>
                    </a:cubicBezTo>
                    <a:cubicBezTo>
                      <a:pt x="18155" y="11989"/>
                      <a:pt x="16801" y="13370"/>
                      <a:pt x="14887" y="13917"/>
                    </a:cubicBezTo>
                    <a:cubicBezTo>
                      <a:pt x="15147" y="14204"/>
                      <a:pt x="15407" y="14559"/>
                      <a:pt x="15585" y="14901"/>
                    </a:cubicBezTo>
                    <a:close/>
                    <a:moveTo>
                      <a:pt x="13015" y="12522"/>
                    </a:moveTo>
                    <a:cubicBezTo>
                      <a:pt x="15038" y="12522"/>
                      <a:pt x="16282" y="11565"/>
                      <a:pt x="16282" y="9870"/>
                    </a:cubicBezTo>
                    <a:cubicBezTo>
                      <a:pt x="16282" y="8175"/>
                      <a:pt x="15421" y="7191"/>
                      <a:pt x="13657" y="7191"/>
                    </a:cubicBezTo>
                    <a:lnTo>
                      <a:pt x="9816" y="7191"/>
                    </a:lnTo>
                    <a:lnTo>
                      <a:pt x="9816" y="12509"/>
                    </a:lnTo>
                    <a:lnTo>
                      <a:pt x="13015" y="12509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" name="Freeform: Shape 16">
                <a:extLst>
                  <a:ext uri="{FF2B5EF4-FFF2-40B4-BE49-F238E27FC236}">
                    <a16:creationId xmlns:a16="http://schemas.microsoft.com/office/drawing/2014/main" id="{1D0A05C6-A0AF-5757-3DC7-5AE555BC21EC}"/>
                  </a:ext>
                </a:extLst>
              </p:cNvPr>
              <p:cNvSpPr/>
              <p:nvPr/>
            </p:nvSpPr>
            <p:spPr>
              <a:xfrm>
                <a:off x="11620956" y="6472487"/>
                <a:ext cx="32932" cy="163721"/>
              </a:xfrm>
              <a:custGeom>
                <a:avLst/>
                <a:gdLst>
                  <a:gd name="connsiteX0" fmla="*/ 29830 w 32932"/>
                  <a:gd name="connsiteY0" fmla="*/ 0 h 163721"/>
                  <a:gd name="connsiteX1" fmla="*/ 32933 w 32932"/>
                  <a:gd name="connsiteY1" fmla="*/ 3103 h 163721"/>
                  <a:gd name="connsiteX2" fmla="*/ 32933 w 32932"/>
                  <a:gd name="connsiteY2" fmla="*/ 160618 h 163721"/>
                  <a:gd name="connsiteX3" fmla="*/ 29830 w 32932"/>
                  <a:gd name="connsiteY3" fmla="*/ 163722 h 163721"/>
                  <a:gd name="connsiteX4" fmla="*/ 3103 w 32932"/>
                  <a:gd name="connsiteY4" fmla="*/ 163722 h 163721"/>
                  <a:gd name="connsiteX5" fmla="*/ 0 w 32932"/>
                  <a:gd name="connsiteY5" fmla="*/ 160618 h 163721"/>
                  <a:gd name="connsiteX6" fmla="*/ 0 w 32932"/>
                  <a:gd name="connsiteY6" fmla="*/ 3103 h 163721"/>
                  <a:gd name="connsiteX7" fmla="*/ 3103 w 32932"/>
                  <a:gd name="connsiteY7" fmla="*/ 0 h 163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2932" h="163721">
                    <a:moveTo>
                      <a:pt x="29830" y="0"/>
                    </a:moveTo>
                    <a:cubicBezTo>
                      <a:pt x="31544" y="0"/>
                      <a:pt x="32933" y="1389"/>
                      <a:pt x="32933" y="3103"/>
                    </a:cubicBezTo>
                    <a:lnTo>
                      <a:pt x="32933" y="160618"/>
                    </a:lnTo>
                    <a:cubicBezTo>
                      <a:pt x="32933" y="162332"/>
                      <a:pt x="31543" y="163722"/>
                      <a:pt x="29830" y="163722"/>
                    </a:cubicBezTo>
                    <a:lnTo>
                      <a:pt x="3103" y="163722"/>
                    </a:lnTo>
                    <a:cubicBezTo>
                      <a:pt x="1389" y="163722"/>
                      <a:pt x="0" y="162332"/>
                      <a:pt x="0" y="160618"/>
                    </a:cubicBezTo>
                    <a:lnTo>
                      <a:pt x="0" y="3103"/>
                    </a:lnTo>
                    <a:cubicBezTo>
                      <a:pt x="0" y="1389"/>
                      <a:pt x="1389" y="0"/>
                      <a:pt x="3103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" name="Freeform: Shape 17">
                <a:extLst>
                  <a:ext uri="{FF2B5EF4-FFF2-40B4-BE49-F238E27FC236}">
                    <a16:creationId xmlns:a16="http://schemas.microsoft.com/office/drawing/2014/main" id="{CC2073E1-9DD4-17DD-A84C-D7159830F739}"/>
                  </a:ext>
                </a:extLst>
              </p:cNvPr>
              <p:cNvSpPr/>
              <p:nvPr/>
            </p:nvSpPr>
            <p:spPr>
              <a:xfrm>
                <a:off x="11488486" y="6472473"/>
                <a:ext cx="123638" cy="166086"/>
              </a:xfrm>
              <a:custGeom>
                <a:avLst/>
                <a:gdLst>
                  <a:gd name="connsiteX0" fmla="*/ 68737 w 123638"/>
                  <a:gd name="connsiteY0" fmla="*/ 44663 h 166086"/>
                  <a:gd name="connsiteX1" fmla="*/ 32947 w 123638"/>
                  <a:gd name="connsiteY1" fmla="*/ 62052 h 166086"/>
                  <a:gd name="connsiteX2" fmla="*/ 32947 w 123638"/>
                  <a:gd name="connsiteY2" fmla="*/ 3103 h 166086"/>
                  <a:gd name="connsiteX3" fmla="*/ 29843 w 123638"/>
                  <a:gd name="connsiteY3" fmla="*/ 0 h 166086"/>
                  <a:gd name="connsiteX4" fmla="*/ 3103 w 123638"/>
                  <a:gd name="connsiteY4" fmla="*/ 0 h 166086"/>
                  <a:gd name="connsiteX5" fmla="*/ 0 w 123638"/>
                  <a:gd name="connsiteY5" fmla="*/ 3103 h 166086"/>
                  <a:gd name="connsiteX6" fmla="*/ 0 w 123638"/>
                  <a:gd name="connsiteY6" fmla="*/ 160632 h 166086"/>
                  <a:gd name="connsiteX7" fmla="*/ 3103 w 123638"/>
                  <a:gd name="connsiteY7" fmla="*/ 163735 h 166086"/>
                  <a:gd name="connsiteX8" fmla="*/ 29843 w 123638"/>
                  <a:gd name="connsiteY8" fmla="*/ 163735 h 166086"/>
                  <a:gd name="connsiteX9" fmla="*/ 32947 w 123638"/>
                  <a:gd name="connsiteY9" fmla="*/ 160632 h 166086"/>
                  <a:gd name="connsiteX10" fmla="*/ 32947 w 123638"/>
                  <a:gd name="connsiteY10" fmla="*/ 149025 h 166086"/>
                  <a:gd name="connsiteX11" fmla="*/ 68983 w 123638"/>
                  <a:gd name="connsiteY11" fmla="*/ 166087 h 166086"/>
                  <a:gd name="connsiteX12" fmla="*/ 123638 w 123638"/>
                  <a:gd name="connsiteY12" fmla="*/ 105539 h 166086"/>
                  <a:gd name="connsiteX13" fmla="*/ 68750 w 123638"/>
                  <a:gd name="connsiteY13" fmla="*/ 44663 h 166086"/>
                  <a:gd name="connsiteX14" fmla="*/ 62188 w 123638"/>
                  <a:gd name="connsiteY14" fmla="*/ 135163 h 166086"/>
                  <a:gd name="connsiteX15" fmla="*/ 32947 w 123638"/>
                  <a:gd name="connsiteY15" fmla="*/ 105552 h 166086"/>
                  <a:gd name="connsiteX16" fmla="*/ 62188 w 123638"/>
                  <a:gd name="connsiteY16" fmla="*/ 76174 h 166086"/>
                  <a:gd name="connsiteX17" fmla="*/ 90965 w 123638"/>
                  <a:gd name="connsiteY17" fmla="*/ 105552 h 166086"/>
                  <a:gd name="connsiteX18" fmla="*/ 62188 w 123638"/>
                  <a:gd name="connsiteY18" fmla="*/ 135163 h 166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23638" h="166086">
                    <a:moveTo>
                      <a:pt x="68737" y="44663"/>
                    </a:moveTo>
                    <a:cubicBezTo>
                      <a:pt x="53535" y="44663"/>
                      <a:pt x="40889" y="51252"/>
                      <a:pt x="32947" y="62052"/>
                    </a:cubicBezTo>
                    <a:lnTo>
                      <a:pt x="32947" y="3103"/>
                    </a:lnTo>
                    <a:cubicBezTo>
                      <a:pt x="32947" y="1394"/>
                      <a:pt x="31552" y="0"/>
                      <a:pt x="29843" y="0"/>
                    </a:cubicBezTo>
                    <a:lnTo>
                      <a:pt x="3103" y="0"/>
                    </a:lnTo>
                    <a:cubicBezTo>
                      <a:pt x="1394" y="0"/>
                      <a:pt x="0" y="1394"/>
                      <a:pt x="0" y="3103"/>
                    </a:cubicBezTo>
                    <a:lnTo>
                      <a:pt x="0" y="160632"/>
                    </a:lnTo>
                    <a:cubicBezTo>
                      <a:pt x="0" y="162341"/>
                      <a:pt x="1394" y="163735"/>
                      <a:pt x="3103" y="163735"/>
                    </a:cubicBezTo>
                    <a:lnTo>
                      <a:pt x="29843" y="163735"/>
                    </a:lnTo>
                    <a:cubicBezTo>
                      <a:pt x="31552" y="163735"/>
                      <a:pt x="32947" y="162341"/>
                      <a:pt x="32947" y="160632"/>
                    </a:cubicBezTo>
                    <a:lnTo>
                      <a:pt x="32947" y="149025"/>
                    </a:lnTo>
                    <a:cubicBezTo>
                      <a:pt x="40903" y="159839"/>
                      <a:pt x="53535" y="166087"/>
                      <a:pt x="68983" y="166087"/>
                    </a:cubicBezTo>
                    <a:cubicBezTo>
                      <a:pt x="101505" y="166087"/>
                      <a:pt x="123638" y="139852"/>
                      <a:pt x="123638" y="105539"/>
                    </a:cubicBezTo>
                    <a:cubicBezTo>
                      <a:pt x="123638" y="71225"/>
                      <a:pt x="101505" y="44663"/>
                      <a:pt x="68750" y="44663"/>
                    </a:cubicBezTo>
                    <a:close/>
                    <a:moveTo>
                      <a:pt x="62188" y="135163"/>
                    </a:moveTo>
                    <a:cubicBezTo>
                      <a:pt x="45346" y="135163"/>
                      <a:pt x="32947" y="121533"/>
                      <a:pt x="32947" y="105552"/>
                    </a:cubicBezTo>
                    <a:cubicBezTo>
                      <a:pt x="32947" y="89571"/>
                      <a:pt x="45346" y="76174"/>
                      <a:pt x="62188" y="76174"/>
                    </a:cubicBezTo>
                    <a:cubicBezTo>
                      <a:pt x="79031" y="76174"/>
                      <a:pt x="90965" y="89571"/>
                      <a:pt x="90965" y="105552"/>
                    </a:cubicBezTo>
                    <a:cubicBezTo>
                      <a:pt x="90965" y="121533"/>
                      <a:pt x="78798" y="135163"/>
                      <a:pt x="62188" y="13516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" name="Freeform: Shape 18">
                <a:extLst>
                  <a:ext uri="{FF2B5EF4-FFF2-40B4-BE49-F238E27FC236}">
                    <a16:creationId xmlns:a16="http://schemas.microsoft.com/office/drawing/2014/main" id="{E769BA1F-A3B2-3D05-1893-1FF8EB898008}"/>
                  </a:ext>
                </a:extLst>
              </p:cNvPr>
              <p:cNvSpPr/>
              <p:nvPr/>
            </p:nvSpPr>
            <p:spPr>
              <a:xfrm>
                <a:off x="11359421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" name="Freeform: Shape 19">
                <a:extLst>
                  <a:ext uri="{FF2B5EF4-FFF2-40B4-BE49-F238E27FC236}">
                    <a16:creationId xmlns:a16="http://schemas.microsoft.com/office/drawing/2014/main" id="{22ACFCD8-FAE7-B950-922E-C0A24C3A0A32}"/>
                  </a:ext>
                </a:extLst>
              </p:cNvPr>
              <p:cNvSpPr/>
              <p:nvPr/>
            </p:nvSpPr>
            <p:spPr>
              <a:xfrm>
                <a:off x="11662542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" name="Freeform: Shape 20">
                <a:extLst>
                  <a:ext uri="{FF2B5EF4-FFF2-40B4-BE49-F238E27FC236}">
                    <a16:creationId xmlns:a16="http://schemas.microsoft.com/office/drawing/2014/main" id="{45CF0739-39D2-CFDF-D89F-A912903B4C47}"/>
                  </a:ext>
                </a:extLst>
              </p:cNvPr>
              <p:cNvSpPr/>
              <p:nvPr/>
            </p:nvSpPr>
            <p:spPr>
              <a:xfrm>
                <a:off x="11122821" y="6519528"/>
                <a:ext cx="32932" cy="116680"/>
              </a:xfrm>
              <a:custGeom>
                <a:avLst/>
                <a:gdLst>
                  <a:gd name="connsiteX0" fmla="*/ 29843 w 32932"/>
                  <a:gd name="connsiteY0" fmla="*/ 116680 h 116680"/>
                  <a:gd name="connsiteX1" fmla="*/ 3103 w 32932"/>
                  <a:gd name="connsiteY1" fmla="*/ 116680 h 116680"/>
                  <a:gd name="connsiteX2" fmla="*/ 0 w 32932"/>
                  <a:gd name="connsiteY2" fmla="*/ 113577 h 116680"/>
                  <a:gd name="connsiteX3" fmla="*/ 0 w 32932"/>
                  <a:gd name="connsiteY3" fmla="*/ 30554 h 116680"/>
                  <a:gd name="connsiteX4" fmla="*/ 1859 w 32932"/>
                  <a:gd name="connsiteY4" fmla="*/ 26125 h 116680"/>
                  <a:gd name="connsiteX5" fmla="*/ 27670 w 32932"/>
                  <a:gd name="connsiteY5" fmla="*/ 888 h 116680"/>
                  <a:gd name="connsiteX6" fmla="*/ 32933 w 32932"/>
                  <a:gd name="connsiteY6" fmla="*/ 3103 h 116680"/>
                  <a:gd name="connsiteX7" fmla="*/ 32933 w 32932"/>
                  <a:gd name="connsiteY7" fmla="*/ 113577 h 116680"/>
                  <a:gd name="connsiteX8" fmla="*/ 29830 w 32932"/>
                  <a:gd name="connsiteY8" fmla="*/ 116680 h 116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932" h="116680">
                    <a:moveTo>
                      <a:pt x="29843" y="116680"/>
                    </a:moveTo>
                    <a:lnTo>
                      <a:pt x="3103" y="116680"/>
                    </a:lnTo>
                    <a:cubicBezTo>
                      <a:pt x="1394" y="116680"/>
                      <a:pt x="0" y="115286"/>
                      <a:pt x="0" y="113577"/>
                    </a:cubicBezTo>
                    <a:lnTo>
                      <a:pt x="0" y="30554"/>
                    </a:lnTo>
                    <a:cubicBezTo>
                      <a:pt x="0" y="28886"/>
                      <a:pt x="670" y="27287"/>
                      <a:pt x="1859" y="26125"/>
                    </a:cubicBezTo>
                    <a:lnTo>
                      <a:pt x="27670" y="888"/>
                    </a:lnTo>
                    <a:cubicBezTo>
                      <a:pt x="29638" y="-1026"/>
                      <a:pt x="32933" y="355"/>
                      <a:pt x="32933" y="3103"/>
                    </a:cubicBezTo>
                    <a:lnTo>
                      <a:pt x="32933" y="113577"/>
                    </a:lnTo>
                    <a:cubicBezTo>
                      <a:pt x="32933" y="115286"/>
                      <a:pt x="31538" y="116680"/>
                      <a:pt x="29830" y="11668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" name="Freeform: Shape 21">
                <a:extLst>
                  <a:ext uri="{FF2B5EF4-FFF2-40B4-BE49-F238E27FC236}">
                    <a16:creationId xmlns:a16="http://schemas.microsoft.com/office/drawing/2014/main" id="{9E741590-010A-E489-0777-9E323855048B}"/>
                  </a:ext>
                </a:extLst>
              </p:cNvPr>
              <p:cNvSpPr/>
              <p:nvPr/>
            </p:nvSpPr>
            <p:spPr>
              <a:xfrm>
                <a:off x="11173074" y="6517105"/>
                <a:ext cx="107493" cy="119116"/>
              </a:xfrm>
              <a:custGeom>
                <a:avLst/>
                <a:gdLst>
                  <a:gd name="connsiteX0" fmla="*/ 107480 w 107493"/>
                  <a:gd name="connsiteY0" fmla="*/ 41877 h 119116"/>
                  <a:gd name="connsiteX1" fmla="*/ 65237 w 107493"/>
                  <a:gd name="connsiteY1" fmla="*/ 3 h 119116"/>
                  <a:gd name="connsiteX2" fmla="*/ 32947 w 107493"/>
                  <a:gd name="connsiteY2" fmla="*/ 17474 h 119116"/>
                  <a:gd name="connsiteX3" fmla="*/ 32947 w 107493"/>
                  <a:gd name="connsiteY3" fmla="*/ 5581 h 119116"/>
                  <a:gd name="connsiteX4" fmla="*/ 29843 w 107493"/>
                  <a:gd name="connsiteY4" fmla="*/ 2478 h 119116"/>
                  <a:gd name="connsiteX5" fmla="*/ 3103 w 107493"/>
                  <a:gd name="connsiteY5" fmla="*/ 2478 h 119116"/>
                  <a:gd name="connsiteX6" fmla="*/ 0 w 107493"/>
                  <a:gd name="connsiteY6" fmla="*/ 5581 h 119116"/>
                  <a:gd name="connsiteX7" fmla="*/ 0 w 107493"/>
                  <a:gd name="connsiteY7" fmla="*/ 116000 h 119116"/>
                  <a:gd name="connsiteX8" fmla="*/ 3103 w 107493"/>
                  <a:gd name="connsiteY8" fmla="*/ 119103 h 119116"/>
                  <a:gd name="connsiteX9" fmla="*/ 29843 w 107493"/>
                  <a:gd name="connsiteY9" fmla="*/ 119103 h 119116"/>
                  <a:gd name="connsiteX10" fmla="*/ 32947 w 107493"/>
                  <a:gd name="connsiteY10" fmla="*/ 116000 h 119116"/>
                  <a:gd name="connsiteX11" fmla="*/ 32947 w 107493"/>
                  <a:gd name="connsiteY11" fmla="*/ 51788 h 119116"/>
                  <a:gd name="connsiteX12" fmla="*/ 53740 w 107493"/>
                  <a:gd name="connsiteY12" fmla="*/ 31747 h 119116"/>
                  <a:gd name="connsiteX13" fmla="*/ 74547 w 107493"/>
                  <a:gd name="connsiteY13" fmla="*/ 53210 h 119116"/>
                  <a:gd name="connsiteX14" fmla="*/ 74547 w 107493"/>
                  <a:gd name="connsiteY14" fmla="*/ 116014 h 119116"/>
                  <a:gd name="connsiteX15" fmla="*/ 77650 w 107493"/>
                  <a:gd name="connsiteY15" fmla="*/ 119117 h 119116"/>
                  <a:gd name="connsiteX16" fmla="*/ 104390 w 107493"/>
                  <a:gd name="connsiteY16" fmla="*/ 119117 h 119116"/>
                  <a:gd name="connsiteX17" fmla="*/ 107493 w 107493"/>
                  <a:gd name="connsiteY17" fmla="*/ 116014 h 119116"/>
                  <a:gd name="connsiteX18" fmla="*/ 107493 w 107493"/>
                  <a:gd name="connsiteY18" fmla="*/ 41890 h 119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7493" h="119116">
                    <a:moveTo>
                      <a:pt x="107480" y="41877"/>
                    </a:moveTo>
                    <a:cubicBezTo>
                      <a:pt x="107480" y="19252"/>
                      <a:pt x="88792" y="277"/>
                      <a:pt x="65237" y="3"/>
                    </a:cubicBezTo>
                    <a:cubicBezTo>
                      <a:pt x="49912" y="-175"/>
                      <a:pt x="39563" y="7331"/>
                      <a:pt x="32947" y="17474"/>
                    </a:cubicBezTo>
                    <a:lnTo>
                      <a:pt x="32947" y="5581"/>
                    </a:lnTo>
                    <a:cubicBezTo>
                      <a:pt x="32947" y="3872"/>
                      <a:pt x="31552" y="2478"/>
                      <a:pt x="29843" y="2478"/>
                    </a:cubicBezTo>
                    <a:lnTo>
                      <a:pt x="3103" y="2478"/>
                    </a:lnTo>
                    <a:cubicBezTo>
                      <a:pt x="1394" y="2478"/>
                      <a:pt x="0" y="3872"/>
                      <a:pt x="0" y="5581"/>
                    </a:cubicBezTo>
                    <a:lnTo>
                      <a:pt x="0" y="116000"/>
                    </a:lnTo>
                    <a:cubicBezTo>
                      <a:pt x="0" y="117709"/>
                      <a:pt x="1394" y="119103"/>
                      <a:pt x="3103" y="119103"/>
                    </a:cubicBezTo>
                    <a:lnTo>
                      <a:pt x="29843" y="119103"/>
                    </a:lnTo>
                    <a:cubicBezTo>
                      <a:pt x="31552" y="119103"/>
                      <a:pt x="32947" y="117709"/>
                      <a:pt x="32947" y="116000"/>
                    </a:cubicBezTo>
                    <a:lnTo>
                      <a:pt x="32947" y="51788"/>
                    </a:lnTo>
                    <a:cubicBezTo>
                      <a:pt x="33685" y="39430"/>
                      <a:pt x="41518" y="31747"/>
                      <a:pt x="53740" y="31747"/>
                    </a:cubicBezTo>
                    <a:cubicBezTo>
                      <a:pt x="65961" y="31747"/>
                      <a:pt x="74547" y="40373"/>
                      <a:pt x="74547" y="53210"/>
                    </a:cubicBezTo>
                    <a:lnTo>
                      <a:pt x="74547" y="116014"/>
                    </a:lnTo>
                    <a:cubicBezTo>
                      <a:pt x="74547" y="117722"/>
                      <a:pt x="75941" y="119117"/>
                      <a:pt x="77650" y="119117"/>
                    </a:cubicBezTo>
                    <a:lnTo>
                      <a:pt x="104390" y="119117"/>
                    </a:lnTo>
                    <a:cubicBezTo>
                      <a:pt x="106099" y="119117"/>
                      <a:pt x="107493" y="117722"/>
                      <a:pt x="107493" y="116014"/>
                    </a:cubicBezTo>
                    <a:lnTo>
                      <a:pt x="107493" y="41890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75390277-5BEC-C3AA-2E1E-E0BF4C5ED8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978" y="317771"/>
            <a:ext cx="11118522" cy="630213"/>
          </a:xfrm>
          <a:prstGeom prst="rect">
            <a:avLst/>
          </a:prstGeom>
        </p:spPr>
        <p:txBody>
          <a:bodyPr anchor="b" anchorCtr="0"/>
          <a:lstStyle>
            <a:lvl1pPr>
              <a:defRPr sz="3400" b="1" i="0" cap="all" baseline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r>
              <a:rPr lang="en-US"/>
              <a:t>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5FE8B5-2E05-549D-895E-1CC9CE4CC021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501983" y="1109316"/>
            <a:ext cx="11118517" cy="397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kumimoji="0" lang="en-US" sz="2200" b="0" i="0" u="none" strike="noStrike" cap="all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Lato" panose="020F0502020204030203" pitchFamily="34" charset="77"/>
                <a:ea typeface="Roboto Slab" pitchFamily="2" charset="0"/>
                <a:cs typeface="Arial" panose="020B0604020202020204" pitchFamily="34" charset="0"/>
              </a:defRPr>
            </a:lvl1pPr>
          </a:lstStyle>
          <a:p>
            <a:pPr marL="228600" marR="0" lvl="0" indent="-22860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790684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-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C57EF652-1705-2AC5-7642-4775FE39570A}"/>
              </a:ext>
            </a:extLst>
          </p:cNvPr>
          <p:cNvGrpSpPr/>
          <p:nvPr userDrawn="1"/>
        </p:nvGrpSpPr>
        <p:grpSpPr>
          <a:xfrm>
            <a:off x="11122821" y="6472473"/>
            <a:ext cx="799629" cy="166100"/>
            <a:chOff x="11122821" y="6472473"/>
            <a:chExt cx="799629" cy="166100"/>
          </a:xfrm>
        </p:grpSpPr>
        <p:sp>
          <p:nvSpPr>
            <p:cNvPr id="4" name="Freeform: Shape 11">
              <a:extLst>
                <a:ext uri="{FF2B5EF4-FFF2-40B4-BE49-F238E27FC236}">
                  <a16:creationId xmlns:a16="http://schemas.microsoft.com/office/drawing/2014/main" id="{A2629C08-2B58-57FF-B8A3-D897F76FA439}"/>
                </a:ext>
              </a:extLst>
            </p:cNvPr>
            <p:cNvSpPr/>
            <p:nvPr/>
          </p:nvSpPr>
          <p:spPr>
            <a:xfrm rot="18900000">
              <a:off x="11134957" y="6473485"/>
              <a:ext cx="35147" cy="35147"/>
            </a:xfrm>
            <a:custGeom>
              <a:avLst/>
              <a:gdLst>
                <a:gd name="connsiteX0" fmla="*/ 32044 w 35147"/>
                <a:gd name="connsiteY0" fmla="*/ 0 h 35147"/>
                <a:gd name="connsiteX1" fmla="*/ 35148 w 35147"/>
                <a:gd name="connsiteY1" fmla="*/ 3103 h 35147"/>
                <a:gd name="connsiteX2" fmla="*/ 35148 w 35147"/>
                <a:gd name="connsiteY2" fmla="*/ 32044 h 35147"/>
                <a:gd name="connsiteX3" fmla="*/ 32044 w 35147"/>
                <a:gd name="connsiteY3" fmla="*/ 35148 h 35147"/>
                <a:gd name="connsiteX4" fmla="*/ 3103 w 35147"/>
                <a:gd name="connsiteY4" fmla="*/ 35148 h 35147"/>
                <a:gd name="connsiteX5" fmla="*/ 0 w 35147"/>
                <a:gd name="connsiteY5" fmla="*/ 32044 h 35147"/>
                <a:gd name="connsiteX6" fmla="*/ 0 w 35147"/>
                <a:gd name="connsiteY6" fmla="*/ 3103 h 35147"/>
                <a:gd name="connsiteX7" fmla="*/ 3103 w 35147"/>
                <a:gd name="connsiteY7" fmla="*/ 0 h 35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147" h="35147">
                  <a:moveTo>
                    <a:pt x="32044" y="0"/>
                  </a:moveTo>
                  <a:cubicBezTo>
                    <a:pt x="33758" y="0"/>
                    <a:pt x="35148" y="1389"/>
                    <a:pt x="35148" y="3103"/>
                  </a:cubicBezTo>
                  <a:lnTo>
                    <a:pt x="35148" y="32044"/>
                  </a:lnTo>
                  <a:cubicBezTo>
                    <a:pt x="35148" y="33758"/>
                    <a:pt x="33758" y="35148"/>
                    <a:pt x="32044" y="35148"/>
                  </a:cubicBezTo>
                  <a:lnTo>
                    <a:pt x="3103" y="35148"/>
                  </a:lnTo>
                  <a:cubicBezTo>
                    <a:pt x="1389" y="35148"/>
                    <a:pt x="0" y="33758"/>
                    <a:pt x="0" y="32044"/>
                  </a:cubicBezTo>
                  <a:lnTo>
                    <a:pt x="0" y="3103"/>
                  </a:lnTo>
                  <a:cubicBezTo>
                    <a:pt x="0" y="1389"/>
                    <a:pt x="1389" y="0"/>
                    <a:pt x="3103" y="0"/>
                  </a:cubicBezTo>
                  <a:close/>
                </a:path>
              </a:pathLst>
            </a:custGeom>
            <a:solidFill>
              <a:srgbClr val="00BD4D"/>
            </a:solidFill>
            <a:ln w="135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35D4E117-002C-C01D-1556-4A45CA7EFF70}"/>
                </a:ext>
              </a:extLst>
            </p:cNvPr>
            <p:cNvGrpSpPr/>
            <p:nvPr/>
          </p:nvGrpSpPr>
          <p:grpSpPr>
            <a:xfrm>
              <a:off x="11122821" y="6472473"/>
              <a:ext cx="799629" cy="166100"/>
              <a:chOff x="11122821" y="6472473"/>
              <a:chExt cx="799629" cy="166100"/>
            </a:xfrm>
            <a:solidFill>
              <a:schemeClr val="bg1"/>
            </a:solidFill>
          </p:grpSpPr>
          <p:sp>
            <p:nvSpPr>
              <p:cNvPr id="6" name="Freeform: Shape 13">
                <a:extLst>
                  <a:ext uri="{FF2B5EF4-FFF2-40B4-BE49-F238E27FC236}">
                    <a16:creationId xmlns:a16="http://schemas.microsoft.com/office/drawing/2014/main" id="{43D2A61A-53FE-AF6B-EF60-CDAED26012D4}"/>
                  </a:ext>
                </a:extLst>
              </p:cNvPr>
              <p:cNvSpPr/>
              <p:nvPr/>
            </p:nvSpPr>
            <p:spPr>
              <a:xfrm>
                <a:off x="11774281" y="6519597"/>
                <a:ext cx="119385" cy="116611"/>
              </a:xfrm>
              <a:custGeom>
                <a:avLst/>
                <a:gdLst>
                  <a:gd name="connsiteX0" fmla="*/ 82523 w 119385"/>
                  <a:gd name="connsiteY0" fmla="*/ 58306 h 116611"/>
                  <a:gd name="connsiteX1" fmla="*/ 118887 w 119385"/>
                  <a:gd name="connsiteY1" fmla="*/ 112265 h 116611"/>
                  <a:gd name="connsiteX2" fmla="*/ 116385 w 119385"/>
                  <a:gd name="connsiteY2" fmla="*/ 116612 h 116611"/>
                  <a:gd name="connsiteX3" fmla="*/ 85831 w 119385"/>
                  <a:gd name="connsiteY3" fmla="*/ 116612 h 116611"/>
                  <a:gd name="connsiteX4" fmla="*/ 80718 w 119385"/>
                  <a:gd name="connsiteY4" fmla="*/ 113919 h 116611"/>
                  <a:gd name="connsiteX5" fmla="*/ 59693 w 119385"/>
                  <a:gd name="connsiteY5" fmla="*/ 81751 h 116611"/>
                  <a:gd name="connsiteX6" fmla="*/ 38667 w 119385"/>
                  <a:gd name="connsiteY6" fmla="*/ 113919 h 116611"/>
                  <a:gd name="connsiteX7" fmla="*/ 33554 w 119385"/>
                  <a:gd name="connsiteY7" fmla="*/ 116612 h 116611"/>
                  <a:gd name="connsiteX8" fmla="*/ 3000 w 119385"/>
                  <a:gd name="connsiteY8" fmla="*/ 116612 h 116611"/>
                  <a:gd name="connsiteX9" fmla="*/ 498 w 119385"/>
                  <a:gd name="connsiteY9" fmla="*/ 112265 h 116611"/>
                  <a:gd name="connsiteX10" fmla="*/ 36753 w 119385"/>
                  <a:gd name="connsiteY10" fmla="*/ 58306 h 116611"/>
                  <a:gd name="connsiteX11" fmla="*/ 498 w 119385"/>
                  <a:gd name="connsiteY11" fmla="*/ 4347 h 116611"/>
                  <a:gd name="connsiteX12" fmla="*/ 3000 w 119385"/>
                  <a:gd name="connsiteY12" fmla="*/ 0 h 116611"/>
                  <a:gd name="connsiteX13" fmla="*/ 34853 w 119385"/>
                  <a:gd name="connsiteY13" fmla="*/ 0 h 116611"/>
                  <a:gd name="connsiteX14" fmla="*/ 37778 w 119385"/>
                  <a:gd name="connsiteY14" fmla="*/ 1449 h 116611"/>
                  <a:gd name="connsiteX15" fmla="*/ 59679 w 119385"/>
                  <a:gd name="connsiteY15" fmla="*/ 34806 h 116611"/>
                  <a:gd name="connsiteX16" fmla="*/ 80240 w 119385"/>
                  <a:gd name="connsiteY16" fmla="*/ 1463 h 116611"/>
                  <a:gd name="connsiteX17" fmla="*/ 83165 w 119385"/>
                  <a:gd name="connsiteY17" fmla="*/ 0 h 116611"/>
                  <a:gd name="connsiteX18" fmla="*/ 115333 w 119385"/>
                  <a:gd name="connsiteY18" fmla="*/ 0 h 116611"/>
                  <a:gd name="connsiteX19" fmla="*/ 117834 w 119385"/>
                  <a:gd name="connsiteY19" fmla="*/ 4334 h 116611"/>
                  <a:gd name="connsiteX20" fmla="*/ 82495 w 119385"/>
                  <a:gd name="connsiteY20" fmla="*/ 58306 h 116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19385" h="116611">
                    <a:moveTo>
                      <a:pt x="82523" y="58306"/>
                    </a:moveTo>
                    <a:lnTo>
                      <a:pt x="118887" y="112265"/>
                    </a:lnTo>
                    <a:cubicBezTo>
                      <a:pt x="120199" y="114124"/>
                      <a:pt x="118764" y="116612"/>
                      <a:pt x="116385" y="116612"/>
                    </a:cubicBezTo>
                    <a:lnTo>
                      <a:pt x="85831" y="116612"/>
                    </a:lnTo>
                    <a:cubicBezTo>
                      <a:pt x="83794" y="116612"/>
                      <a:pt x="81880" y="115600"/>
                      <a:pt x="80718" y="113919"/>
                    </a:cubicBezTo>
                    <a:lnTo>
                      <a:pt x="59693" y="81751"/>
                    </a:lnTo>
                    <a:lnTo>
                      <a:pt x="38667" y="113919"/>
                    </a:lnTo>
                    <a:cubicBezTo>
                      <a:pt x="37505" y="115600"/>
                      <a:pt x="35605" y="116612"/>
                      <a:pt x="33554" y="116612"/>
                    </a:cubicBezTo>
                    <a:lnTo>
                      <a:pt x="3000" y="116612"/>
                    </a:lnTo>
                    <a:cubicBezTo>
                      <a:pt x="621" y="116612"/>
                      <a:pt x="-814" y="114138"/>
                      <a:pt x="498" y="112265"/>
                    </a:cubicBezTo>
                    <a:lnTo>
                      <a:pt x="36753" y="58306"/>
                    </a:lnTo>
                    <a:lnTo>
                      <a:pt x="498" y="4347"/>
                    </a:lnTo>
                    <a:cubicBezTo>
                      <a:pt x="-814" y="2488"/>
                      <a:pt x="621" y="0"/>
                      <a:pt x="3000" y="0"/>
                    </a:cubicBezTo>
                    <a:lnTo>
                      <a:pt x="34853" y="0"/>
                    </a:lnTo>
                    <a:cubicBezTo>
                      <a:pt x="36042" y="0"/>
                      <a:pt x="37149" y="547"/>
                      <a:pt x="37778" y="1449"/>
                    </a:cubicBezTo>
                    <a:lnTo>
                      <a:pt x="59679" y="34806"/>
                    </a:lnTo>
                    <a:lnTo>
                      <a:pt x="80240" y="1463"/>
                    </a:lnTo>
                    <a:cubicBezTo>
                      <a:pt x="80855" y="561"/>
                      <a:pt x="81976" y="0"/>
                      <a:pt x="83165" y="0"/>
                    </a:cubicBezTo>
                    <a:lnTo>
                      <a:pt x="115333" y="0"/>
                    </a:lnTo>
                    <a:cubicBezTo>
                      <a:pt x="117711" y="0"/>
                      <a:pt x="119133" y="2474"/>
                      <a:pt x="117834" y="4334"/>
                    </a:cubicBezTo>
                    <a:lnTo>
                      <a:pt x="82495" y="58306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" name="Freeform: Shape 14">
                <a:extLst>
                  <a:ext uri="{FF2B5EF4-FFF2-40B4-BE49-F238E27FC236}">
                    <a16:creationId xmlns:a16="http://schemas.microsoft.com/office/drawing/2014/main" id="{629D1B95-2C19-9A42-3ED4-470A310DDB83}"/>
                  </a:ext>
                </a:extLst>
              </p:cNvPr>
              <p:cNvSpPr/>
              <p:nvPr/>
            </p:nvSpPr>
            <p:spPr>
              <a:xfrm>
                <a:off x="11284928" y="6472473"/>
                <a:ext cx="78825" cy="163762"/>
              </a:xfrm>
              <a:custGeom>
                <a:avLst/>
                <a:gdLst>
                  <a:gd name="connsiteX0" fmla="*/ 75722 w 78825"/>
                  <a:gd name="connsiteY0" fmla="*/ 14 h 163762"/>
                  <a:gd name="connsiteX1" fmla="*/ 50377 w 78825"/>
                  <a:gd name="connsiteY1" fmla="*/ 14 h 163762"/>
                  <a:gd name="connsiteX2" fmla="*/ 43801 w 78825"/>
                  <a:gd name="connsiteY2" fmla="*/ 2734 h 163762"/>
                  <a:gd name="connsiteX3" fmla="*/ 19987 w 78825"/>
                  <a:gd name="connsiteY3" fmla="*/ 26549 h 163762"/>
                  <a:gd name="connsiteX4" fmla="*/ 17266 w 78825"/>
                  <a:gd name="connsiteY4" fmla="*/ 33124 h 163762"/>
                  <a:gd name="connsiteX5" fmla="*/ 17266 w 78825"/>
                  <a:gd name="connsiteY5" fmla="*/ 51867 h 163762"/>
                  <a:gd name="connsiteX6" fmla="*/ 3049 w 78825"/>
                  <a:gd name="connsiteY6" fmla="*/ 51867 h 163762"/>
                  <a:gd name="connsiteX7" fmla="*/ 0 w 78825"/>
                  <a:gd name="connsiteY7" fmla="*/ 54916 h 163762"/>
                  <a:gd name="connsiteX8" fmla="*/ 0 w 78825"/>
                  <a:gd name="connsiteY8" fmla="*/ 75955 h 163762"/>
                  <a:gd name="connsiteX9" fmla="*/ 3049 w 78825"/>
                  <a:gd name="connsiteY9" fmla="*/ 79004 h 163762"/>
                  <a:gd name="connsiteX10" fmla="*/ 17266 w 78825"/>
                  <a:gd name="connsiteY10" fmla="*/ 79004 h 163762"/>
                  <a:gd name="connsiteX11" fmla="*/ 17266 w 78825"/>
                  <a:gd name="connsiteY11" fmla="*/ 160659 h 163762"/>
                  <a:gd name="connsiteX12" fmla="*/ 20369 w 78825"/>
                  <a:gd name="connsiteY12" fmla="*/ 163763 h 163762"/>
                  <a:gd name="connsiteX13" fmla="*/ 47109 w 78825"/>
                  <a:gd name="connsiteY13" fmla="*/ 163763 h 163762"/>
                  <a:gd name="connsiteX14" fmla="*/ 50213 w 78825"/>
                  <a:gd name="connsiteY14" fmla="*/ 160659 h 163762"/>
                  <a:gd name="connsiteX15" fmla="*/ 50213 w 78825"/>
                  <a:gd name="connsiteY15" fmla="*/ 78990 h 163762"/>
                  <a:gd name="connsiteX16" fmla="*/ 71443 w 78825"/>
                  <a:gd name="connsiteY16" fmla="*/ 78990 h 163762"/>
                  <a:gd name="connsiteX17" fmla="*/ 74492 w 78825"/>
                  <a:gd name="connsiteY17" fmla="*/ 75941 h 163762"/>
                  <a:gd name="connsiteX18" fmla="*/ 74492 w 78825"/>
                  <a:gd name="connsiteY18" fmla="*/ 54902 h 163762"/>
                  <a:gd name="connsiteX19" fmla="*/ 71443 w 78825"/>
                  <a:gd name="connsiteY19" fmla="*/ 51853 h 163762"/>
                  <a:gd name="connsiteX20" fmla="*/ 50213 w 78825"/>
                  <a:gd name="connsiteY20" fmla="*/ 51853 h 163762"/>
                  <a:gd name="connsiteX21" fmla="*/ 50213 w 78825"/>
                  <a:gd name="connsiteY21" fmla="*/ 38565 h 163762"/>
                  <a:gd name="connsiteX22" fmla="*/ 59509 w 78825"/>
                  <a:gd name="connsiteY22" fmla="*/ 29269 h 163762"/>
                  <a:gd name="connsiteX23" fmla="*/ 75722 w 78825"/>
                  <a:gd name="connsiteY23" fmla="*/ 29269 h 163762"/>
                  <a:gd name="connsiteX24" fmla="*/ 78826 w 78825"/>
                  <a:gd name="connsiteY24" fmla="*/ 26166 h 163762"/>
                  <a:gd name="connsiteX25" fmla="*/ 78826 w 78825"/>
                  <a:gd name="connsiteY25" fmla="*/ 3103 h 163762"/>
                  <a:gd name="connsiteX26" fmla="*/ 75722 w 78825"/>
                  <a:gd name="connsiteY26" fmla="*/ 0 h 163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78825" h="163762">
                    <a:moveTo>
                      <a:pt x="75722" y="14"/>
                    </a:moveTo>
                    <a:lnTo>
                      <a:pt x="50377" y="14"/>
                    </a:lnTo>
                    <a:cubicBezTo>
                      <a:pt x="47916" y="14"/>
                      <a:pt x="45551" y="998"/>
                      <a:pt x="43801" y="2734"/>
                    </a:cubicBezTo>
                    <a:lnTo>
                      <a:pt x="19987" y="26549"/>
                    </a:lnTo>
                    <a:cubicBezTo>
                      <a:pt x="18237" y="28299"/>
                      <a:pt x="17266" y="30664"/>
                      <a:pt x="17266" y="33124"/>
                    </a:cubicBezTo>
                    <a:lnTo>
                      <a:pt x="17266" y="51867"/>
                    </a:lnTo>
                    <a:lnTo>
                      <a:pt x="3049" y="51867"/>
                    </a:lnTo>
                    <a:cubicBezTo>
                      <a:pt x="1367" y="51867"/>
                      <a:pt x="0" y="53234"/>
                      <a:pt x="0" y="54916"/>
                    </a:cubicBezTo>
                    <a:lnTo>
                      <a:pt x="0" y="75955"/>
                    </a:lnTo>
                    <a:cubicBezTo>
                      <a:pt x="0" y="77636"/>
                      <a:pt x="1367" y="79004"/>
                      <a:pt x="3049" y="79004"/>
                    </a:cubicBezTo>
                    <a:lnTo>
                      <a:pt x="17266" y="79004"/>
                    </a:lnTo>
                    <a:lnTo>
                      <a:pt x="17266" y="160659"/>
                    </a:lnTo>
                    <a:cubicBezTo>
                      <a:pt x="17266" y="162368"/>
                      <a:pt x="18661" y="163763"/>
                      <a:pt x="20369" y="163763"/>
                    </a:cubicBezTo>
                    <a:lnTo>
                      <a:pt x="47109" y="163763"/>
                    </a:lnTo>
                    <a:cubicBezTo>
                      <a:pt x="48818" y="163763"/>
                      <a:pt x="50213" y="162368"/>
                      <a:pt x="50213" y="160659"/>
                    </a:cubicBezTo>
                    <a:lnTo>
                      <a:pt x="50213" y="78990"/>
                    </a:lnTo>
                    <a:lnTo>
                      <a:pt x="71443" y="78990"/>
                    </a:lnTo>
                    <a:cubicBezTo>
                      <a:pt x="73125" y="78990"/>
                      <a:pt x="74492" y="77623"/>
                      <a:pt x="74492" y="75941"/>
                    </a:cubicBezTo>
                    <a:lnTo>
                      <a:pt x="74492" y="54902"/>
                    </a:lnTo>
                    <a:cubicBezTo>
                      <a:pt x="74492" y="53220"/>
                      <a:pt x="73125" y="51853"/>
                      <a:pt x="71443" y="51853"/>
                    </a:cubicBezTo>
                    <a:lnTo>
                      <a:pt x="50213" y="51853"/>
                    </a:lnTo>
                    <a:lnTo>
                      <a:pt x="50213" y="38565"/>
                    </a:lnTo>
                    <a:cubicBezTo>
                      <a:pt x="50213" y="33425"/>
                      <a:pt x="54382" y="29269"/>
                      <a:pt x="59509" y="29269"/>
                    </a:cubicBezTo>
                    <a:lnTo>
                      <a:pt x="75722" y="29269"/>
                    </a:lnTo>
                    <a:cubicBezTo>
                      <a:pt x="77431" y="29269"/>
                      <a:pt x="78826" y="27875"/>
                      <a:pt x="78826" y="26166"/>
                    </a:cubicBezTo>
                    <a:lnTo>
                      <a:pt x="78826" y="3103"/>
                    </a:lnTo>
                    <a:cubicBezTo>
                      <a:pt x="78826" y="1394"/>
                      <a:pt x="77431" y="0"/>
                      <a:pt x="75722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" name="Freeform: Shape 15">
                <a:extLst>
                  <a:ext uri="{FF2B5EF4-FFF2-40B4-BE49-F238E27FC236}">
                    <a16:creationId xmlns:a16="http://schemas.microsoft.com/office/drawing/2014/main" id="{878985CB-1814-BCFA-0314-24B00AB9802C}"/>
                  </a:ext>
                </a:extLst>
              </p:cNvPr>
              <p:cNvSpPr/>
              <p:nvPr/>
            </p:nvSpPr>
            <p:spPr>
              <a:xfrm>
                <a:off x="11896791" y="6612367"/>
                <a:ext cx="25659" cy="25660"/>
              </a:xfrm>
              <a:custGeom>
                <a:avLst/>
                <a:gdLst>
                  <a:gd name="connsiteX0" fmla="*/ 25660 w 25659"/>
                  <a:gd name="connsiteY0" fmla="*/ 12810 h 25660"/>
                  <a:gd name="connsiteX1" fmla="*/ 12782 w 25659"/>
                  <a:gd name="connsiteY1" fmla="*/ 25660 h 25660"/>
                  <a:gd name="connsiteX2" fmla="*/ 0 w 25659"/>
                  <a:gd name="connsiteY2" fmla="*/ 12810 h 25660"/>
                  <a:gd name="connsiteX3" fmla="*/ 12823 w 25659"/>
                  <a:gd name="connsiteY3" fmla="*/ 0 h 25660"/>
                  <a:gd name="connsiteX4" fmla="*/ 25646 w 25659"/>
                  <a:gd name="connsiteY4" fmla="*/ 12810 h 25660"/>
                  <a:gd name="connsiteX5" fmla="*/ 23691 w 25659"/>
                  <a:gd name="connsiteY5" fmla="*/ 12864 h 25660"/>
                  <a:gd name="connsiteX6" fmla="*/ 12837 w 25659"/>
                  <a:gd name="connsiteY6" fmla="*/ 1832 h 25660"/>
                  <a:gd name="connsiteX7" fmla="*/ 1982 w 25659"/>
                  <a:gd name="connsiteY7" fmla="*/ 12851 h 25660"/>
                  <a:gd name="connsiteX8" fmla="*/ 12782 w 25659"/>
                  <a:gd name="connsiteY8" fmla="*/ 23856 h 25660"/>
                  <a:gd name="connsiteX9" fmla="*/ 23691 w 25659"/>
                  <a:gd name="connsiteY9" fmla="*/ 12864 h 25660"/>
                  <a:gd name="connsiteX10" fmla="*/ 15585 w 25659"/>
                  <a:gd name="connsiteY10" fmla="*/ 14888 h 25660"/>
                  <a:gd name="connsiteX11" fmla="*/ 18811 w 25659"/>
                  <a:gd name="connsiteY11" fmla="*/ 19905 h 25660"/>
                  <a:gd name="connsiteX12" fmla="*/ 16678 w 25659"/>
                  <a:gd name="connsiteY12" fmla="*/ 19905 h 25660"/>
                  <a:gd name="connsiteX13" fmla="*/ 13097 w 25659"/>
                  <a:gd name="connsiteY13" fmla="*/ 14218 h 25660"/>
                  <a:gd name="connsiteX14" fmla="*/ 9829 w 25659"/>
                  <a:gd name="connsiteY14" fmla="*/ 14218 h 25660"/>
                  <a:gd name="connsiteX15" fmla="*/ 9829 w 25659"/>
                  <a:gd name="connsiteY15" fmla="*/ 19905 h 25660"/>
                  <a:gd name="connsiteX16" fmla="*/ 8038 w 25659"/>
                  <a:gd name="connsiteY16" fmla="*/ 19905 h 25660"/>
                  <a:gd name="connsiteX17" fmla="*/ 8038 w 25659"/>
                  <a:gd name="connsiteY17" fmla="*/ 5523 h 25660"/>
                  <a:gd name="connsiteX18" fmla="*/ 13616 w 25659"/>
                  <a:gd name="connsiteY18" fmla="*/ 5523 h 25660"/>
                  <a:gd name="connsiteX19" fmla="*/ 18155 w 25659"/>
                  <a:gd name="connsiteY19" fmla="*/ 9761 h 25660"/>
                  <a:gd name="connsiteX20" fmla="*/ 14887 w 25659"/>
                  <a:gd name="connsiteY20" fmla="*/ 13917 h 25660"/>
                  <a:gd name="connsiteX21" fmla="*/ 15585 w 25659"/>
                  <a:gd name="connsiteY21" fmla="*/ 14901 h 25660"/>
                  <a:gd name="connsiteX22" fmla="*/ 13015 w 25659"/>
                  <a:gd name="connsiteY22" fmla="*/ 12522 h 25660"/>
                  <a:gd name="connsiteX23" fmla="*/ 16282 w 25659"/>
                  <a:gd name="connsiteY23" fmla="*/ 9870 h 25660"/>
                  <a:gd name="connsiteX24" fmla="*/ 13657 w 25659"/>
                  <a:gd name="connsiteY24" fmla="*/ 7191 h 25660"/>
                  <a:gd name="connsiteX25" fmla="*/ 9816 w 25659"/>
                  <a:gd name="connsiteY25" fmla="*/ 7191 h 25660"/>
                  <a:gd name="connsiteX26" fmla="*/ 9816 w 25659"/>
                  <a:gd name="connsiteY26" fmla="*/ 12509 h 25660"/>
                  <a:gd name="connsiteX27" fmla="*/ 13015 w 25659"/>
                  <a:gd name="connsiteY27" fmla="*/ 12509 h 25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25659" h="25660">
                    <a:moveTo>
                      <a:pt x="25660" y="12810"/>
                    </a:moveTo>
                    <a:cubicBezTo>
                      <a:pt x="25660" y="19946"/>
                      <a:pt x="19946" y="25660"/>
                      <a:pt x="12782" y="25660"/>
                    </a:cubicBezTo>
                    <a:cubicBezTo>
                      <a:pt x="5619" y="25660"/>
                      <a:pt x="0" y="19891"/>
                      <a:pt x="0" y="12810"/>
                    </a:cubicBezTo>
                    <a:cubicBezTo>
                      <a:pt x="0" y="5728"/>
                      <a:pt x="5714" y="0"/>
                      <a:pt x="12823" y="0"/>
                    </a:cubicBezTo>
                    <a:cubicBezTo>
                      <a:pt x="19932" y="0"/>
                      <a:pt x="25646" y="5687"/>
                      <a:pt x="25646" y="12810"/>
                    </a:cubicBezTo>
                    <a:close/>
                    <a:moveTo>
                      <a:pt x="23691" y="12864"/>
                    </a:moveTo>
                    <a:cubicBezTo>
                      <a:pt x="23691" y="6712"/>
                      <a:pt x="18838" y="1832"/>
                      <a:pt x="12837" y="1832"/>
                    </a:cubicBezTo>
                    <a:cubicBezTo>
                      <a:pt x="6835" y="1832"/>
                      <a:pt x="1982" y="6658"/>
                      <a:pt x="1982" y="12851"/>
                    </a:cubicBezTo>
                    <a:cubicBezTo>
                      <a:pt x="1982" y="19043"/>
                      <a:pt x="6890" y="23856"/>
                      <a:pt x="12782" y="23856"/>
                    </a:cubicBezTo>
                    <a:cubicBezTo>
                      <a:pt x="18674" y="23856"/>
                      <a:pt x="23691" y="19002"/>
                      <a:pt x="23691" y="12864"/>
                    </a:cubicBezTo>
                    <a:close/>
                    <a:moveTo>
                      <a:pt x="15585" y="14888"/>
                    </a:moveTo>
                    <a:lnTo>
                      <a:pt x="18811" y="19905"/>
                    </a:lnTo>
                    <a:lnTo>
                      <a:pt x="16678" y="19905"/>
                    </a:lnTo>
                    <a:lnTo>
                      <a:pt x="13097" y="14218"/>
                    </a:lnTo>
                    <a:lnTo>
                      <a:pt x="9829" y="14218"/>
                    </a:lnTo>
                    <a:lnTo>
                      <a:pt x="9829" y="19905"/>
                    </a:lnTo>
                    <a:lnTo>
                      <a:pt x="8038" y="19905"/>
                    </a:lnTo>
                    <a:lnTo>
                      <a:pt x="8038" y="5523"/>
                    </a:lnTo>
                    <a:lnTo>
                      <a:pt x="13616" y="5523"/>
                    </a:lnTo>
                    <a:cubicBezTo>
                      <a:pt x="16364" y="5523"/>
                      <a:pt x="18155" y="6999"/>
                      <a:pt x="18155" y="9761"/>
                    </a:cubicBezTo>
                    <a:cubicBezTo>
                      <a:pt x="18155" y="11989"/>
                      <a:pt x="16801" y="13370"/>
                      <a:pt x="14887" y="13917"/>
                    </a:cubicBezTo>
                    <a:cubicBezTo>
                      <a:pt x="15147" y="14204"/>
                      <a:pt x="15407" y="14559"/>
                      <a:pt x="15585" y="14901"/>
                    </a:cubicBezTo>
                    <a:close/>
                    <a:moveTo>
                      <a:pt x="13015" y="12522"/>
                    </a:moveTo>
                    <a:cubicBezTo>
                      <a:pt x="15038" y="12522"/>
                      <a:pt x="16282" y="11565"/>
                      <a:pt x="16282" y="9870"/>
                    </a:cubicBezTo>
                    <a:cubicBezTo>
                      <a:pt x="16282" y="8175"/>
                      <a:pt x="15421" y="7191"/>
                      <a:pt x="13657" y="7191"/>
                    </a:cubicBezTo>
                    <a:lnTo>
                      <a:pt x="9816" y="7191"/>
                    </a:lnTo>
                    <a:lnTo>
                      <a:pt x="9816" y="12509"/>
                    </a:lnTo>
                    <a:lnTo>
                      <a:pt x="13015" y="12509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" name="Freeform: Shape 16">
                <a:extLst>
                  <a:ext uri="{FF2B5EF4-FFF2-40B4-BE49-F238E27FC236}">
                    <a16:creationId xmlns:a16="http://schemas.microsoft.com/office/drawing/2014/main" id="{E64A4E60-1B70-1CE3-050D-5A68EFCDB6BF}"/>
                  </a:ext>
                </a:extLst>
              </p:cNvPr>
              <p:cNvSpPr/>
              <p:nvPr/>
            </p:nvSpPr>
            <p:spPr>
              <a:xfrm>
                <a:off x="11620956" y="6472487"/>
                <a:ext cx="32932" cy="163721"/>
              </a:xfrm>
              <a:custGeom>
                <a:avLst/>
                <a:gdLst>
                  <a:gd name="connsiteX0" fmla="*/ 29830 w 32932"/>
                  <a:gd name="connsiteY0" fmla="*/ 0 h 163721"/>
                  <a:gd name="connsiteX1" fmla="*/ 32933 w 32932"/>
                  <a:gd name="connsiteY1" fmla="*/ 3103 h 163721"/>
                  <a:gd name="connsiteX2" fmla="*/ 32933 w 32932"/>
                  <a:gd name="connsiteY2" fmla="*/ 160618 h 163721"/>
                  <a:gd name="connsiteX3" fmla="*/ 29830 w 32932"/>
                  <a:gd name="connsiteY3" fmla="*/ 163722 h 163721"/>
                  <a:gd name="connsiteX4" fmla="*/ 3103 w 32932"/>
                  <a:gd name="connsiteY4" fmla="*/ 163722 h 163721"/>
                  <a:gd name="connsiteX5" fmla="*/ 0 w 32932"/>
                  <a:gd name="connsiteY5" fmla="*/ 160618 h 163721"/>
                  <a:gd name="connsiteX6" fmla="*/ 0 w 32932"/>
                  <a:gd name="connsiteY6" fmla="*/ 3103 h 163721"/>
                  <a:gd name="connsiteX7" fmla="*/ 3103 w 32932"/>
                  <a:gd name="connsiteY7" fmla="*/ 0 h 163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2932" h="163721">
                    <a:moveTo>
                      <a:pt x="29830" y="0"/>
                    </a:moveTo>
                    <a:cubicBezTo>
                      <a:pt x="31544" y="0"/>
                      <a:pt x="32933" y="1389"/>
                      <a:pt x="32933" y="3103"/>
                    </a:cubicBezTo>
                    <a:lnTo>
                      <a:pt x="32933" y="160618"/>
                    </a:lnTo>
                    <a:cubicBezTo>
                      <a:pt x="32933" y="162332"/>
                      <a:pt x="31543" y="163722"/>
                      <a:pt x="29830" y="163722"/>
                    </a:cubicBezTo>
                    <a:lnTo>
                      <a:pt x="3103" y="163722"/>
                    </a:lnTo>
                    <a:cubicBezTo>
                      <a:pt x="1389" y="163722"/>
                      <a:pt x="0" y="162332"/>
                      <a:pt x="0" y="160618"/>
                    </a:cubicBezTo>
                    <a:lnTo>
                      <a:pt x="0" y="3103"/>
                    </a:lnTo>
                    <a:cubicBezTo>
                      <a:pt x="0" y="1389"/>
                      <a:pt x="1389" y="0"/>
                      <a:pt x="3103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" name="Freeform: Shape 17">
                <a:extLst>
                  <a:ext uri="{FF2B5EF4-FFF2-40B4-BE49-F238E27FC236}">
                    <a16:creationId xmlns:a16="http://schemas.microsoft.com/office/drawing/2014/main" id="{47DB506A-795E-5317-7EB6-21AC630CF914}"/>
                  </a:ext>
                </a:extLst>
              </p:cNvPr>
              <p:cNvSpPr/>
              <p:nvPr/>
            </p:nvSpPr>
            <p:spPr>
              <a:xfrm>
                <a:off x="11488486" y="6472473"/>
                <a:ext cx="123638" cy="166086"/>
              </a:xfrm>
              <a:custGeom>
                <a:avLst/>
                <a:gdLst>
                  <a:gd name="connsiteX0" fmla="*/ 68737 w 123638"/>
                  <a:gd name="connsiteY0" fmla="*/ 44663 h 166086"/>
                  <a:gd name="connsiteX1" fmla="*/ 32947 w 123638"/>
                  <a:gd name="connsiteY1" fmla="*/ 62052 h 166086"/>
                  <a:gd name="connsiteX2" fmla="*/ 32947 w 123638"/>
                  <a:gd name="connsiteY2" fmla="*/ 3103 h 166086"/>
                  <a:gd name="connsiteX3" fmla="*/ 29843 w 123638"/>
                  <a:gd name="connsiteY3" fmla="*/ 0 h 166086"/>
                  <a:gd name="connsiteX4" fmla="*/ 3103 w 123638"/>
                  <a:gd name="connsiteY4" fmla="*/ 0 h 166086"/>
                  <a:gd name="connsiteX5" fmla="*/ 0 w 123638"/>
                  <a:gd name="connsiteY5" fmla="*/ 3103 h 166086"/>
                  <a:gd name="connsiteX6" fmla="*/ 0 w 123638"/>
                  <a:gd name="connsiteY6" fmla="*/ 160632 h 166086"/>
                  <a:gd name="connsiteX7" fmla="*/ 3103 w 123638"/>
                  <a:gd name="connsiteY7" fmla="*/ 163735 h 166086"/>
                  <a:gd name="connsiteX8" fmla="*/ 29843 w 123638"/>
                  <a:gd name="connsiteY8" fmla="*/ 163735 h 166086"/>
                  <a:gd name="connsiteX9" fmla="*/ 32947 w 123638"/>
                  <a:gd name="connsiteY9" fmla="*/ 160632 h 166086"/>
                  <a:gd name="connsiteX10" fmla="*/ 32947 w 123638"/>
                  <a:gd name="connsiteY10" fmla="*/ 149025 h 166086"/>
                  <a:gd name="connsiteX11" fmla="*/ 68983 w 123638"/>
                  <a:gd name="connsiteY11" fmla="*/ 166087 h 166086"/>
                  <a:gd name="connsiteX12" fmla="*/ 123638 w 123638"/>
                  <a:gd name="connsiteY12" fmla="*/ 105539 h 166086"/>
                  <a:gd name="connsiteX13" fmla="*/ 68750 w 123638"/>
                  <a:gd name="connsiteY13" fmla="*/ 44663 h 166086"/>
                  <a:gd name="connsiteX14" fmla="*/ 62188 w 123638"/>
                  <a:gd name="connsiteY14" fmla="*/ 135163 h 166086"/>
                  <a:gd name="connsiteX15" fmla="*/ 32947 w 123638"/>
                  <a:gd name="connsiteY15" fmla="*/ 105552 h 166086"/>
                  <a:gd name="connsiteX16" fmla="*/ 62188 w 123638"/>
                  <a:gd name="connsiteY16" fmla="*/ 76174 h 166086"/>
                  <a:gd name="connsiteX17" fmla="*/ 90965 w 123638"/>
                  <a:gd name="connsiteY17" fmla="*/ 105552 h 166086"/>
                  <a:gd name="connsiteX18" fmla="*/ 62188 w 123638"/>
                  <a:gd name="connsiteY18" fmla="*/ 135163 h 166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23638" h="166086">
                    <a:moveTo>
                      <a:pt x="68737" y="44663"/>
                    </a:moveTo>
                    <a:cubicBezTo>
                      <a:pt x="53535" y="44663"/>
                      <a:pt x="40889" y="51252"/>
                      <a:pt x="32947" y="62052"/>
                    </a:cubicBezTo>
                    <a:lnTo>
                      <a:pt x="32947" y="3103"/>
                    </a:lnTo>
                    <a:cubicBezTo>
                      <a:pt x="32947" y="1394"/>
                      <a:pt x="31552" y="0"/>
                      <a:pt x="29843" y="0"/>
                    </a:cubicBezTo>
                    <a:lnTo>
                      <a:pt x="3103" y="0"/>
                    </a:lnTo>
                    <a:cubicBezTo>
                      <a:pt x="1394" y="0"/>
                      <a:pt x="0" y="1394"/>
                      <a:pt x="0" y="3103"/>
                    </a:cubicBezTo>
                    <a:lnTo>
                      <a:pt x="0" y="160632"/>
                    </a:lnTo>
                    <a:cubicBezTo>
                      <a:pt x="0" y="162341"/>
                      <a:pt x="1394" y="163735"/>
                      <a:pt x="3103" y="163735"/>
                    </a:cubicBezTo>
                    <a:lnTo>
                      <a:pt x="29843" y="163735"/>
                    </a:lnTo>
                    <a:cubicBezTo>
                      <a:pt x="31552" y="163735"/>
                      <a:pt x="32947" y="162341"/>
                      <a:pt x="32947" y="160632"/>
                    </a:cubicBezTo>
                    <a:lnTo>
                      <a:pt x="32947" y="149025"/>
                    </a:lnTo>
                    <a:cubicBezTo>
                      <a:pt x="40903" y="159839"/>
                      <a:pt x="53535" y="166087"/>
                      <a:pt x="68983" y="166087"/>
                    </a:cubicBezTo>
                    <a:cubicBezTo>
                      <a:pt x="101505" y="166087"/>
                      <a:pt x="123638" y="139852"/>
                      <a:pt x="123638" y="105539"/>
                    </a:cubicBezTo>
                    <a:cubicBezTo>
                      <a:pt x="123638" y="71225"/>
                      <a:pt x="101505" y="44663"/>
                      <a:pt x="68750" y="44663"/>
                    </a:cubicBezTo>
                    <a:close/>
                    <a:moveTo>
                      <a:pt x="62188" y="135163"/>
                    </a:moveTo>
                    <a:cubicBezTo>
                      <a:pt x="45346" y="135163"/>
                      <a:pt x="32947" y="121533"/>
                      <a:pt x="32947" y="105552"/>
                    </a:cubicBezTo>
                    <a:cubicBezTo>
                      <a:pt x="32947" y="89571"/>
                      <a:pt x="45346" y="76174"/>
                      <a:pt x="62188" y="76174"/>
                    </a:cubicBezTo>
                    <a:cubicBezTo>
                      <a:pt x="79031" y="76174"/>
                      <a:pt x="90965" y="89571"/>
                      <a:pt x="90965" y="105552"/>
                    </a:cubicBezTo>
                    <a:cubicBezTo>
                      <a:pt x="90965" y="121533"/>
                      <a:pt x="78798" y="135163"/>
                      <a:pt x="62188" y="13516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" name="Freeform: Shape 18">
                <a:extLst>
                  <a:ext uri="{FF2B5EF4-FFF2-40B4-BE49-F238E27FC236}">
                    <a16:creationId xmlns:a16="http://schemas.microsoft.com/office/drawing/2014/main" id="{AF0FB4F8-09CE-7D33-E52E-8EE5783B2793}"/>
                  </a:ext>
                </a:extLst>
              </p:cNvPr>
              <p:cNvSpPr/>
              <p:nvPr/>
            </p:nvSpPr>
            <p:spPr>
              <a:xfrm>
                <a:off x="11359421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" name="Freeform: Shape 19">
                <a:extLst>
                  <a:ext uri="{FF2B5EF4-FFF2-40B4-BE49-F238E27FC236}">
                    <a16:creationId xmlns:a16="http://schemas.microsoft.com/office/drawing/2014/main" id="{291877BF-8FF0-8252-4989-F37BDB177D08}"/>
                  </a:ext>
                </a:extLst>
              </p:cNvPr>
              <p:cNvSpPr/>
              <p:nvPr/>
            </p:nvSpPr>
            <p:spPr>
              <a:xfrm>
                <a:off x="11662542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" name="Freeform: Shape 20">
                <a:extLst>
                  <a:ext uri="{FF2B5EF4-FFF2-40B4-BE49-F238E27FC236}">
                    <a16:creationId xmlns:a16="http://schemas.microsoft.com/office/drawing/2014/main" id="{3BDB1AE6-F745-AFE1-6D4A-8C592846121A}"/>
                  </a:ext>
                </a:extLst>
              </p:cNvPr>
              <p:cNvSpPr/>
              <p:nvPr/>
            </p:nvSpPr>
            <p:spPr>
              <a:xfrm>
                <a:off x="11122821" y="6519528"/>
                <a:ext cx="32932" cy="116680"/>
              </a:xfrm>
              <a:custGeom>
                <a:avLst/>
                <a:gdLst>
                  <a:gd name="connsiteX0" fmla="*/ 29843 w 32932"/>
                  <a:gd name="connsiteY0" fmla="*/ 116680 h 116680"/>
                  <a:gd name="connsiteX1" fmla="*/ 3103 w 32932"/>
                  <a:gd name="connsiteY1" fmla="*/ 116680 h 116680"/>
                  <a:gd name="connsiteX2" fmla="*/ 0 w 32932"/>
                  <a:gd name="connsiteY2" fmla="*/ 113577 h 116680"/>
                  <a:gd name="connsiteX3" fmla="*/ 0 w 32932"/>
                  <a:gd name="connsiteY3" fmla="*/ 30554 h 116680"/>
                  <a:gd name="connsiteX4" fmla="*/ 1859 w 32932"/>
                  <a:gd name="connsiteY4" fmla="*/ 26125 h 116680"/>
                  <a:gd name="connsiteX5" fmla="*/ 27670 w 32932"/>
                  <a:gd name="connsiteY5" fmla="*/ 888 h 116680"/>
                  <a:gd name="connsiteX6" fmla="*/ 32933 w 32932"/>
                  <a:gd name="connsiteY6" fmla="*/ 3103 h 116680"/>
                  <a:gd name="connsiteX7" fmla="*/ 32933 w 32932"/>
                  <a:gd name="connsiteY7" fmla="*/ 113577 h 116680"/>
                  <a:gd name="connsiteX8" fmla="*/ 29830 w 32932"/>
                  <a:gd name="connsiteY8" fmla="*/ 116680 h 116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932" h="116680">
                    <a:moveTo>
                      <a:pt x="29843" y="116680"/>
                    </a:moveTo>
                    <a:lnTo>
                      <a:pt x="3103" y="116680"/>
                    </a:lnTo>
                    <a:cubicBezTo>
                      <a:pt x="1394" y="116680"/>
                      <a:pt x="0" y="115286"/>
                      <a:pt x="0" y="113577"/>
                    </a:cubicBezTo>
                    <a:lnTo>
                      <a:pt x="0" y="30554"/>
                    </a:lnTo>
                    <a:cubicBezTo>
                      <a:pt x="0" y="28886"/>
                      <a:pt x="670" y="27287"/>
                      <a:pt x="1859" y="26125"/>
                    </a:cubicBezTo>
                    <a:lnTo>
                      <a:pt x="27670" y="888"/>
                    </a:lnTo>
                    <a:cubicBezTo>
                      <a:pt x="29638" y="-1026"/>
                      <a:pt x="32933" y="355"/>
                      <a:pt x="32933" y="3103"/>
                    </a:cubicBezTo>
                    <a:lnTo>
                      <a:pt x="32933" y="113577"/>
                    </a:lnTo>
                    <a:cubicBezTo>
                      <a:pt x="32933" y="115286"/>
                      <a:pt x="31538" y="116680"/>
                      <a:pt x="29830" y="11668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" name="Freeform: Shape 21">
                <a:extLst>
                  <a:ext uri="{FF2B5EF4-FFF2-40B4-BE49-F238E27FC236}">
                    <a16:creationId xmlns:a16="http://schemas.microsoft.com/office/drawing/2014/main" id="{0DC3A4A5-3595-C301-2374-5781804A8F16}"/>
                  </a:ext>
                </a:extLst>
              </p:cNvPr>
              <p:cNvSpPr/>
              <p:nvPr/>
            </p:nvSpPr>
            <p:spPr>
              <a:xfrm>
                <a:off x="11173074" y="6517105"/>
                <a:ext cx="107493" cy="119116"/>
              </a:xfrm>
              <a:custGeom>
                <a:avLst/>
                <a:gdLst>
                  <a:gd name="connsiteX0" fmla="*/ 107480 w 107493"/>
                  <a:gd name="connsiteY0" fmla="*/ 41877 h 119116"/>
                  <a:gd name="connsiteX1" fmla="*/ 65237 w 107493"/>
                  <a:gd name="connsiteY1" fmla="*/ 3 h 119116"/>
                  <a:gd name="connsiteX2" fmla="*/ 32947 w 107493"/>
                  <a:gd name="connsiteY2" fmla="*/ 17474 h 119116"/>
                  <a:gd name="connsiteX3" fmla="*/ 32947 w 107493"/>
                  <a:gd name="connsiteY3" fmla="*/ 5581 h 119116"/>
                  <a:gd name="connsiteX4" fmla="*/ 29843 w 107493"/>
                  <a:gd name="connsiteY4" fmla="*/ 2478 h 119116"/>
                  <a:gd name="connsiteX5" fmla="*/ 3103 w 107493"/>
                  <a:gd name="connsiteY5" fmla="*/ 2478 h 119116"/>
                  <a:gd name="connsiteX6" fmla="*/ 0 w 107493"/>
                  <a:gd name="connsiteY6" fmla="*/ 5581 h 119116"/>
                  <a:gd name="connsiteX7" fmla="*/ 0 w 107493"/>
                  <a:gd name="connsiteY7" fmla="*/ 116000 h 119116"/>
                  <a:gd name="connsiteX8" fmla="*/ 3103 w 107493"/>
                  <a:gd name="connsiteY8" fmla="*/ 119103 h 119116"/>
                  <a:gd name="connsiteX9" fmla="*/ 29843 w 107493"/>
                  <a:gd name="connsiteY9" fmla="*/ 119103 h 119116"/>
                  <a:gd name="connsiteX10" fmla="*/ 32947 w 107493"/>
                  <a:gd name="connsiteY10" fmla="*/ 116000 h 119116"/>
                  <a:gd name="connsiteX11" fmla="*/ 32947 w 107493"/>
                  <a:gd name="connsiteY11" fmla="*/ 51788 h 119116"/>
                  <a:gd name="connsiteX12" fmla="*/ 53740 w 107493"/>
                  <a:gd name="connsiteY12" fmla="*/ 31747 h 119116"/>
                  <a:gd name="connsiteX13" fmla="*/ 74547 w 107493"/>
                  <a:gd name="connsiteY13" fmla="*/ 53210 h 119116"/>
                  <a:gd name="connsiteX14" fmla="*/ 74547 w 107493"/>
                  <a:gd name="connsiteY14" fmla="*/ 116014 h 119116"/>
                  <a:gd name="connsiteX15" fmla="*/ 77650 w 107493"/>
                  <a:gd name="connsiteY15" fmla="*/ 119117 h 119116"/>
                  <a:gd name="connsiteX16" fmla="*/ 104390 w 107493"/>
                  <a:gd name="connsiteY16" fmla="*/ 119117 h 119116"/>
                  <a:gd name="connsiteX17" fmla="*/ 107493 w 107493"/>
                  <a:gd name="connsiteY17" fmla="*/ 116014 h 119116"/>
                  <a:gd name="connsiteX18" fmla="*/ 107493 w 107493"/>
                  <a:gd name="connsiteY18" fmla="*/ 41890 h 119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7493" h="119116">
                    <a:moveTo>
                      <a:pt x="107480" y="41877"/>
                    </a:moveTo>
                    <a:cubicBezTo>
                      <a:pt x="107480" y="19252"/>
                      <a:pt x="88792" y="277"/>
                      <a:pt x="65237" y="3"/>
                    </a:cubicBezTo>
                    <a:cubicBezTo>
                      <a:pt x="49912" y="-175"/>
                      <a:pt x="39563" y="7331"/>
                      <a:pt x="32947" y="17474"/>
                    </a:cubicBezTo>
                    <a:lnTo>
                      <a:pt x="32947" y="5581"/>
                    </a:lnTo>
                    <a:cubicBezTo>
                      <a:pt x="32947" y="3872"/>
                      <a:pt x="31552" y="2478"/>
                      <a:pt x="29843" y="2478"/>
                    </a:cubicBezTo>
                    <a:lnTo>
                      <a:pt x="3103" y="2478"/>
                    </a:lnTo>
                    <a:cubicBezTo>
                      <a:pt x="1394" y="2478"/>
                      <a:pt x="0" y="3872"/>
                      <a:pt x="0" y="5581"/>
                    </a:cubicBezTo>
                    <a:lnTo>
                      <a:pt x="0" y="116000"/>
                    </a:lnTo>
                    <a:cubicBezTo>
                      <a:pt x="0" y="117709"/>
                      <a:pt x="1394" y="119103"/>
                      <a:pt x="3103" y="119103"/>
                    </a:cubicBezTo>
                    <a:lnTo>
                      <a:pt x="29843" y="119103"/>
                    </a:lnTo>
                    <a:cubicBezTo>
                      <a:pt x="31552" y="119103"/>
                      <a:pt x="32947" y="117709"/>
                      <a:pt x="32947" y="116000"/>
                    </a:cubicBezTo>
                    <a:lnTo>
                      <a:pt x="32947" y="51788"/>
                    </a:lnTo>
                    <a:cubicBezTo>
                      <a:pt x="33685" y="39430"/>
                      <a:pt x="41518" y="31747"/>
                      <a:pt x="53740" y="31747"/>
                    </a:cubicBezTo>
                    <a:cubicBezTo>
                      <a:pt x="65961" y="31747"/>
                      <a:pt x="74547" y="40373"/>
                      <a:pt x="74547" y="53210"/>
                    </a:cubicBezTo>
                    <a:lnTo>
                      <a:pt x="74547" y="116014"/>
                    </a:lnTo>
                    <a:cubicBezTo>
                      <a:pt x="74547" y="117722"/>
                      <a:pt x="75941" y="119117"/>
                      <a:pt x="77650" y="119117"/>
                    </a:cubicBezTo>
                    <a:lnTo>
                      <a:pt x="104390" y="119117"/>
                    </a:lnTo>
                    <a:cubicBezTo>
                      <a:pt x="106099" y="119117"/>
                      <a:pt x="107493" y="117722"/>
                      <a:pt x="107493" y="116014"/>
                    </a:cubicBezTo>
                    <a:lnTo>
                      <a:pt x="107493" y="41890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9" name="Title 1">
            <a:extLst>
              <a:ext uri="{FF2B5EF4-FFF2-40B4-BE49-F238E27FC236}">
                <a16:creationId xmlns:a16="http://schemas.microsoft.com/office/drawing/2014/main" id="{78427D0C-CE13-1C0F-BBAE-1E23242190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978" y="297451"/>
            <a:ext cx="11118522" cy="630213"/>
          </a:xfrm>
          <a:prstGeom prst="rect">
            <a:avLst/>
          </a:prstGeom>
        </p:spPr>
        <p:txBody>
          <a:bodyPr anchor="b" anchorCtr="0"/>
          <a:lstStyle>
            <a:lvl1pPr>
              <a:defRPr sz="3400" b="1" i="0" cap="all" baseline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r>
              <a:rPr lang="en-US"/>
              <a:t>three-content layou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8CF8578C-BF09-C826-692C-5671BFD59A52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501983" y="898900"/>
            <a:ext cx="11118517" cy="397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kumimoji="0" lang="en-US" sz="2200" b="0" i="0" u="none" strike="noStrike" cap="all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Lato" panose="020F0502020204030203" pitchFamily="34" charset="77"/>
                <a:ea typeface="Roboto Slab" pitchFamily="2" charset="0"/>
                <a:cs typeface="Arial" panose="020B0604020202020204" pitchFamily="34" charset="0"/>
              </a:defRPr>
            </a:lvl1pPr>
          </a:lstStyle>
          <a:p>
            <a:pPr marL="228600" marR="0" lvl="0" indent="-22860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ubtitle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8A5C5A44-842F-9985-6658-BD057F440E5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93020" y="1798917"/>
            <a:ext cx="33163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kumimoji="0" lang="en-US" sz="2000" b="1" i="0" u="none" strike="noStrike" cap="none" spc="0" normalizeH="0" baseline="0" dirty="0" smtClean="0">
                <a:ln>
                  <a:noFill/>
                </a:ln>
                <a:solidFill>
                  <a:srgbClr val="00BD4D"/>
                </a:solidFill>
                <a:effectLst/>
                <a:uLnTx/>
                <a:uFillTx/>
                <a:latin typeface="Lato" panose="020F0502020204030203" pitchFamily="34" charset="0"/>
                <a:ea typeface="Roboto Slab" pitchFamily="2" charset="0"/>
                <a:cs typeface="Arial" panose="020B0604020202020204" pitchFamily="34" charset="0"/>
              </a:defRPr>
            </a:lvl1pPr>
          </a:lstStyle>
          <a:p>
            <a:pPr marR="0" lvl="0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43" name="Text Placeholder 29">
            <a:extLst>
              <a:ext uri="{FF2B5EF4-FFF2-40B4-BE49-F238E27FC236}">
                <a16:creationId xmlns:a16="http://schemas.microsoft.com/office/drawing/2014/main" id="{2F93E573-022A-A987-6FB2-168797A7862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41120" y="1798917"/>
            <a:ext cx="33163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kumimoji="0" lang="en-US" sz="2000" b="1" i="0" u="none" strike="noStrike" cap="none" spc="0" normalizeH="0" baseline="0" dirty="0" smtClean="0">
                <a:ln>
                  <a:noFill/>
                </a:ln>
                <a:solidFill>
                  <a:srgbClr val="00BD4D"/>
                </a:solidFill>
                <a:effectLst/>
                <a:uLnTx/>
                <a:uFillTx/>
                <a:latin typeface="Lato" panose="020F0502020204030203" pitchFamily="34" charset="0"/>
                <a:ea typeface="Roboto Slab" pitchFamily="2" charset="0"/>
                <a:cs typeface="Arial" panose="020B0604020202020204" pitchFamily="34" charset="0"/>
              </a:defRPr>
            </a:lvl1pPr>
          </a:lstStyle>
          <a:p>
            <a:pPr marR="0" lvl="0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45" name="Text Placeholder 29">
            <a:extLst>
              <a:ext uri="{FF2B5EF4-FFF2-40B4-BE49-F238E27FC236}">
                <a16:creationId xmlns:a16="http://schemas.microsoft.com/office/drawing/2014/main" id="{A907B3DE-23B9-9CD0-AED6-40DF175B462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289220" y="1798917"/>
            <a:ext cx="33163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kumimoji="0" lang="en-US" sz="2000" b="1" i="0" u="none" strike="noStrike" cap="none" spc="0" normalizeH="0" baseline="0" dirty="0" smtClean="0">
                <a:ln>
                  <a:noFill/>
                </a:ln>
                <a:solidFill>
                  <a:srgbClr val="00BD4D"/>
                </a:solidFill>
                <a:effectLst/>
                <a:uLnTx/>
                <a:uFillTx/>
                <a:latin typeface="Lato" panose="020F0502020204030203" pitchFamily="34" charset="0"/>
                <a:ea typeface="Roboto Slab" pitchFamily="2" charset="0"/>
                <a:cs typeface="Arial" panose="020B0604020202020204" pitchFamily="34" charset="0"/>
              </a:defRPr>
            </a:lvl1pPr>
          </a:lstStyle>
          <a:p>
            <a:pPr marR="0" lvl="0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3" name="Text Placeholder 51">
            <a:extLst>
              <a:ext uri="{FF2B5EF4-FFF2-40B4-BE49-F238E27FC236}">
                <a16:creationId xmlns:a16="http://schemas.microsoft.com/office/drawing/2014/main" id="{BBE8C605-E753-3694-0907-76605066CF0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93725" y="2728232"/>
            <a:ext cx="3330575" cy="3482065"/>
          </a:xfrm>
          <a:prstGeom prst="rect">
            <a:avLst/>
          </a:prstGeom>
        </p:spPr>
        <p:txBody>
          <a:bodyPr/>
          <a:lstStyle>
            <a:lvl1pPr marL="180000" indent="-180000">
              <a:spcBef>
                <a:spcPts val="1000"/>
              </a:spcBef>
              <a:buClr>
                <a:srgbClr val="00BD4D"/>
              </a:buClr>
              <a:defRPr sz="1600" b="0" i="0">
                <a:solidFill>
                  <a:schemeClr val="bg1"/>
                </a:solidFill>
                <a:latin typeface="Lato" panose="020F0502020204030203" pitchFamily="34" charset="77"/>
              </a:defRPr>
            </a:lvl1pPr>
            <a:lvl2pPr marL="360000" indent="-180000">
              <a:spcBef>
                <a:spcPts val="1000"/>
              </a:spcBef>
              <a:buClr>
                <a:srgbClr val="00BD4D"/>
              </a:buClr>
              <a:defRPr sz="1400" b="0" i="0">
                <a:solidFill>
                  <a:schemeClr val="bg1"/>
                </a:solidFill>
                <a:latin typeface="Lato" panose="020F0502020204030203" pitchFamily="34" charset="77"/>
              </a:defRPr>
            </a:lvl2pPr>
            <a:lvl3pPr marL="540000" indent="-180000">
              <a:spcBef>
                <a:spcPts val="1000"/>
              </a:spcBef>
              <a:buClr>
                <a:srgbClr val="00BD4D"/>
              </a:buClr>
              <a:defRPr sz="1200" b="0" i="0">
                <a:solidFill>
                  <a:schemeClr val="bg1"/>
                </a:solidFill>
                <a:latin typeface="Lato" panose="020F0502020204030203" pitchFamily="34" charset="77"/>
              </a:defRPr>
            </a:lvl3pPr>
            <a:lvl4pPr marL="720000" indent="-180000">
              <a:spcBef>
                <a:spcPts val="1000"/>
              </a:spcBef>
              <a:buClr>
                <a:srgbClr val="00BD4D"/>
              </a:buClr>
              <a:defRPr sz="1100" b="0" i="0">
                <a:solidFill>
                  <a:schemeClr val="bg1"/>
                </a:solidFill>
                <a:latin typeface="Lato" panose="020F0502020204030203" pitchFamily="34" charset="77"/>
              </a:defRPr>
            </a:lvl4pPr>
            <a:lvl5pPr marL="900000" indent="-180000">
              <a:spcBef>
                <a:spcPts val="1000"/>
              </a:spcBef>
              <a:buClr>
                <a:srgbClr val="00BD4D"/>
              </a:buClr>
              <a:defRPr sz="1100" b="0" i="0">
                <a:solidFill>
                  <a:schemeClr val="bg1"/>
                </a:solidFill>
                <a:latin typeface="Lato" panose="020F05020202040302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51">
            <a:extLst>
              <a:ext uri="{FF2B5EF4-FFF2-40B4-BE49-F238E27FC236}">
                <a16:creationId xmlns:a16="http://schemas.microsoft.com/office/drawing/2014/main" id="{6B3F67CE-AEB6-1CAA-36BD-3F88CD3560A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4441120" y="2728232"/>
            <a:ext cx="3330575" cy="3482065"/>
          </a:xfrm>
          <a:prstGeom prst="rect">
            <a:avLst/>
          </a:prstGeom>
        </p:spPr>
        <p:txBody>
          <a:bodyPr/>
          <a:lstStyle>
            <a:lvl1pPr marL="180000" indent="-180000">
              <a:spcBef>
                <a:spcPts val="1000"/>
              </a:spcBef>
              <a:buClr>
                <a:srgbClr val="00BD4D"/>
              </a:buClr>
              <a:defRPr sz="1600" b="0" i="0">
                <a:solidFill>
                  <a:schemeClr val="bg1"/>
                </a:solidFill>
                <a:latin typeface="Lato" panose="020F0502020204030203" pitchFamily="34" charset="77"/>
              </a:defRPr>
            </a:lvl1pPr>
            <a:lvl2pPr marL="360000" indent="-180000">
              <a:spcBef>
                <a:spcPts val="1000"/>
              </a:spcBef>
              <a:buClr>
                <a:srgbClr val="00BD4D"/>
              </a:buClr>
              <a:defRPr sz="1400" b="0" i="0">
                <a:solidFill>
                  <a:schemeClr val="bg1"/>
                </a:solidFill>
                <a:latin typeface="Lato" panose="020F0502020204030203" pitchFamily="34" charset="77"/>
              </a:defRPr>
            </a:lvl2pPr>
            <a:lvl3pPr marL="540000" indent="-180000">
              <a:spcBef>
                <a:spcPts val="1000"/>
              </a:spcBef>
              <a:buClr>
                <a:srgbClr val="00BD4D"/>
              </a:buClr>
              <a:defRPr sz="1200" b="0" i="0">
                <a:solidFill>
                  <a:schemeClr val="bg1"/>
                </a:solidFill>
                <a:latin typeface="Lato" panose="020F0502020204030203" pitchFamily="34" charset="77"/>
              </a:defRPr>
            </a:lvl3pPr>
            <a:lvl4pPr marL="720000" indent="-180000">
              <a:spcBef>
                <a:spcPts val="1000"/>
              </a:spcBef>
              <a:buClr>
                <a:srgbClr val="00BD4D"/>
              </a:buClr>
              <a:defRPr sz="1100" b="0" i="0">
                <a:solidFill>
                  <a:schemeClr val="bg1"/>
                </a:solidFill>
                <a:latin typeface="Lato" panose="020F0502020204030203" pitchFamily="34" charset="77"/>
              </a:defRPr>
            </a:lvl4pPr>
            <a:lvl5pPr marL="900000" indent="-180000">
              <a:spcBef>
                <a:spcPts val="1000"/>
              </a:spcBef>
              <a:buClr>
                <a:srgbClr val="00BD4D"/>
              </a:buClr>
              <a:defRPr sz="1100" b="0" i="0">
                <a:solidFill>
                  <a:schemeClr val="bg1"/>
                </a:solidFill>
                <a:latin typeface="Lato" panose="020F05020202040302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51">
            <a:extLst>
              <a:ext uri="{FF2B5EF4-FFF2-40B4-BE49-F238E27FC236}">
                <a16:creationId xmlns:a16="http://schemas.microsoft.com/office/drawing/2014/main" id="{63276AC1-1D57-7482-3223-0B18E6D480C6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8289220" y="2728232"/>
            <a:ext cx="3330575" cy="3482065"/>
          </a:xfrm>
          <a:prstGeom prst="rect">
            <a:avLst/>
          </a:prstGeom>
        </p:spPr>
        <p:txBody>
          <a:bodyPr/>
          <a:lstStyle>
            <a:lvl1pPr marL="180000" indent="-180000">
              <a:spcBef>
                <a:spcPts val="1000"/>
              </a:spcBef>
              <a:buClr>
                <a:srgbClr val="00BD4D"/>
              </a:buClr>
              <a:defRPr sz="1600" b="0" i="0">
                <a:solidFill>
                  <a:schemeClr val="bg1"/>
                </a:solidFill>
                <a:latin typeface="Lato" panose="020F0502020204030203" pitchFamily="34" charset="77"/>
              </a:defRPr>
            </a:lvl1pPr>
            <a:lvl2pPr marL="360000" indent="-180000">
              <a:spcBef>
                <a:spcPts val="1000"/>
              </a:spcBef>
              <a:buClr>
                <a:srgbClr val="00BD4D"/>
              </a:buClr>
              <a:defRPr sz="1400" b="0" i="0">
                <a:solidFill>
                  <a:schemeClr val="bg1"/>
                </a:solidFill>
                <a:latin typeface="Lato" panose="020F0502020204030203" pitchFamily="34" charset="77"/>
              </a:defRPr>
            </a:lvl2pPr>
            <a:lvl3pPr marL="540000" indent="-180000">
              <a:spcBef>
                <a:spcPts val="1000"/>
              </a:spcBef>
              <a:buClr>
                <a:srgbClr val="00BD4D"/>
              </a:buClr>
              <a:defRPr sz="1200" b="0" i="0">
                <a:solidFill>
                  <a:schemeClr val="bg1"/>
                </a:solidFill>
                <a:latin typeface="Lato" panose="020F0502020204030203" pitchFamily="34" charset="77"/>
              </a:defRPr>
            </a:lvl3pPr>
            <a:lvl4pPr marL="720000" indent="-180000">
              <a:spcBef>
                <a:spcPts val="1000"/>
              </a:spcBef>
              <a:buClr>
                <a:srgbClr val="00BD4D"/>
              </a:buClr>
              <a:defRPr sz="1100" b="0" i="0">
                <a:solidFill>
                  <a:schemeClr val="bg1"/>
                </a:solidFill>
                <a:latin typeface="Lato" panose="020F0502020204030203" pitchFamily="34" charset="77"/>
              </a:defRPr>
            </a:lvl4pPr>
            <a:lvl5pPr marL="900000" indent="-180000">
              <a:spcBef>
                <a:spcPts val="1000"/>
              </a:spcBef>
              <a:buClr>
                <a:srgbClr val="00BD4D"/>
              </a:buClr>
              <a:defRPr sz="1100" b="0" i="0">
                <a:solidFill>
                  <a:schemeClr val="bg1"/>
                </a:solidFill>
                <a:latin typeface="Lato" panose="020F05020202040302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9324F77-1E59-680C-A7DD-B7CCAD426967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635840" y="2474236"/>
            <a:ext cx="3287756" cy="27432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B07DC2B3-984A-9E59-9173-0B8EDC273CEC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4440089" y="2474236"/>
            <a:ext cx="3287756" cy="27432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FD79A182-6FC7-6421-A2AB-F4558416C56F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8287470" y="2474236"/>
            <a:ext cx="3287756" cy="27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9025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-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C57EF652-1705-2AC5-7642-4775FE39570A}"/>
              </a:ext>
            </a:extLst>
          </p:cNvPr>
          <p:cNvGrpSpPr/>
          <p:nvPr userDrawn="1"/>
        </p:nvGrpSpPr>
        <p:grpSpPr>
          <a:xfrm>
            <a:off x="11122821" y="6472473"/>
            <a:ext cx="799629" cy="166100"/>
            <a:chOff x="11122821" y="6472473"/>
            <a:chExt cx="799629" cy="166100"/>
          </a:xfrm>
        </p:grpSpPr>
        <p:sp>
          <p:nvSpPr>
            <p:cNvPr id="4" name="Freeform: Shape 11">
              <a:extLst>
                <a:ext uri="{FF2B5EF4-FFF2-40B4-BE49-F238E27FC236}">
                  <a16:creationId xmlns:a16="http://schemas.microsoft.com/office/drawing/2014/main" id="{A2629C08-2B58-57FF-B8A3-D897F76FA439}"/>
                </a:ext>
              </a:extLst>
            </p:cNvPr>
            <p:cNvSpPr/>
            <p:nvPr/>
          </p:nvSpPr>
          <p:spPr>
            <a:xfrm rot="18900000">
              <a:off x="11134957" y="6473485"/>
              <a:ext cx="35147" cy="35147"/>
            </a:xfrm>
            <a:custGeom>
              <a:avLst/>
              <a:gdLst>
                <a:gd name="connsiteX0" fmla="*/ 32044 w 35147"/>
                <a:gd name="connsiteY0" fmla="*/ 0 h 35147"/>
                <a:gd name="connsiteX1" fmla="*/ 35148 w 35147"/>
                <a:gd name="connsiteY1" fmla="*/ 3103 h 35147"/>
                <a:gd name="connsiteX2" fmla="*/ 35148 w 35147"/>
                <a:gd name="connsiteY2" fmla="*/ 32044 h 35147"/>
                <a:gd name="connsiteX3" fmla="*/ 32044 w 35147"/>
                <a:gd name="connsiteY3" fmla="*/ 35148 h 35147"/>
                <a:gd name="connsiteX4" fmla="*/ 3103 w 35147"/>
                <a:gd name="connsiteY4" fmla="*/ 35148 h 35147"/>
                <a:gd name="connsiteX5" fmla="*/ 0 w 35147"/>
                <a:gd name="connsiteY5" fmla="*/ 32044 h 35147"/>
                <a:gd name="connsiteX6" fmla="*/ 0 w 35147"/>
                <a:gd name="connsiteY6" fmla="*/ 3103 h 35147"/>
                <a:gd name="connsiteX7" fmla="*/ 3103 w 35147"/>
                <a:gd name="connsiteY7" fmla="*/ 0 h 35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147" h="35147">
                  <a:moveTo>
                    <a:pt x="32044" y="0"/>
                  </a:moveTo>
                  <a:cubicBezTo>
                    <a:pt x="33758" y="0"/>
                    <a:pt x="35148" y="1389"/>
                    <a:pt x="35148" y="3103"/>
                  </a:cubicBezTo>
                  <a:lnTo>
                    <a:pt x="35148" y="32044"/>
                  </a:lnTo>
                  <a:cubicBezTo>
                    <a:pt x="35148" y="33758"/>
                    <a:pt x="33758" y="35148"/>
                    <a:pt x="32044" y="35148"/>
                  </a:cubicBezTo>
                  <a:lnTo>
                    <a:pt x="3103" y="35148"/>
                  </a:lnTo>
                  <a:cubicBezTo>
                    <a:pt x="1389" y="35148"/>
                    <a:pt x="0" y="33758"/>
                    <a:pt x="0" y="32044"/>
                  </a:cubicBezTo>
                  <a:lnTo>
                    <a:pt x="0" y="3103"/>
                  </a:lnTo>
                  <a:cubicBezTo>
                    <a:pt x="0" y="1389"/>
                    <a:pt x="1389" y="0"/>
                    <a:pt x="3103" y="0"/>
                  </a:cubicBezTo>
                  <a:close/>
                </a:path>
              </a:pathLst>
            </a:custGeom>
            <a:solidFill>
              <a:srgbClr val="00BD4D"/>
            </a:solidFill>
            <a:ln w="135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35D4E117-002C-C01D-1556-4A45CA7EFF70}"/>
                </a:ext>
              </a:extLst>
            </p:cNvPr>
            <p:cNvGrpSpPr/>
            <p:nvPr/>
          </p:nvGrpSpPr>
          <p:grpSpPr>
            <a:xfrm>
              <a:off x="11122821" y="6472473"/>
              <a:ext cx="799629" cy="166100"/>
              <a:chOff x="11122821" y="6472473"/>
              <a:chExt cx="799629" cy="166100"/>
            </a:xfrm>
            <a:solidFill>
              <a:schemeClr val="bg1"/>
            </a:solidFill>
          </p:grpSpPr>
          <p:sp>
            <p:nvSpPr>
              <p:cNvPr id="6" name="Freeform: Shape 13">
                <a:extLst>
                  <a:ext uri="{FF2B5EF4-FFF2-40B4-BE49-F238E27FC236}">
                    <a16:creationId xmlns:a16="http://schemas.microsoft.com/office/drawing/2014/main" id="{43D2A61A-53FE-AF6B-EF60-CDAED26012D4}"/>
                  </a:ext>
                </a:extLst>
              </p:cNvPr>
              <p:cNvSpPr/>
              <p:nvPr/>
            </p:nvSpPr>
            <p:spPr>
              <a:xfrm>
                <a:off x="11774281" y="6519597"/>
                <a:ext cx="119385" cy="116611"/>
              </a:xfrm>
              <a:custGeom>
                <a:avLst/>
                <a:gdLst>
                  <a:gd name="connsiteX0" fmla="*/ 82523 w 119385"/>
                  <a:gd name="connsiteY0" fmla="*/ 58306 h 116611"/>
                  <a:gd name="connsiteX1" fmla="*/ 118887 w 119385"/>
                  <a:gd name="connsiteY1" fmla="*/ 112265 h 116611"/>
                  <a:gd name="connsiteX2" fmla="*/ 116385 w 119385"/>
                  <a:gd name="connsiteY2" fmla="*/ 116612 h 116611"/>
                  <a:gd name="connsiteX3" fmla="*/ 85831 w 119385"/>
                  <a:gd name="connsiteY3" fmla="*/ 116612 h 116611"/>
                  <a:gd name="connsiteX4" fmla="*/ 80718 w 119385"/>
                  <a:gd name="connsiteY4" fmla="*/ 113919 h 116611"/>
                  <a:gd name="connsiteX5" fmla="*/ 59693 w 119385"/>
                  <a:gd name="connsiteY5" fmla="*/ 81751 h 116611"/>
                  <a:gd name="connsiteX6" fmla="*/ 38667 w 119385"/>
                  <a:gd name="connsiteY6" fmla="*/ 113919 h 116611"/>
                  <a:gd name="connsiteX7" fmla="*/ 33554 w 119385"/>
                  <a:gd name="connsiteY7" fmla="*/ 116612 h 116611"/>
                  <a:gd name="connsiteX8" fmla="*/ 3000 w 119385"/>
                  <a:gd name="connsiteY8" fmla="*/ 116612 h 116611"/>
                  <a:gd name="connsiteX9" fmla="*/ 498 w 119385"/>
                  <a:gd name="connsiteY9" fmla="*/ 112265 h 116611"/>
                  <a:gd name="connsiteX10" fmla="*/ 36753 w 119385"/>
                  <a:gd name="connsiteY10" fmla="*/ 58306 h 116611"/>
                  <a:gd name="connsiteX11" fmla="*/ 498 w 119385"/>
                  <a:gd name="connsiteY11" fmla="*/ 4347 h 116611"/>
                  <a:gd name="connsiteX12" fmla="*/ 3000 w 119385"/>
                  <a:gd name="connsiteY12" fmla="*/ 0 h 116611"/>
                  <a:gd name="connsiteX13" fmla="*/ 34853 w 119385"/>
                  <a:gd name="connsiteY13" fmla="*/ 0 h 116611"/>
                  <a:gd name="connsiteX14" fmla="*/ 37778 w 119385"/>
                  <a:gd name="connsiteY14" fmla="*/ 1449 h 116611"/>
                  <a:gd name="connsiteX15" fmla="*/ 59679 w 119385"/>
                  <a:gd name="connsiteY15" fmla="*/ 34806 h 116611"/>
                  <a:gd name="connsiteX16" fmla="*/ 80240 w 119385"/>
                  <a:gd name="connsiteY16" fmla="*/ 1463 h 116611"/>
                  <a:gd name="connsiteX17" fmla="*/ 83165 w 119385"/>
                  <a:gd name="connsiteY17" fmla="*/ 0 h 116611"/>
                  <a:gd name="connsiteX18" fmla="*/ 115333 w 119385"/>
                  <a:gd name="connsiteY18" fmla="*/ 0 h 116611"/>
                  <a:gd name="connsiteX19" fmla="*/ 117834 w 119385"/>
                  <a:gd name="connsiteY19" fmla="*/ 4334 h 116611"/>
                  <a:gd name="connsiteX20" fmla="*/ 82495 w 119385"/>
                  <a:gd name="connsiteY20" fmla="*/ 58306 h 116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19385" h="116611">
                    <a:moveTo>
                      <a:pt x="82523" y="58306"/>
                    </a:moveTo>
                    <a:lnTo>
                      <a:pt x="118887" y="112265"/>
                    </a:lnTo>
                    <a:cubicBezTo>
                      <a:pt x="120199" y="114124"/>
                      <a:pt x="118764" y="116612"/>
                      <a:pt x="116385" y="116612"/>
                    </a:cubicBezTo>
                    <a:lnTo>
                      <a:pt x="85831" y="116612"/>
                    </a:lnTo>
                    <a:cubicBezTo>
                      <a:pt x="83794" y="116612"/>
                      <a:pt x="81880" y="115600"/>
                      <a:pt x="80718" y="113919"/>
                    </a:cubicBezTo>
                    <a:lnTo>
                      <a:pt x="59693" y="81751"/>
                    </a:lnTo>
                    <a:lnTo>
                      <a:pt x="38667" y="113919"/>
                    </a:lnTo>
                    <a:cubicBezTo>
                      <a:pt x="37505" y="115600"/>
                      <a:pt x="35605" y="116612"/>
                      <a:pt x="33554" y="116612"/>
                    </a:cubicBezTo>
                    <a:lnTo>
                      <a:pt x="3000" y="116612"/>
                    </a:lnTo>
                    <a:cubicBezTo>
                      <a:pt x="621" y="116612"/>
                      <a:pt x="-814" y="114138"/>
                      <a:pt x="498" y="112265"/>
                    </a:cubicBezTo>
                    <a:lnTo>
                      <a:pt x="36753" y="58306"/>
                    </a:lnTo>
                    <a:lnTo>
                      <a:pt x="498" y="4347"/>
                    </a:lnTo>
                    <a:cubicBezTo>
                      <a:pt x="-814" y="2488"/>
                      <a:pt x="621" y="0"/>
                      <a:pt x="3000" y="0"/>
                    </a:cubicBezTo>
                    <a:lnTo>
                      <a:pt x="34853" y="0"/>
                    </a:lnTo>
                    <a:cubicBezTo>
                      <a:pt x="36042" y="0"/>
                      <a:pt x="37149" y="547"/>
                      <a:pt x="37778" y="1449"/>
                    </a:cubicBezTo>
                    <a:lnTo>
                      <a:pt x="59679" y="34806"/>
                    </a:lnTo>
                    <a:lnTo>
                      <a:pt x="80240" y="1463"/>
                    </a:lnTo>
                    <a:cubicBezTo>
                      <a:pt x="80855" y="561"/>
                      <a:pt x="81976" y="0"/>
                      <a:pt x="83165" y="0"/>
                    </a:cubicBezTo>
                    <a:lnTo>
                      <a:pt x="115333" y="0"/>
                    </a:lnTo>
                    <a:cubicBezTo>
                      <a:pt x="117711" y="0"/>
                      <a:pt x="119133" y="2474"/>
                      <a:pt x="117834" y="4334"/>
                    </a:cubicBezTo>
                    <a:lnTo>
                      <a:pt x="82495" y="58306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" name="Freeform: Shape 14">
                <a:extLst>
                  <a:ext uri="{FF2B5EF4-FFF2-40B4-BE49-F238E27FC236}">
                    <a16:creationId xmlns:a16="http://schemas.microsoft.com/office/drawing/2014/main" id="{629D1B95-2C19-9A42-3ED4-470A310DDB83}"/>
                  </a:ext>
                </a:extLst>
              </p:cNvPr>
              <p:cNvSpPr/>
              <p:nvPr/>
            </p:nvSpPr>
            <p:spPr>
              <a:xfrm>
                <a:off x="11284928" y="6472473"/>
                <a:ext cx="78825" cy="163762"/>
              </a:xfrm>
              <a:custGeom>
                <a:avLst/>
                <a:gdLst>
                  <a:gd name="connsiteX0" fmla="*/ 75722 w 78825"/>
                  <a:gd name="connsiteY0" fmla="*/ 14 h 163762"/>
                  <a:gd name="connsiteX1" fmla="*/ 50377 w 78825"/>
                  <a:gd name="connsiteY1" fmla="*/ 14 h 163762"/>
                  <a:gd name="connsiteX2" fmla="*/ 43801 w 78825"/>
                  <a:gd name="connsiteY2" fmla="*/ 2734 h 163762"/>
                  <a:gd name="connsiteX3" fmla="*/ 19987 w 78825"/>
                  <a:gd name="connsiteY3" fmla="*/ 26549 h 163762"/>
                  <a:gd name="connsiteX4" fmla="*/ 17266 w 78825"/>
                  <a:gd name="connsiteY4" fmla="*/ 33124 h 163762"/>
                  <a:gd name="connsiteX5" fmla="*/ 17266 w 78825"/>
                  <a:gd name="connsiteY5" fmla="*/ 51867 h 163762"/>
                  <a:gd name="connsiteX6" fmla="*/ 3049 w 78825"/>
                  <a:gd name="connsiteY6" fmla="*/ 51867 h 163762"/>
                  <a:gd name="connsiteX7" fmla="*/ 0 w 78825"/>
                  <a:gd name="connsiteY7" fmla="*/ 54916 h 163762"/>
                  <a:gd name="connsiteX8" fmla="*/ 0 w 78825"/>
                  <a:gd name="connsiteY8" fmla="*/ 75955 h 163762"/>
                  <a:gd name="connsiteX9" fmla="*/ 3049 w 78825"/>
                  <a:gd name="connsiteY9" fmla="*/ 79004 h 163762"/>
                  <a:gd name="connsiteX10" fmla="*/ 17266 w 78825"/>
                  <a:gd name="connsiteY10" fmla="*/ 79004 h 163762"/>
                  <a:gd name="connsiteX11" fmla="*/ 17266 w 78825"/>
                  <a:gd name="connsiteY11" fmla="*/ 160659 h 163762"/>
                  <a:gd name="connsiteX12" fmla="*/ 20369 w 78825"/>
                  <a:gd name="connsiteY12" fmla="*/ 163763 h 163762"/>
                  <a:gd name="connsiteX13" fmla="*/ 47109 w 78825"/>
                  <a:gd name="connsiteY13" fmla="*/ 163763 h 163762"/>
                  <a:gd name="connsiteX14" fmla="*/ 50213 w 78825"/>
                  <a:gd name="connsiteY14" fmla="*/ 160659 h 163762"/>
                  <a:gd name="connsiteX15" fmla="*/ 50213 w 78825"/>
                  <a:gd name="connsiteY15" fmla="*/ 78990 h 163762"/>
                  <a:gd name="connsiteX16" fmla="*/ 71443 w 78825"/>
                  <a:gd name="connsiteY16" fmla="*/ 78990 h 163762"/>
                  <a:gd name="connsiteX17" fmla="*/ 74492 w 78825"/>
                  <a:gd name="connsiteY17" fmla="*/ 75941 h 163762"/>
                  <a:gd name="connsiteX18" fmla="*/ 74492 w 78825"/>
                  <a:gd name="connsiteY18" fmla="*/ 54902 h 163762"/>
                  <a:gd name="connsiteX19" fmla="*/ 71443 w 78825"/>
                  <a:gd name="connsiteY19" fmla="*/ 51853 h 163762"/>
                  <a:gd name="connsiteX20" fmla="*/ 50213 w 78825"/>
                  <a:gd name="connsiteY20" fmla="*/ 51853 h 163762"/>
                  <a:gd name="connsiteX21" fmla="*/ 50213 w 78825"/>
                  <a:gd name="connsiteY21" fmla="*/ 38565 h 163762"/>
                  <a:gd name="connsiteX22" fmla="*/ 59509 w 78825"/>
                  <a:gd name="connsiteY22" fmla="*/ 29269 h 163762"/>
                  <a:gd name="connsiteX23" fmla="*/ 75722 w 78825"/>
                  <a:gd name="connsiteY23" fmla="*/ 29269 h 163762"/>
                  <a:gd name="connsiteX24" fmla="*/ 78826 w 78825"/>
                  <a:gd name="connsiteY24" fmla="*/ 26166 h 163762"/>
                  <a:gd name="connsiteX25" fmla="*/ 78826 w 78825"/>
                  <a:gd name="connsiteY25" fmla="*/ 3103 h 163762"/>
                  <a:gd name="connsiteX26" fmla="*/ 75722 w 78825"/>
                  <a:gd name="connsiteY26" fmla="*/ 0 h 163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78825" h="163762">
                    <a:moveTo>
                      <a:pt x="75722" y="14"/>
                    </a:moveTo>
                    <a:lnTo>
                      <a:pt x="50377" y="14"/>
                    </a:lnTo>
                    <a:cubicBezTo>
                      <a:pt x="47916" y="14"/>
                      <a:pt x="45551" y="998"/>
                      <a:pt x="43801" y="2734"/>
                    </a:cubicBezTo>
                    <a:lnTo>
                      <a:pt x="19987" y="26549"/>
                    </a:lnTo>
                    <a:cubicBezTo>
                      <a:pt x="18237" y="28299"/>
                      <a:pt x="17266" y="30664"/>
                      <a:pt x="17266" y="33124"/>
                    </a:cubicBezTo>
                    <a:lnTo>
                      <a:pt x="17266" y="51867"/>
                    </a:lnTo>
                    <a:lnTo>
                      <a:pt x="3049" y="51867"/>
                    </a:lnTo>
                    <a:cubicBezTo>
                      <a:pt x="1367" y="51867"/>
                      <a:pt x="0" y="53234"/>
                      <a:pt x="0" y="54916"/>
                    </a:cubicBezTo>
                    <a:lnTo>
                      <a:pt x="0" y="75955"/>
                    </a:lnTo>
                    <a:cubicBezTo>
                      <a:pt x="0" y="77636"/>
                      <a:pt x="1367" y="79004"/>
                      <a:pt x="3049" y="79004"/>
                    </a:cubicBezTo>
                    <a:lnTo>
                      <a:pt x="17266" y="79004"/>
                    </a:lnTo>
                    <a:lnTo>
                      <a:pt x="17266" y="160659"/>
                    </a:lnTo>
                    <a:cubicBezTo>
                      <a:pt x="17266" y="162368"/>
                      <a:pt x="18661" y="163763"/>
                      <a:pt x="20369" y="163763"/>
                    </a:cubicBezTo>
                    <a:lnTo>
                      <a:pt x="47109" y="163763"/>
                    </a:lnTo>
                    <a:cubicBezTo>
                      <a:pt x="48818" y="163763"/>
                      <a:pt x="50213" y="162368"/>
                      <a:pt x="50213" y="160659"/>
                    </a:cubicBezTo>
                    <a:lnTo>
                      <a:pt x="50213" y="78990"/>
                    </a:lnTo>
                    <a:lnTo>
                      <a:pt x="71443" y="78990"/>
                    </a:lnTo>
                    <a:cubicBezTo>
                      <a:pt x="73125" y="78990"/>
                      <a:pt x="74492" y="77623"/>
                      <a:pt x="74492" y="75941"/>
                    </a:cubicBezTo>
                    <a:lnTo>
                      <a:pt x="74492" y="54902"/>
                    </a:lnTo>
                    <a:cubicBezTo>
                      <a:pt x="74492" y="53220"/>
                      <a:pt x="73125" y="51853"/>
                      <a:pt x="71443" y="51853"/>
                    </a:cubicBezTo>
                    <a:lnTo>
                      <a:pt x="50213" y="51853"/>
                    </a:lnTo>
                    <a:lnTo>
                      <a:pt x="50213" y="38565"/>
                    </a:lnTo>
                    <a:cubicBezTo>
                      <a:pt x="50213" y="33425"/>
                      <a:pt x="54382" y="29269"/>
                      <a:pt x="59509" y="29269"/>
                    </a:cubicBezTo>
                    <a:lnTo>
                      <a:pt x="75722" y="29269"/>
                    </a:lnTo>
                    <a:cubicBezTo>
                      <a:pt x="77431" y="29269"/>
                      <a:pt x="78826" y="27875"/>
                      <a:pt x="78826" y="26166"/>
                    </a:cubicBezTo>
                    <a:lnTo>
                      <a:pt x="78826" y="3103"/>
                    </a:lnTo>
                    <a:cubicBezTo>
                      <a:pt x="78826" y="1394"/>
                      <a:pt x="77431" y="0"/>
                      <a:pt x="75722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" name="Freeform: Shape 15">
                <a:extLst>
                  <a:ext uri="{FF2B5EF4-FFF2-40B4-BE49-F238E27FC236}">
                    <a16:creationId xmlns:a16="http://schemas.microsoft.com/office/drawing/2014/main" id="{878985CB-1814-BCFA-0314-24B00AB9802C}"/>
                  </a:ext>
                </a:extLst>
              </p:cNvPr>
              <p:cNvSpPr/>
              <p:nvPr/>
            </p:nvSpPr>
            <p:spPr>
              <a:xfrm>
                <a:off x="11896791" y="6612367"/>
                <a:ext cx="25659" cy="25660"/>
              </a:xfrm>
              <a:custGeom>
                <a:avLst/>
                <a:gdLst>
                  <a:gd name="connsiteX0" fmla="*/ 25660 w 25659"/>
                  <a:gd name="connsiteY0" fmla="*/ 12810 h 25660"/>
                  <a:gd name="connsiteX1" fmla="*/ 12782 w 25659"/>
                  <a:gd name="connsiteY1" fmla="*/ 25660 h 25660"/>
                  <a:gd name="connsiteX2" fmla="*/ 0 w 25659"/>
                  <a:gd name="connsiteY2" fmla="*/ 12810 h 25660"/>
                  <a:gd name="connsiteX3" fmla="*/ 12823 w 25659"/>
                  <a:gd name="connsiteY3" fmla="*/ 0 h 25660"/>
                  <a:gd name="connsiteX4" fmla="*/ 25646 w 25659"/>
                  <a:gd name="connsiteY4" fmla="*/ 12810 h 25660"/>
                  <a:gd name="connsiteX5" fmla="*/ 23691 w 25659"/>
                  <a:gd name="connsiteY5" fmla="*/ 12864 h 25660"/>
                  <a:gd name="connsiteX6" fmla="*/ 12837 w 25659"/>
                  <a:gd name="connsiteY6" fmla="*/ 1832 h 25660"/>
                  <a:gd name="connsiteX7" fmla="*/ 1982 w 25659"/>
                  <a:gd name="connsiteY7" fmla="*/ 12851 h 25660"/>
                  <a:gd name="connsiteX8" fmla="*/ 12782 w 25659"/>
                  <a:gd name="connsiteY8" fmla="*/ 23856 h 25660"/>
                  <a:gd name="connsiteX9" fmla="*/ 23691 w 25659"/>
                  <a:gd name="connsiteY9" fmla="*/ 12864 h 25660"/>
                  <a:gd name="connsiteX10" fmla="*/ 15585 w 25659"/>
                  <a:gd name="connsiteY10" fmla="*/ 14888 h 25660"/>
                  <a:gd name="connsiteX11" fmla="*/ 18811 w 25659"/>
                  <a:gd name="connsiteY11" fmla="*/ 19905 h 25660"/>
                  <a:gd name="connsiteX12" fmla="*/ 16678 w 25659"/>
                  <a:gd name="connsiteY12" fmla="*/ 19905 h 25660"/>
                  <a:gd name="connsiteX13" fmla="*/ 13097 w 25659"/>
                  <a:gd name="connsiteY13" fmla="*/ 14218 h 25660"/>
                  <a:gd name="connsiteX14" fmla="*/ 9829 w 25659"/>
                  <a:gd name="connsiteY14" fmla="*/ 14218 h 25660"/>
                  <a:gd name="connsiteX15" fmla="*/ 9829 w 25659"/>
                  <a:gd name="connsiteY15" fmla="*/ 19905 h 25660"/>
                  <a:gd name="connsiteX16" fmla="*/ 8038 w 25659"/>
                  <a:gd name="connsiteY16" fmla="*/ 19905 h 25660"/>
                  <a:gd name="connsiteX17" fmla="*/ 8038 w 25659"/>
                  <a:gd name="connsiteY17" fmla="*/ 5523 h 25660"/>
                  <a:gd name="connsiteX18" fmla="*/ 13616 w 25659"/>
                  <a:gd name="connsiteY18" fmla="*/ 5523 h 25660"/>
                  <a:gd name="connsiteX19" fmla="*/ 18155 w 25659"/>
                  <a:gd name="connsiteY19" fmla="*/ 9761 h 25660"/>
                  <a:gd name="connsiteX20" fmla="*/ 14887 w 25659"/>
                  <a:gd name="connsiteY20" fmla="*/ 13917 h 25660"/>
                  <a:gd name="connsiteX21" fmla="*/ 15585 w 25659"/>
                  <a:gd name="connsiteY21" fmla="*/ 14901 h 25660"/>
                  <a:gd name="connsiteX22" fmla="*/ 13015 w 25659"/>
                  <a:gd name="connsiteY22" fmla="*/ 12522 h 25660"/>
                  <a:gd name="connsiteX23" fmla="*/ 16282 w 25659"/>
                  <a:gd name="connsiteY23" fmla="*/ 9870 h 25660"/>
                  <a:gd name="connsiteX24" fmla="*/ 13657 w 25659"/>
                  <a:gd name="connsiteY24" fmla="*/ 7191 h 25660"/>
                  <a:gd name="connsiteX25" fmla="*/ 9816 w 25659"/>
                  <a:gd name="connsiteY25" fmla="*/ 7191 h 25660"/>
                  <a:gd name="connsiteX26" fmla="*/ 9816 w 25659"/>
                  <a:gd name="connsiteY26" fmla="*/ 12509 h 25660"/>
                  <a:gd name="connsiteX27" fmla="*/ 13015 w 25659"/>
                  <a:gd name="connsiteY27" fmla="*/ 12509 h 25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25659" h="25660">
                    <a:moveTo>
                      <a:pt x="25660" y="12810"/>
                    </a:moveTo>
                    <a:cubicBezTo>
                      <a:pt x="25660" y="19946"/>
                      <a:pt x="19946" y="25660"/>
                      <a:pt x="12782" y="25660"/>
                    </a:cubicBezTo>
                    <a:cubicBezTo>
                      <a:pt x="5619" y="25660"/>
                      <a:pt x="0" y="19891"/>
                      <a:pt x="0" y="12810"/>
                    </a:cubicBezTo>
                    <a:cubicBezTo>
                      <a:pt x="0" y="5728"/>
                      <a:pt x="5714" y="0"/>
                      <a:pt x="12823" y="0"/>
                    </a:cubicBezTo>
                    <a:cubicBezTo>
                      <a:pt x="19932" y="0"/>
                      <a:pt x="25646" y="5687"/>
                      <a:pt x="25646" y="12810"/>
                    </a:cubicBezTo>
                    <a:close/>
                    <a:moveTo>
                      <a:pt x="23691" y="12864"/>
                    </a:moveTo>
                    <a:cubicBezTo>
                      <a:pt x="23691" y="6712"/>
                      <a:pt x="18838" y="1832"/>
                      <a:pt x="12837" y="1832"/>
                    </a:cubicBezTo>
                    <a:cubicBezTo>
                      <a:pt x="6835" y="1832"/>
                      <a:pt x="1982" y="6658"/>
                      <a:pt x="1982" y="12851"/>
                    </a:cubicBezTo>
                    <a:cubicBezTo>
                      <a:pt x="1982" y="19043"/>
                      <a:pt x="6890" y="23856"/>
                      <a:pt x="12782" y="23856"/>
                    </a:cubicBezTo>
                    <a:cubicBezTo>
                      <a:pt x="18674" y="23856"/>
                      <a:pt x="23691" y="19002"/>
                      <a:pt x="23691" y="12864"/>
                    </a:cubicBezTo>
                    <a:close/>
                    <a:moveTo>
                      <a:pt x="15585" y="14888"/>
                    </a:moveTo>
                    <a:lnTo>
                      <a:pt x="18811" y="19905"/>
                    </a:lnTo>
                    <a:lnTo>
                      <a:pt x="16678" y="19905"/>
                    </a:lnTo>
                    <a:lnTo>
                      <a:pt x="13097" y="14218"/>
                    </a:lnTo>
                    <a:lnTo>
                      <a:pt x="9829" y="14218"/>
                    </a:lnTo>
                    <a:lnTo>
                      <a:pt x="9829" y="19905"/>
                    </a:lnTo>
                    <a:lnTo>
                      <a:pt x="8038" y="19905"/>
                    </a:lnTo>
                    <a:lnTo>
                      <a:pt x="8038" y="5523"/>
                    </a:lnTo>
                    <a:lnTo>
                      <a:pt x="13616" y="5523"/>
                    </a:lnTo>
                    <a:cubicBezTo>
                      <a:pt x="16364" y="5523"/>
                      <a:pt x="18155" y="6999"/>
                      <a:pt x="18155" y="9761"/>
                    </a:cubicBezTo>
                    <a:cubicBezTo>
                      <a:pt x="18155" y="11989"/>
                      <a:pt x="16801" y="13370"/>
                      <a:pt x="14887" y="13917"/>
                    </a:cubicBezTo>
                    <a:cubicBezTo>
                      <a:pt x="15147" y="14204"/>
                      <a:pt x="15407" y="14559"/>
                      <a:pt x="15585" y="14901"/>
                    </a:cubicBezTo>
                    <a:close/>
                    <a:moveTo>
                      <a:pt x="13015" y="12522"/>
                    </a:moveTo>
                    <a:cubicBezTo>
                      <a:pt x="15038" y="12522"/>
                      <a:pt x="16282" y="11565"/>
                      <a:pt x="16282" y="9870"/>
                    </a:cubicBezTo>
                    <a:cubicBezTo>
                      <a:pt x="16282" y="8175"/>
                      <a:pt x="15421" y="7191"/>
                      <a:pt x="13657" y="7191"/>
                    </a:cubicBezTo>
                    <a:lnTo>
                      <a:pt x="9816" y="7191"/>
                    </a:lnTo>
                    <a:lnTo>
                      <a:pt x="9816" y="12509"/>
                    </a:lnTo>
                    <a:lnTo>
                      <a:pt x="13015" y="12509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" name="Freeform: Shape 16">
                <a:extLst>
                  <a:ext uri="{FF2B5EF4-FFF2-40B4-BE49-F238E27FC236}">
                    <a16:creationId xmlns:a16="http://schemas.microsoft.com/office/drawing/2014/main" id="{E64A4E60-1B70-1CE3-050D-5A68EFCDB6BF}"/>
                  </a:ext>
                </a:extLst>
              </p:cNvPr>
              <p:cNvSpPr/>
              <p:nvPr/>
            </p:nvSpPr>
            <p:spPr>
              <a:xfrm>
                <a:off x="11620956" y="6472487"/>
                <a:ext cx="32932" cy="163721"/>
              </a:xfrm>
              <a:custGeom>
                <a:avLst/>
                <a:gdLst>
                  <a:gd name="connsiteX0" fmla="*/ 29830 w 32932"/>
                  <a:gd name="connsiteY0" fmla="*/ 0 h 163721"/>
                  <a:gd name="connsiteX1" fmla="*/ 32933 w 32932"/>
                  <a:gd name="connsiteY1" fmla="*/ 3103 h 163721"/>
                  <a:gd name="connsiteX2" fmla="*/ 32933 w 32932"/>
                  <a:gd name="connsiteY2" fmla="*/ 160618 h 163721"/>
                  <a:gd name="connsiteX3" fmla="*/ 29830 w 32932"/>
                  <a:gd name="connsiteY3" fmla="*/ 163722 h 163721"/>
                  <a:gd name="connsiteX4" fmla="*/ 3103 w 32932"/>
                  <a:gd name="connsiteY4" fmla="*/ 163722 h 163721"/>
                  <a:gd name="connsiteX5" fmla="*/ 0 w 32932"/>
                  <a:gd name="connsiteY5" fmla="*/ 160618 h 163721"/>
                  <a:gd name="connsiteX6" fmla="*/ 0 w 32932"/>
                  <a:gd name="connsiteY6" fmla="*/ 3103 h 163721"/>
                  <a:gd name="connsiteX7" fmla="*/ 3103 w 32932"/>
                  <a:gd name="connsiteY7" fmla="*/ 0 h 163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2932" h="163721">
                    <a:moveTo>
                      <a:pt x="29830" y="0"/>
                    </a:moveTo>
                    <a:cubicBezTo>
                      <a:pt x="31544" y="0"/>
                      <a:pt x="32933" y="1389"/>
                      <a:pt x="32933" y="3103"/>
                    </a:cubicBezTo>
                    <a:lnTo>
                      <a:pt x="32933" y="160618"/>
                    </a:lnTo>
                    <a:cubicBezTo>
                      <a:pt x="32933" y="162332"/>
                      <a:pt x="31543" y="163722"/>
                      <a:pt x="29830" y="163722"/>
                    </a:cubicBezTo>
                    <a:lnTo>
                      <a:pt x="3103" y="163722"/>
                    </a:lnTo>
                    <a:cubicBezTo>
                      <a:pt x="1389" y="163722"/>
                      <a:pt x="0" y="162332"/>
                      <a:pt x="0" y="160618"/>
                    </a:cubicBezTo>
                    <a:lnTo>
                      <a:pt x="0" y="3103"/>
                    </a:lnTo>
                    <a:cubicBezTo>
                      <a:pt x="0" y="1389"/>
                      <a:pt x="1389" y="0"/>
                      <a:pt x="3103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" name="Freeform: Shape 17">
                <a:extLst>
                  <a:ext uri="{FF2B5EF4-FFF2-40B4-BE49-F238E27FC236}">
                    <a16:creationId xmlns:a16="http://schemas.microsoft.com/office/drawing/2014/main" id="{47DB506A-795E-5317-7EB6-21AC630CF914}"/>
                  </a:ext>
                </a:extLst>
              </p:cNvPr>
              <p:cNvSpPr/>
              <p:nvPr/>
            </p:nvSpPr>
            <p:spPr>
              <a:xfrm>
                <a:off x="11488486" y="6472473"/>
                <a:ext cx="123638" cy="166086"/>
              </a:xfrm>
              <a:custGeom>
                <a:avLst/>
                <a:gdLst>
                  <a:gd name="connsiteX0" fmla="*/ 68737 w 123638"/>
                  <a:gd name="connsiteY0" fmla="*/ 44663 h 166086"/>
                  <a:gd name="connsiteX1" fmla="*/ 32947 w 123638"/>
                  <a:gd name="connsiteY1" fmla="*/ 62052 h 166086"/>
                  <a:gd name="connsiteX2" fmla="*/ 32947 w 123638"/>
                  <a:gd name="connsiteY2" fmla="*/ 3103 h 166086"/>
                  <a:gd name="connsiteX3" fmla="*/ 29843 w 123638"/>
                  <a:gd name="connsiteY3" fmla="*/ 0 h 166086"/>
                  <a:gd name="connsiteX4" fmla="*/ 3103 w 123638"/>
                  <a:gd name="connsiteY4" fmla="*/ 0 h 166086"/>
                  <a:gd name="connsiteX5" fmla="*/ 0 w 123638"/>
                  <a:gd name="connsiteY5" fmla="*/ 3103 h 166086"/>
                  <a:gd name="connsiteX6" fmla="*/ 0 w 123638"/>
                  <a:gd name="connsiteY6" fmla="*/ 160632 h 166086"/>
                  <a:gd name="connsiteX7" fmla="*/ 3103 w 123638"/>
                  <a:gd name="connsiteY7" fmla="*/ 163735 h 166086"/>
                  <a:gd name="connsiteX8" fmla="*/ 29843 w 123638"/>
                  <a:gd name="connsiteY8" fmla="*/ 163735 h 166086"/>
                  <a:gd name="connsiteX9" fmla="*/ 32947 w 123638"/>
                  <a:gd name="connsiteY9" fmla="*/ 160632 h 166086"/>
                  <a:gd name="connsiteX10" fmla="*/ 32947 w 123638"/>
                  <a:gd name="connsiteY10" fmla="*/ 149025 h 166086"/>
                  <a:gd name="connsiteX11" fmla="*/ 68983 w 123638"/>
                  <a:gd name="connsiteY11" fmla="*/ 166087 h 166086"/>
                  <a:gd name="connsiteX12" fmla="*/ 123638 w 123638"/>
                  <a:gd name="connsiteY12" fmla="*/ 105539 h 166086"/>
                  <a:gd name="connsiteX13" fmla="*/ 68750 w 123638"/>
                  <a:gd name="connsiteY13" fmla="*/ 44663 h 166086"/>
                  <a:gd name="connsiteX14" fmla="*/ 62188 w 123638"/>
                  <a:gd name="connsiteY14" fmla="*/ 135163 h 166086"/>
                  <a:gd name="connsiteX15" fmla="*/ 32947 w 123638"/>
                  <a:gd name="connsiteY15" fmla="*/ 105552 h 166086"/>
                  <a:gd name="connsiteX16" fmla="*/ 62188 w 123638"/>
                  <a:gd name="connsiteY16" fmla="*/ 76174 h 166086"/>
                  <a:gd name="connsiteX17" fmla="*/ 90965 w 123638"/>
                  <a:gd name="connsiteY17" fmla="*/ 105552 h 166086"/>
                  <a:gd name="connsiteX18" fmla="*/ 62188 w 123638"/>
                  <a:gd name="connsiteY18" fmla="*/ 135163 h 166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23638" h="166086">
                    <a:moveTo>
                      <a:pt x="68737" y="44663"/>
                    </a:moveTo>
                    <a:cubicBezTo>
                      <a:pt x="53535" y="44663"/>
                      <a:pt x="40889" y="51252"/>
                      <a:pt x="32947" y="62052"/>
                    </a:cubicBezTo>
                    <a:lnTo>
                      <a:pt x="32947" y="3103"/>
                    </a:lnTo>
                    <a:cubicBezTo>
                      <a:pt x="32947" y="1394"/>
                      <a:pt x="31552" y="0"/>
                      <a:pt x="29843" y="0"/>
                    </a:cubicBezTo>
                    <a:lnTo>
                      <a:pt x="3103" y="0"/>
                    </a:lnTo>
                    <a:cubicBezTo>
                      <a:pt x="1394" y="0"/>
                      <a:pt x="0" y="1394"/>
                      <a:pt x="0" y="3103"/>
                    </a:cubicBezTo>
                    <a:lnTo>
                      <a:pt x="0" y="160632"/>
                    </a:lnTo>
                    <a:cubicBezTo>
                      <a:pt x="0" y="162341"/>
                      <a:pt x="1394" y="163735"/>
                      <a:pt x="3103" y="163735"/>
                    </a:cubicBezTo>
                    <a:lnTo>
                      <a:pt x="29843" y="163735"/>
                    </a:lnTo>
                    <a:cubicBezTo>
                      <a:pt x="31552" y="163735"/>
                      <a:pt x="32947" y="162341"/>
                      <a:pt x="32947" y="160632"/>
                    </a:cubicBezTo>
                    <a:lnTo>
                      <a:pt x="32947" y="149025"/>
                    </a:lnTo>
                    <a:cubicBezTo>
                      <a:pt x="40903" y="159839"/>
                      <a:pt x="53535" y="166087"/>
                      <a:pt x="68983" y="166087"/>
                    </a:cubicBezTo>
                    <a:cubicBezTo>
                      <a:pt x="101505" y="166087"/>
                      <a:pt x="123638" y="139852"/>
                      <a:pt x="123638" y="105539"/>
                    </a:cubicBezTo>
                    <a:cubicBezTo>
                      <a:pt x="123638" y="71225"/>
                      <a:pt x="101505" y="44663"/>
                      <a:pt x="68750" y="44663"/>
                    </a:cubicBezTo>
                    <a:close/>
                    <a:moveTo>
                      <a:pt x="62188" y="135163"/>
                    </a:moveTo>
                    <a:cubicBezTo>
                      <a:pt x="45346" y="135163"/>
                      <a:pt x="32947" y="121533"/>
                      <a:pt x="32947" y="105552"/>
                    </a:cubicBezTo>
                    <a:cubicBezTo>
                      <a:pt x="32947" y="89571"/>
                      <a:pt x="45346" y="76174"/>
                      <a:pt x="62188" y="76174"/>
                    </a:cubicBezTo>
                    <a:cubicBezTo>
                      <a:pt x="79031" y="76174"/>
                      <a:pt x="90965" y="89571"/>
                      <a:pt x="90965" y="105552"/>
                    </a:cubicBezTo>
                    <a:cubicBezTo>
                      <a:pt x="90965" y="121533"/>
                      <a:pt x="78798" y="135163"/>
                      <a:pt x="62188" y="13516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" name="Freeform: Shape 18">
                <a:extLst>
                  <a:ext uri="{FF2B5EF4-FFF2-40B4-BE49-F238E27FC236}">
                    <a16:creationId xmlns:a16="http://schemas.microsoft.com/office/drawing/2014/main" id="{AF0FB4F8-09CE-7D33-E52E-8EE5783B2793}"/>
                  </a:ext>
                </a:extLst>
              </p:cNvPr>
              <p:cNvSpPr/>
              <p:nvPr/>
            </p:nvSpPr>
            <p:spPr>
              <a:xfrm>
                <a:off x="11359421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" name="Freeform: Shape 19">
                <a:extLst>
                  <a:ext uri="{FF2B5EF4-FFF2-40B4-BE49-F238E27FC236}">
                    <a16:creationId xmlns:a16="http://schemas.microsoft.com/office/drawing/2014/main" id="{291877BF-8FF0-8252-4989-F37BDB177D08}"/>
                  </a:ext>
                </a:extLst>
              </p:cNvPr>
              <p:cNvSpPr/>
              <p:nvPr/>
            </p:nvSpPr>
            <p:spPr>
              <a:xfrm>
                <a:off x="11662542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" name="Freeform: Shape 20">
                <a:extLst>
                  <a:ext uri="{FF2B5EF4-FFF2-40B4-BE49-F238E27FC236}">
                    <a16:creationId xmlns:a16="http://schemas.microsoft.com/office/drawing/2014/main" id="{3BDB1AE6-F745-AFE1-6D4A-8C592846121A}"/>
                  </a:ext>
                </a:extLst>
              </p:cNvPr>
              <p:cNvSpPr/>
              <p:nvPr/>
            </p:nvSpPr>
            <p:spPr>
              <a:xfrm>
                <a:off x="11122821" y="6519528"/>
                <a:ext cx="32932" cy="116680"/>
              </a:xfrm>
              <a:custGeom>
                <a:avLst/>
                <a:gdLst>
                  <a:gd name="connsiteX0" fmla="*/ 29843 w 32932"/>
                  <a:gd name="connsiteY0" fmla="*/ 116680 h 116680"/>
                  <a:gd name="connsiteX1" fmla="*/ 3103 w 32932"/>
                  <a:gd name="connsiteY1" fmla="*/ 116680 h 116680"/>
                  <a:gd name="connsiteX2" fmla="*/ 0 w 32932"/>
                  <a:gd name="connsiteY2" fmla="*/ 113577 h 116680"/>
                  <a:gd name="connsiteX3" fmla="*/ 0 w 32932"/>
                  <a:gd name="connsiteY3" fmla="*/ 30554 h 116680"/>
                  <a:gd name="connsiteX4" fmla="*/ 1859 w 32932"/>
                  <a:gd name="connsiteY4" fmla="*/ 26125 h 116680"/>
                  <a:gd name="connsiteX5" fmla="*/ 27670 w 32932"/>
                  <a:gd name="connsiteY5" fmla="*/ 888 h 116680"/>
                  <a:gd name="connsiteX6" fmla="*/ 32933 w 32932"/>
                  <a:gd name="connsiteY6" fmla="*/ 3103 h 116680"/>
                  <a:gd name="connsiteX7" fmla="*/ 32933 w 32932"/>
                  <a:gd name="connsiteY7" fmla="*/ 113577 h 116680"/>
                  <a:gd name="connsiteX8" fmla="*/ 29830 w 32932"/>
                  <a:gd name="connsiteY8" fmla="*/ 116680 h 116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932" h="116680">
                    <a:moveTo>
                      <a:pt x="29843" y="116680"/>
                    </a:moveTo>
                    <a:lnTo>
                      <a:pt x="3103" y="116680"/>
                    </a:lnTo>
                    <a:cubicBezTo>
                      <a:pt x="1394" y="116680"/>
                      <a:pt x="0" y="115286"/>
                      <a:pt x="0" y="113577"/>
                    </a:cubicBezTo>
                    <a:lnTo>
                      <a:pt x="0" y="30554"/>
                    </a:lnTo>
                    <a:cubicBezTo>
                      <a:pt x="0" y="28886"/>
                      <a:pt x="670" y="27287"/>
                      <a:pt x="1859" y="26125"/>
                    </a:cubicBezTo>
                    <a:lnTo>
                      <a:pt x="27670" y="888"/>
                    </a:lnTo>
                    <a:cubicBezTo>
                      <a:pt x="29638" y="-1026"/>
                      <a:pt x="32933" y="355"/>
                      <a:pt x="32933" y="3103"/>
                    </a:cubicBezTo>
                    <a:lnTo>
                      <a:pt x="32933" y="113577"/>
                    </a:lnTo>
                    <a:cubicBezTo>
                      <a:pt x="32933" y="115286"/>
                      <a:pt x="31538" y="116680"/>
                      <a:pt x="29830" y="11668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" name="Freeform: Shape 21">
                <a:extLst>
                  <a:ext uri="{FF2B5EF4-FFF2-40B4-BE49-F238E27FC236}">
                    <a16:creationId xmlns:a16="http://schemas.microsoft.com/office/drawing/2014/main" id="{0DC3A4A5-3595-C301-2374-5781804A8F16}"/>
                  </a:ext>
                </a:extLst>
              </p:cNvPr>
              <p:cNvSpPr/>
              <p:nvPr/>
            </p:nvSpPr>
            <p:spPr>
              <a:xfrm>
                <a:off x="11173074" y="6517105"/>
                <a:ext cx="107493" cy="119116"/>
              </a:xfrm>
              <a:custGeom>
                <a:avLst/>
                <a:gdLst>
                  <a:gd name="connsiteX0" fmla="*/ 107480 w 107493"/>
                  <a:gd name="connsiteY0" fmla="*/ 41877 h 119116"/>
                  <a:gd name="connsiteX1" fmla="*/ 65237 w 107493"/>
                  <a:gd name="connsiteY1" fmla="*/ 3 h 119116"/>
                  <a:gd name="connsiteX2" fmla="*/ 32947 w 107493"/>
                  <a:gd name="connsiteY2" fmla="*/ 17474 h 119116"/>
                  <a:gd name="connsiteX3" fmla="*/ 32947 w 107493"/>
                  <a:gd name="connsiteY3" fmla="*/ 5581 h 119116"/>
                  <a:gd name="connsiteX4" fmla="*/ 29843 w 107493"/>
                  <a:gd name="connsiteY4" fmla="*/ 2478 h 119116"/>
                  <a:gd name="connsiteX5" fmla="*/ 3103 w 107493"/>
                  <a:gd name="connsiteY5" fmla="*/ 2478 h 119116"/>
                  <a:gd name="connsiteX6" fmla="*/ 0 w 107493"/>
                  <a:gd name="connsiteY6" fmla="*/ 5581 h 119116"/>
                  <a:gd name="connsiteX7" fmla="*/ 0 w 107493"/>
                  <a:gd name="connsiteY7" fmla="*/ 116000 h 119116"/>
                  <a:gd name="connsiteX8" fmla="*/ 3103 w 107493"/>
                  <a:gd name="connsiteY8" fmla="*/ 119103 h 119116"/>
                  <a:gd name="connsiteX9" fmla="*/ 29843 w 107493"/>
                  <a:gd name="connsiteY9" fmla="*/ 119103 h 119116"/>
                  <a:gd name="connsiteX10" fmla="*/ 32947 w 107493"/>
                  <a:gd name="connsiteY10" fmla="*/ 116000 h 119116"/>
                  <a:gd name="connsiteX11" fmla="*/ 32947 w 107493"/>
                  <a:gd name="connsiteY11" fmla="*/ 51788 h 119116"/>
                  <a:gd name="connsiteX12" fmla="*/ 53740 w 107493"/>
                  <a:gd name="connsiteY12" fmla="*/ 31747 h 119116"/>
                  <a:gd name="connsiteX13" fmla="*/ 74547 w 107493"/>
                  <a:gd name="connsiteY13" fmla="*/ 53210 h 119116"/>
                  <a:gd name="connsiteX14" fmla="*/ 74547 w 107493"/>
                  <a:gd name="connsiteY14" fmla="*/ 116014 h 119116"/>
                  <a:gd name="connsiteX15" fmla="*/ 77650 w 107493"/>
                  <a:gd name="connsiteY15" fmla="*/ 119117 h 119116"/>
                  <a:gd name="connsiteX16" fmla="*/ 104390 w 107493"/>
                  <a:gd name="connsiteY16" fmla="*/ 119117 h 119116"/>
                  <a:gd name="connsiteX17" fmla="*/ 107493 w 107493"/>
                  <a:gd name="connsiteY17" fmla="*/ 116014 h 119116"/>
                  <a:gd name="connsiteX18" fmla="*/ 107493 w 107493"/>
                  <a:gd name="connsiteY18" fmla="*/ 41890 h 119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7493" h="119116">
                    <a:moveTo>
                      <a:pt x="107480" y="41877"/>
                    </a:moveTo>
                    <a:cubicBezTo>
                      <a:pt x="107480" y="19252"/>
                      <a:pt x="88792" y="277"/>
                      <a:pt x="65237" y="3"/>
                    </a:cubicBezTo>
                    <a:cubicBezTo>
                      <a:pt x="49912" y="-175"/>
                      <a:pt x="39563" y="7331"/>
                      <a:pt x="32947" y="17474"/>
                    </a:cubicBezTo>
                    <a:lnTo>
                      <a:pt x="32947" y="5581"/>
                    </a:lnTo>
                    <a:cubicBezTo>
                      <a:pt x="32947" y="3872"/>
                      <a:pt x="31552" y="2478"/>
                      <a:pt x="29843" y="2478"/>
                    </a:cubicBezTo>
                    <a:lnTo>
                      <a:pt x="3103" y="2478"/>
                    </a:lnTo>
                    <a:cubicBezTo>
                      <a:pt x="1394" y="2478"/>
                      <a:pt x="0" y="3872"/>
                      <a:pt x="0" y="5581"/>
                    </a:cubicBezTo>
                    <a:lnTo>
                      <a:pt x="0" y="116000"/>
                    </a:lnTo>
                    <a:cubicBezTo>
                      <a:pt x="0" y="117709"/>
                      <a:pt x="1394" y="119103"/>
                      <a:pt x="3103" y="119103"/>
                    </a:cubicBezTo>
                    <a:lnTo>
                      <a:pt x="29843" y="119103"/>
                    </a:lnTo>
                    <a:cubicBezTo>
                      <a:pt x="31552" y="119103"/>
                      <a:pt x="32947" y="117709"/>
                      <a:pt x="32947" y="116000"/>
                    </a:cubicBezTo>
                    <a:lnTo>
                      <a:pt x="32947" y="51788"/>
                    </a:lnTo>
                    <a:cubicBezTo>
                      <a:pt x="33685" y="39430"/>
                      <a:pt x="41518" y="31747"/>
                      <a:pt x="53740" y="31747"/>
                    </a:cubicBezTo>
                    <a:cubicBezTo>
                      <a:pt x="65961" y="31747"/>
                      <a:pt x="74547" y="40373"/>
                      <a:pt x="74547" y="53210"/>
                    </a:cubicBezTo>
                    <a:lnTo>
                      <a:pt x="74547" y="116014"/>
                    </a:lnTo>
                    <a:cubicBezTo>
                      <a:pt x="74547" y="117722"/>
                      <a:pt x="75941" y="119117"/>
                      <a:pt x="77650" y="119117"/>
                    </a:cubicBezTo>
                    <a:lnTo>
                      <a:pt x="104390" y="119117"/>
                    </a:lnTo>
                    <a:cubicBezTo>
                      <a:pt x="106099" y="119117"/>
                      <a:pt x="107493" y="117722"/>
                      <a:pt x="107493" y="116014"/>
                    </a:cubicBezTo>
                    <a:lnTo>
                      <a:pt x="107493" y="41890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9" name="Title 1">
            <a:extLst>
              <a:ext uri="{FF2B5EF4-FFF2-40B4-BE49-F238E27FC236}">
                <a16:creationId xmlns:a16="http://schemas.microsoft.com/office/drawing/2014/main" id="{78427D0C-CE13-1C0F-BBAE-1E23242190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978" y="297451"/>
            <a:ext cx="11118522" cy="630213"/>
          </a:xfrm>
          <a:prstGeom prst="rect">
            <a:avLst/>
          </a:prstGeom>
        </p:spPr>
        <p:txBody>
          <a:bodyPr anchor="b" anchorCtr="0"/>
          <a:lstStyle>
            <a:lvl1pPr>
              <a:defRPr sz="3400" b="1" i="0" cap="all" baseline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r>
              <a:rPr lang="en-US"/>
              <a:t>four-content layou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8CF8578C-BF09-C826-692C-5671BFD59A52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501983" y="898900"/>
            <a:ext cx="11118517" cy="397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kumimoji="0" lang="en-US" sz="2200" b="0" i="0" u="none" strike="noStrike" cap="all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Lato" panose="020F0502020204030203" pitchFamily="34" charset="77"/>
                <a:ea typeface="Roboto Slab" pitchFamily="2" charset="0"/>
                <a:cs typeface="Arial" panose="020B0604020202020204" pitchFamily="34" charset="0"/>
              </a:defRPr>
            </a:lvl1pPr>
          </a:lstStyle>
          <a:p>
            <a:pPr marL="228600" marR="0" lvl="0" indent="-22860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ubtitle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8A5C5A44-842F-9985-6658-BD057F440E5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93021" y="1798917"/>
            <a:ext cx="2456641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kumimoji="0" lang="en-US" sz="1800" b="1" i="0" u="none" strike="noStrike" cap="none" spc="0" normalizeH="0" baseline="0" dirty="0" smtClean="0">
                <a:ln>
                  <a:noFill/>
                </a:ln>
                <a:solidFill>
                  <a:srgbClr val="00BD4D"/>
                </a:solidFill>
                <a:effectLst/>
                <a:uLnTx/>
                <a:uFillTx/>
                <a:latin typeface="Lato" panose="020F0502020204030203" pitchFamily="34" charset="0"/>
                <a:ea typeface="Roboto Slab" pitchFamily="2" charset="0"/>
                <a:cs typeface="Arial" panose="020B0604020202020204" pitchFamily="34" charset="0"/>
              </a:defRPr>
            </a:lvl1pPr>
          </a:lstStyle>
          <a:p>
            <a:pPr marR="0" lvl="0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5" name="Text Placeholder 29">
            <a:extLst>
              <a:ext uri="{FF2B5EF4-FFF2-40B4-BE49-F238E27FC236}">
                <a16:creationId xmlns:a16="http://schemas.microsoft.com/office/drawing/2014/main" id="{91E5C4EF-6018-4C81-BE19-870C28B1A707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446288" y="1798917"/>
            <a:ext cx="2456641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kumimoji="0" lang="en-US" sz="1800" b="1" i="0" u="none" strike="noStrike" cap="none" spc="0" normalizeH="0" baseline="0" dirty="0" smtClean="0">
                <a:ln>
                  <a:noFill/>
                </a:ln>
                <a:solidFill>
                  <a:srgbClr val="00BD4D"/>
                </a:solidFill>
                <a:effectLst/>
                <a:uLnTx/>
                <a:uFillTx/>
                <a:latin typeface="Lato" panose="020F0502020204030203" pitchFamily="34" charset="0"/>
                <a:ea typeface="Roboto Slab" pitchFamily="2" charset="0"/>
                <a:cs typeface="Arial" panose="020B0604020202020204" pitchFamily="34" charset="0"/>
              </a:defRPr>
            </a:lvl1pPr>
          </a:lstStyle>
          <a:p>
            <a:pPr marR="0" lvl="0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9" name="Text Placeholder 29">
            <a:extLst>
              <a:ext uri="{FF2B5EF4-FFF2-40B4-BE49-F238E27FC236}">
                <a16:creationId xmlns:a16="http://schemas.microsoft.com/office/drawing/2014/main" id="{7A49FCBD-FA23-C0D1-2B21-8D2EC09D1F5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299555" y="1798917"/>
            <a:ext cx="2456641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kumimoji="0" lang="en-US" sz="1800" b="1" i="0" u="none" strike="noStrike" cap="none" spc="0" normalizeH="0" baseline="0" dirty="0" smtClean="0">
                <a:ln>
                  <a:noFill/>
                </a:ln>
                <a:solidFill>
                  <a:srgbClr val="00BD4D"/>
                </a:solidFill>
                <a:effectLst/>
                <a:uLnTx/>
                <a:uFillTx/>
                <a:latin typeface="Lato" panose="020F0502020204030203" pitchFamily="34" charset="0"/>
                <a:ea typeface="Roboto Slab" pitchFamily="2" charset="0"/>
                <a:cs typeface="Arial" panose="020B0604020202020204" pitchFamily="34" charset="0"/>
              </a:defRPr>
            </a:lvl1pPr>
          </a:lstStyle>
          <a:p>
            <a:pPr marR="0" lvl="0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34" name="Text Placeholder 29">
            <a:extLst>
              <a:ext uri="{FF2B5EF4-FFF2-40B4-BE49-F238E27FC236}">
                <a16:creationId xmlns:a16="http://schemas.microsoft.com/office/drawing/2014/main" id="{AB9A657F-6338-BD84-AE3D-13CA6614A77F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152821" y="1798917"/>
            <a:ext cx="2456641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kumimoji="0" lang="en-US" sz="1800" b="1" i="0" u="none" strike="noStrike" cap="none" spc="0" normalizeH="0" baseline="0" dirty="0" smtClean="0">
                <a:ln>
                  <a:noFill/>
                </a:ln>
                <a:solidFill>
                  <a:srgbClr val="00BD4D"/>
                </a:solidFill>
                <a:effectLst/>
                <a:uLnTx/>
                <a:uFillTx/>
                <a:latin typeface="Lato" panose="020F0502020204030203" pitchFamily="34" charset="0"/>
                <a:ea typeface="Roboto Slab" pitchFamily="2" charset="0"/>
                <a:cs typeface="Arial" panose="020B0604020202020204" pitchFamily="34" charset="0"/>
              </a:defRPr>
            </a:lvl1pPr>
          </a:lstStyle>
          <a:p>
            <a:pPr marR="0" lvl="0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37" name="Text Placeholder 51">
            <a:extLst>
              <a:ext uri="{FF2B5EF4-FFF2-40B4-BE49-F238E27FC236}">
                <a16:creationId xmlns:a16="http://schemas.microsoft.com/office/drawing/2014/main" id="{665846B6-A0C0-7EFD-2714-37EC0D3A935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93725" y="2728232"/>
            <a:ext cx="2479675" cy="3482065"/>
          </a:xfrm>
          <a:prstGeom prst="rect">
            <a:avLst/>
          </a:prstGeom>
        </p:spPr>
        <p:txBody>
          <a:bodyPr/>
          <a:lstStyle>
            <a:lvl1pPr marL="180000" indent="-180000">
              <a:spcBef>
                <a:spcPts val="1000"/>
              </a:spcBef>
              <a:buClr>
                <a:srgbClr val="00BD4D"/>
              </a:buClr>
              <a:defRPr sz="1600" b="0" i="0">
                <a:solidFill>
                  <a:schemeClr val="bg1"/>
                </a:solidFill>
                <a:latin typeface="Lato" panose="020F0502020204030203" pitchFamily="34" charset="77"/>
              </a:defRPr>
            </a:lvl1pPr>
            <a:lvl2pPr marL="360000" indent="-180000">
              <a:spcBef>
                <a:spcPts val="1000"/>
              </a:spcBef>
              <a:buClr>
                <a:srgbClr val="00BD4D"/>
              </a:buClr>
              <a:defRPr sz="1400" b="0" i="0">
                <a:solidFill>
                  <a:schemeClr val="bg1"/>
                </a:solidFill>
                <a:latin typeface="Lato" panose="020F0502020204030203" pitchFamily="34" charset="77"/>
              </a:defRPr>
            </a:lvl2pPr>
            <a:lvl3pPr marL="540000" indent="-180000">
              <a:spcBef>
                <a:spcPts val="1000"/>
              </a:spcBef>
              <a:buClr>
                <a:srgbClr val="00BD4D"/>
              </a:buClr>
              <a:defRPr sz="1200" b="0" i="0">
                <a:solidFill>
                  <a:schemeClr val="bg1"/>
                </a:solidFill>
                <a:latin typeface="Lato" panose="020F0502020204030203" pitchFamily="34" charset="77"/>
              </a:defRPr>
            </a:lvl3pPr>
            <a:lvl4pPr marL="720000" indent="-180000">
              <a:spcBef>
                <a:spcPts val="1000"/>
              </a:spcBef>
              <a:buClr>
                <a:srgbClr val="00BD4D"/>
              </a:buClr>
              <a:defRPr sz="1100" b="0" i="0">
                <a:solidFill>
                  <a:schemeClr val="bg1"/>
                </a:solidFill>
                <a:latin typeface="Lato" panose="020F0502020204030203" pitchFamily="34" charset="77"/>
              </a:defRPr>
            </a:lvl4pPr>
            <a:lvl5pPr marL="900000" indent="-180000">
              <a:spcBef>
                <a:spcPts val="1000"/>
              </a:spcBef>
              <a:buClr>
                <a:srgbClr val="00BD4D"/>
              </a:buClr>
              <a:defRPr sz="1100" b="0" i="0">
                <a:solidFill>
                  <a:schemeClr val="bg1"/>
                </a:solidFill>
                <a:latin typeface="Lato" panose="020F05020202040302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Text Placeholder 51">
            <a:extLst>
              <a:ext uri="{FF2B5EF4-FFF2-40B4-BE49-F238E27FC236}">
                <a16:creationId xmlns:a16="http://schemas.microsoft.com/office/drawing/2014/main" id="{5389ED91-8761-D9A5-467F-694A9BCE78D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446288" y="2728232"/>
            <a:ext cx="2479675" cy="3482065"/>
          </a:xfrm>
          <a:prstGeom prst="rect">
            <a:avLst/>
          </a:prstGeom>
        </p:spPr>
        <p:txBody>
          <a:bodyPr/>
          <a:lstStyle>
            <a:lvl1pPr marL="180000" indent="-180000">
              <a:spcBef>
                <a:spcPts val="1000"/>
              </a:spcBef>
              <a:buClr>
                <a:srgbClr val="00BD4D"/>
              </a:buClr>
              <a:defRPr sz="1600" b="0" i="0">
                <a:solidFill>
                  <a:schemeClr val="bg1"/>
                </a:solidFill>
                <a:latin typeface="Lato" panose="020F0502020204030203" pitchFamily="34" charset="77"/>
              </a:defRPr>
            </a:lvl1pPr>
            <a:lvl2pPr marL="360000" indent="-180000">
              <a:spcBef>
                <a:spcPts val="1000"/>
              </a:spcBef>
              <a:buClr>
                <a:srgbClr val="00BD4D"/>
              </a:buClr>
              <a:defRPr sz="1400" b="0" i="0">
                <a:solidFill>
                  <a:schemeClr val="bg1"/>
                </a:solidFill>
                <a:latin typeface="Lato" panose="020F0502020204030203" pitchFamily="34" charset="77"/>
              </a:defRPr>
            </a:lvl2pPr>
            <a:lvl3pPr marL="540000" indent="-180000">
              <a:spcBef>
                <a:spcPts val="1000"/>
              </a:spcBef>
              <a:buClr>
                <a:srgbClr val="00BD4D"/>
              </a:buClr>
              <a:defRPr sz="1200" b="0" i="0">
                <a:solidFill>
                  <a:schemeClr val="bg1"/>
                </a:solidFill>
                <a:latin typeface="Lato" panose="020F0502020204030203" pitchFamily="34" charset="77"/>
              </a:defRPr>
            </a:lvl3pPr>
            <a:lvl4pPr marL="720000" indent="-180000">
              <a:spcBef>
                <a:spcPts val="1000"/>
              </a:spcBef>
              <a:buClr>
                <a:srgbClr val="00BD4D"/>
              </a:buClr>
              <a:defRPr sz="1100" b="0" i="0">
                <a:solidFill>
                  <a:schemeClr val="bg1"/>
                </a:solidFill>
                <a:latin typeface="Lato" panose="020F0502020204030203" pitchFamily="34" charset="77"/>
              </a:defRPr>
            </a:lvl4pPr>
            <a:lvl5pPr marL="900000" indent="-180000">
              <a:spcBef>
                <a:spcPts val="1000"/>
              </a:spcBef>
              <a:buClr>
                <a:srgbClr val="00BD4D"/>
              </a:buClr>
              <a:defRPr sz="1100" b="0" i="0">
                <a:solidFill>
                  <a:schemeClr val="bg1"/>
                </a:solidFill>
                <a:latin typeface="Lato" panose="020F05020202040302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9" name="Text Placeholder 51">
            <a:extLst>
              <a:ext uri="{FF2B5EF4-FFF2-40B4-BE49-F238E27FC236}">
                <a16:creationId xmlns:a16="http://schemas.microsoft.com/office/drawing/2014/main" id="{75EB58D2-C4D9-2ED8-22BE-5026F45258E7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300259" y="2728232"/>
            <a:ext cx="2479675" cy="3482065"/>
          </a:xfrm>
          <a:prstGeom prst="rect">
            <a:avLst/>
          </a:prstGeom>
        </p:spPr>
        <p:txBody>
          <a:bodyPr/>
          <a:lstStyle>
            <a:lvl1pPr marL="180000" indent="-180000">
              <a:spcBef>
                <a:spcPts val="1000"/>
              </a:spcBef>
              <a:buClr>
                <a:srgbClr val="00BD4D"/>
              </a:buClr>
              <a:defRPr sz="1600" b="0" i="0">
                <a:solidFill>
                  <a:schemeClr val="bg1"/>
                </a:solidFill>
                <a:latin typeface="Lato" panose="020F0502020204030203" pitchFamily="34" charset="77"/>
              </a:defRPr>
            </a:lvl1pPr>
            <a:lvl2pPr marL="360000" indent="-180000">
              <a:spcBef>
                <a:spcPts val="1000"/>
              </a:spcBef>
              <a:buClr>
                <a:srgbClr val="00BD4D"/>
              </a:buClr>
              <a:defRPr sz="1400" b="0" i="0">
                <a:solidFill>
                  <a:schemeClr val="bg1"/>
                </a:solidFill>
                <a:latin typeface="Lato" panose="020F0502020204030203" pitchFamily="34" charset="77"/>
              </a:defRPr>
            </a:lvl2pPr>
            <a:lvl3pPr marL="540000" indent="-180000">
              <a:spcBef>
                <a:spcPts val="1000"/>
              </a:spcBef>
              <a:buClr>
                <a:srgbClr val="00BD4D"/>
              </a:buClr>
              <a:defRPr sz="1200" b="0" i="0">
                <a:solidFill>
                  <a:schemeClr val="bg1"/>
                </a:solidFill>
                <a:latin typeface="Lato" panose="020F0502020204030203" pitchFamily="34" charset="77"/>
              </a:defRPr>
            </a:lvl3pPr>
            <a:lvl4pPr marL="720000" indent="-180000">
              <a:spcBef>
                <a:spcPts val="1000"/>
              </a:spcBef>
              <a:buClr>
                <a:srgbClr val="00BD4D"/>
              </a:buClr>
              <a:defRPr sz="1100" b="0" i="0">
                <a:solidFill>
                  <a:schemeClr val="bg1"/>
                </a:solidFill>
                <a:latin typeface="Lato" panose="020F0502020204030203" pitchFamily="34" charset="77"/>
              </a:defRPr>
            </a:lvl4pPr>
            <a:lvl5pPr marL="900000" indent="-180000">
              <a:spcBef>
                <a:spcPts val="1000"/>
              </a:spcBef>
              <a:buClr>
                <a:srgbClr val="00BD4D"/>
              </a:buClr>
              <a:defRPr sz="1100" b="0" i="0">
                <a:solidFill>
                  <a:schemeClr val="bg1"/>
                </a:solidFill>
                <a:latin typeface="Lato" panose="020F05020202040302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0" name="Text Placeholder 51">
            <a:extLst>
              <a:ext uri="{FF2B5EF4-FFF2-40B4-BE49-F238E27FC236}">
                <a16:creationId xmlns:a16="http://schemas.microsoft.com/office/drawing/2014/main" id="{A5E69845-1C6F-6BBB-085C-C5BCFCEE872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154230" y="2728232"/>
            <a:ext cx="2479675" cy="3482065"/>
          </a:xfrm>
          <a:prstGeom prst="rect">
            <a:avLst/>
          </a:prstGeom>
        </p:spPr>
        <p:txBody>
          <a:bodyPr/>
          <a:lstStyle>
            <a:lvl1pPr marL="180000" indent="-180000">
              <a:spcBef>
                <a:spcPts val="1000"/>
              </a:spcBef>
              <a:buClr>
                <a:srgbClr val="00BD4D"/>
              </a:buClr>
              <a:defRPr sz="1600" b="0" i="0">
                <a:solidFill>
                  <a:schemeClr val="bg1"/>
                </a:solidFill>
                <a:latin typeface="Lato" panose="020F0502020204030203" pitchFamily="34" charset="77"/>
              </a:defRPr>
            </a:lvl1pPr>
            <a:lvl2pPr marL="360000" indent="-180000">
              <a:spcBef>
                <a:spcPts val="1000"/>
              </a:spcBef>
              <a:buClr>
                <a:srgbClr val="00BD4D"/>
              </a:buClr>
              <a:defRPr sz="1400" b="0" i="0">
                <a:solidFill>
                  <a:schemeClr val="bg1"/>
                </a:solidFill>
                <a:latin typeface="Lato" panose="020F0502020204030203" pitchFamily="34" charset="77"/>
              </a:defRPr>
            </a:lvl2pPr>
            <a:lvl3pPr marL="540000" indent="-180000">
              <a:spcBef>
                <a:spcPts val="1000"/>
              </a:spcBef>
              <a:buClr>
                <a:srgbClr val="00BD4D"/>
              </a:buClr>
              <a:defRPr sz="1200" b="0" i="0">
                <a:solidFill>
                  <a:schemeClr val="bg1"/>
                </a:solidFill>
                <a:latin typeface="Lato" panose="020F0502020204030203" pitchFamily="34" charset="77"/>
              </a:defRPr>
            </a:lvl3pPr>
            <a:lvl4pPr marL="720000" indent="-180000">
              <a:spcBef>
                <a:spcPts val="1000"/>
              </a:spcBef>
              <a:buClr>
                <a:srgbClr val="00BD4D"/>
              </a:buClr>
              <a:defRPr sz="1100" b="0" i="0">
                <a:solidFill>
                  <a:schemeClr val="bg1"/>
                </a:solidFill>
                <a:latin typeface="Lato" panose="020F0502020204030203" pitchFamily="34" charset="77"/>
              </a:defRPr>
            </a:lvl4pPr>
            <a:lvl5pPr marL="900000" indent="-180000">
              <a:spcBef>
                <a:spcPts val="1000"/>
              </a:spcBef>
              <a:buClr>
                <a:srgbClr val="00BD4D"/>
              </a:buClr>
              <a:defRPr sz="1100" b="0" i="0">
                <a:solidFill>
                  <a:schemeClr val="bg1"/>
                </a:solidFill>
                <a:latin typeface="Lato" panose="020F05020202040302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443AEBB-323B-CA2C-B13D-9D564D83CBC7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652773" y="2474236"/>
            <a:ext cx="2419220" cy="2743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32883AE-AEDC-E00C-EC79-B5E20E33EEFB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3499490" y="2474236"/>
            <a:ext cx="2419220" cy="2743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60177C4-8990-EB96-DFF8-B4CF43B7AC7F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6354833" y="2474236"/>
            <a:ext cx="2419220" cy="27432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07C7269-1370-4B30-E3DA-2E3F6FC2D8DF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9192924" y="2474236"/>
            <a:ext cx="2419220" cy="27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038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-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C57EF652-1705-2AC5-7642-4775FE39570A}"/>
              </a:ext>
            </a:extLst>
          </p:cNvPr>
          <p:cNvGrpSpPr/>
          <p:nvPr userDrawn="1"/>
        </p:nvGrpSpPr>
        <p:grpSpPr>
          <a:xfrm>
            <a:off x="11122821" y="6472473"/>
            <a:ext cx="799629" cy="166100"/>
            <a:chOff x="11122821" y="6472473"/>
            <a:chExt cx="799629" cy="166100"/>
          </a:xfrm>
        </p:grpSpPr>
        <p:sp>
          <p:nvSpPr>
            <p:cNvPr id="4" name="Freeform: Shape 11">
              <a:extLst>
                <a:ext uri="{FF2B5EF4-FFF2-40B4-BE49-F238E27FC236}">
                  <a16:creationId xmlns:a16="http://schemas.microsoft.com/office/drawing/2014/main" id="{A2629C08-2B58-57FF-B8A3-D897F76FA439}"/>
                </a:ext>
              </a:extLst>
            </p:cNvPr>
            <p:cNvSpPr/>
            <p:nvPr/>
          </p:nvSpPr>
          <p:spPr>
            <a:xfrm rot="18900000">
              <a:off x="11134957" y="6473485"/>
              <a:ext cx="35147" cy="35147"/>
            </a:xfrm>
            <a:custGeom>
              <a:avLst/>
              <a:gdLst>
                <a:gd name="connsiteX0" fmla="*/ 32044 w 35147"/>
                <a:gd name="connsiteY0" fmla="*/ 0 h 35147"/>
                <a:gd name="connsiteX1" fmla="*/ 35148 w 35147"/>
                <a:gd name="connsiteY1" fmla="*/ 3103 h 35147"/>
                <a:gd name="connsiteX2" fmla="*/ 35148 w 35147"/>
                <a:gd name="connsiteY2" fmla="*/ 32044 h 35147"/>
                <a:gd name="connsiteX3" fmla="*/ 32044 w 35147"/>
                <a:gd name="connsiteY3" fmla="*/ 35148 h 35147"/>
                <a:gd name="connsiteX4" fmla="*/ 3103 w 35147"/>
                <a:gd name="connsiteY4" fmla="*/ 35148 h 35147"/>
                <a:gd name="connsiteX5" fmla="*/ 0 w 35147"/>
                <a:gd name="connsiteY5" fmla="*/ 32044 h 35147"/>
                <a:gd name="connsiteX6" fmla="*/ 0 w 35147"/>
                <a:gd name="connsiteY6" fmla="*/ 3103 h 35147"/>
                <a:gd name="connsiteX7" fmla="*/ 3103 w 35147"/>
                <a:gd name="connsiteY7" fmla="*/ 0 h 35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147" h="35147">
                  <a:moveTo>
                    <a:pt x="32044" y="0"/>
                  </a:moveTo>
                  <a:cubicBezTo>
                    <a:pt x="33758" y="0"/>
                    <a:pt x="35148" y="1389"/>
                    <a:pt x="35148" y="3103"/>
                  </a:cubicBezTo>
                  <a:lnTo>
                    <a:pt x="35148" y="32044"/>
                  </a:lnTo>
                  <a:cubicBezTo>
                    <a:pt x="35148" y="33758"/>
                    <a:pt x="33758" y="35148"/>
                    <a:pt x="32044" y="35148"/>
                  </a:cubicBezTo>
                  <a:lnTo>
                    <a:pt x="3103" y="35148"/>
                  </a:lnTo>
                  <a:cubicBezTo>
                    <a:pt x="1389" y="35148"/>
                    <a:pt x="0" y="33758"/>
                    <a:pt x="0" y="32044"/>
                  </a:cubicBezTo>
                  <a:lnTo>
                    <a:pt x="0" y="3103"/>
                  </a:lnTo>
                  <a:cubicBezTo>
                    <a:pt x="0" y="1389"/>
                    <a:pt x="1389" y="0"/>
                    <a:pt x="3103" y="0"/>
                  </a:cubicBezTo>
                  <a:close/>
                </a:path>
              </a:pathLst>
            </a:custGeom>
            <a:solidFill>
              <a:srgbClr val="00BD4D"/>
            </a:solidFill>
            <a:ln w="135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35D4E117-002C-C01D-1556-4A45CA7EFF70}"/>
                </a:ext>
              </a:extLst>
            </p:cNvPr>
            <p:cNvGrpSpPr/>
            <p:nvPr/>
          </p:nvGrpSpPr>
          <p:grpSpPr>
            <a:xfrm>
              <a:off x="11122821" y="6472473"/>
              <a:ext cx="799629" cy="166100"/>
              <a:chOff x="11122821" y="6472473"/>
              <a:chExt cx="799629" cy="166100"/>
            </a:xfrm>
            <a:solidFill>
              <a:schemeClr val="bg1"/>
            </a:solidFill>
          </p:grpSpPr>
          <p:sp>
            <p:nvSpPr>
              <p:cNvPr id="6" name="Freeform: Shape 13">
                <a:extLst>
                  <a:ext uri="{FF2B5EF4-FFF2-40B4-BE49-F238E27FC236}">
                    <a16:creationId xmlns:a16="http://schemas.microsoft.com/office/drawing/2014/main" id="{43D2A61A-53FE-AF6B-EF60-CDAED26012D4}"/>
                  </a:ext>
                </a:extLst>
              </p:cNvPr>
              <p:cNvSpPr/>
              <p:nvPr/>
            </p:nvSpPr>
            <p:spPr>
              <a:xfrm>
                <a:off x="11774281" y="6519597"/>
                <a:ext cx="119385" cy="116611"/>
              </a:xfrm>
              <a:custGeom>
                <a:avLst/>
                <a:gdLst>
                  <a:gd name="connsiteX0" fmla="*/ 82523 w 119385"/>
                  <a:gd name="connsiteY0" fmla="*/ 58306 h 116611"/>
                  <a:gd name="connsiteX1" fmla="*/ 118887 w 119385"/>
                  <a:gd name="connsiteY1" fmla="*/ 112265 h 116611"/>
                  <a:gd name="connsiteX2" fmla="*/ 116385 w 119385"/>
                  <a:gd name="connsiteY2" fmla="*/ 116612 h 116611"/>
                  <a:gd name="connsiteX3" fmla="*/ 85831 w 119385"/>
                  <a:gd name="connsiteY3" fmla="*/ 116612 h 116611"/>
                  <a:gd name="connsiteX4" fmla="*/ 80718 w 119385"/>
                  <a:gd name="connsiteY4" fmla="*/ 113919 h 116611"/>
                  <a:gd name="connsiteX5" fmla="*/ 59693 w 119385"/>
                  <a:gd name="connsiteY5" fmla="*/ 81751 h 116611"/>
                  <a:gd name="connsiteX6" fmla="*/ 38667 w 119385"/>
                  <a:gd name="connsiteY6" fmla="*/ 113919 h 116611"/>
                  <a:gd name="connsiteX7" fmla="*/ 33554 w 119385"/>
                  <a:gd name="connsiteY7" fmla="*/ 116612 h 116611"/>
                  <a:gd name="connsiteX8" fmla="*/ 3000 w 119385"/>
                  <a:gd name="connsiteY8" fmla="*/ 116612 h 116611"/>
                  <a:gd name="connsiteX9" fmla="*/ 498 w 119385"/>
                  <a:gd name="connsiteY9" fmla="*/ 112265 h 116611"/>
                  <a:gd name="connsiteX10" fmla="*/ 36753 w 119385"/>
                  <a:gd name="connsiteY10" fmla="*/ 58306 h 116611"/>
                  <a:gd name="connsiteX11" fmla="*/ 498 w 119385"/>
                  <a:gd name="connsiteY11" fmla="*/ 4347 h 116611"/>
                  <a:gd name="connsiteX12" fmla="*/ 3000 w 119385"/>
                  <a:gd name="connsiteY12" fmla="*/ 0 h 116611"/>
                  <a:gd name="connsiteX13" fmla="*/ 34853 w 119385"/>
                  <a:gd name="connsiteY13" fmla="*/ 0 h 116611"/>
                  <a:gd name="connsiteX14" fmla="*/ 37778 w 119385"/>
                  <a:gd name="connsiteY14" fmla="*/ 1449 h 116611"/>
                  <a:gd name="connsiteX15" fmla="*/ 59679 w 119385"/>
                  <a:gd name="connsiteY15" fmla="*/ 34806 h 116611"/>
                  <a:gd name="connsiteX16" fmla="*/ 80240 w 119385"/>
                  <a:gd name="connsiteY16" fmla="*/ 1463 h 116611"/>
                  <a:gd name="connsiteX17" fmla="*/ 83165 w 119385"/>
                  <a:gd name="connsiteY17" fmla="*/ 0 h 116611"/>
                  <a:gd name="connsiteX18" fmla="*/ 115333 w 119385"/>
                  <a:gd name="connsiteY18" fmla="*/ 0 h 116611"/>
                  <a:gd name="connsiteX19" fmla="*/ 117834 w 119385"/>
                  <a:gd name="connsiteY19" fmla="*/ 4334 h 116611"/>
                  <a:gd name="connsiteX20" fmla="*/ 82495 w 119385"/>
                  <a:gd name="connsiteY20" fmla="*/ 58306 h 116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19385" h="116611">
                    <a:moveTo>
                      <a:pt x="82523" y="58306"/>
                    </a:moveTo>
                    <a:lnTo>
                      <a:pt x="118887" y="112265"/>
                    </a:lnTo>
                    <a:cubicBezTo>
                      <a:pt x="120199" y="114124"/>
                      <a:pt x="118764" y="116612"/>
                      <a:pt x="116385" y="116612"/>
                    </a:cubicBezTo>
                    <a:lnTo>
                      <a:pt x="85831" y="116612"/>
                    </a:lnTo>
                    <a:cubicBezTo>
                      <a:pt x="83794" y="116612"/>
                      <a:pt x="81880" y="115600"/>
                      <a:pt x="80718" y="113919"/>
                    </a:cubicBezTo>
                    <a:lnTo>
                      <a:pt x="59693" y="81751"/>
                    </a:lnTo>
                    <a:lnTo>
                      <a:pt x="38667" y="113919"/>
                    </a:lnTo>
                    <a:cubicBezTo>
                      <a:pt x="37505" y="115600"/>
                      <a:pt x="35605" y="116612"/>
                      <a:pt x="33554" y="116612"/>
                    </a:cubicBezTo>
                    <a:lnTo>
                      <a:pt x="3000" y="116612"/>
                    </a:lnTo>
                    <a:cubicBezTo>
                      <a:pt x="621" y="116612"/>
                      <a:pt x="-814" y="114138"/>
                      <a:pt x="498" y="112265"/>
                    </a:cubicBezTo>
                    <a:lnTo>
                      <a:pt x="36753" y="58306"/>
                    </a:lnTo>
                    <a:lnTo>
                      <a:pt x="498" y="4347"/>
                    </a:lnTo>
                    <a:cubicBezTo>
                      <a:pt x="-814" y="2488"/>
                      <a:pt x="621" y="0"/>
                      <a:pt x="3000" y="0"/>
                    </a:cubicBezTo>
                    <a:lnTo>
                      <a:pt x="34853" y="0"/>
                    </a:lnTo>
                    <a:cubicBezTo>
                      <a:pt x="36042" y="0"/>
                      <a:pt x="37149" y="547"/>
                      <a:pt x="37778" y="1449"/>
                    </a:cubicBezTo>
                    <a:lnTo>
                      <a:pt x="59679" y="34806"/>
                    </a:lnTo>
                    <a:lnTo>
                      <a:pt x="80240" y="1463"/>
                    </a:lnTo>
                    <a:cubicBezTo>
                      <a:pt x="80855" y="561"/>
                      <a:pt x="81976" y="0"/>
                      <a:pt x="83165" y="0"/>
                    </a:cubicBezTo>
                    <a:lnTo>
                      <a:pt x="115333" y="0"/>
                    </a:lnTo>
                    <a:cubicBezTo>
                      <a:pt x="117711" y="0"/>
                      <a:pt x="119133" y="2474"/>
                      <a:pt x="117834" y="4334"/>
                    </a:cubicBezTo>
                    <a:lnTo>
                      <a:pt x="82495" y="58306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" name="Freeform: Shape 14">
                <a:extLst>
                  <a:ext uri="{FF2B5EF4-FFF2-40B4-BE49-F238E27FC236}">
                    <a16:creationId xmlns:a16="http://schemas.microsoft.com/office/drawing/2014/main" id="{629D1B95-2C19-9A42-3ED4-470A310DDB83}"/>
                  </a:ext>
                </a:extLst>
              </p:cNvPr>
              <p:cNvSpPr/>
              <p:nvPr/>
            </p:nvSpPr>
            <p:spPr>
              <a:xfrm>
                <a:off x="11284928" y="6472473"/>
                <a:ext cx="78825" cy="163762"/>
              </a:xfrm>
              <a:custGeom>
                <a:avLst/>
                <a:gdLst>
                  <a:gd name="connsiteX0" fmla="*/ 75722 w 78825"/>
                  <a:gd name="connsiteY0" fmla="*/ 14 h 163762"/>
                  <a:gd name="connsiteX1" fmla="*/ 50377 w 78825"/>
                  <a:gd name="connsiteY1" fmla="*/ 14 h 163762"/>
                  <a:gd name="connsiteX2" fmla="*/ 43801 w 78825"/>
                  <a:gd name="connsiteY2" fmla="*/ 2734 h 163762"/>
                  <a:gd name="connsiteX3" fmla="*/ 19987 w 78825"/>
                  <a:gd name="connsiteY3" fmla="*/ 26549 h 163762"/>
                  <a:gd name="connsiteX4" fmla="*/ 17266 w 78825"/>
                  <a:gd name="connsiteY4" fmla="*/ 33124 h 163762"/>
                  <a:gd name="connsiteX5" fmla="*/ 17266 w 78825"/>
                  <a:gd name="connsiteY5" fmla="*/ 51867 h 163762"/>
                  <a:gd name="connsiteX6" fmla="*/ 3049 w 78825"/>
                  <a:gd name="connsiteY6" fmla="*/ 51867 h 163762"/>
                  <a:gd name="connsiteX7" fmla="*/ 0 w 78825"/>
                  <a:gd name="connsiteY7" fmla="*/ 54916 h 163762"/>
                  <a:gd name="connsiteX8" fmla="*/ 0 w 78825"/>
                  <a:gd name="connsiteY8" fmla="*/ 75955 h 163762"/>
                  <a:gd name="connsiteX9" fmla="*/ 3049 w 78825"/>
                  <a:gd name="connsiteY9" fmla="*/ 79004 h 163762"/>
                  <a:gd name="connsiteX10" fmla="*/ 17266 w 78825"/>
                  <a:gd name="connsiteY10" fmla="*/ 79004 h 163762"/>
                  <a:gd name="connsiteX11" fmla="*/ 17266 w 78825"/>
                  <a:gd name="connsiteY11" fmla="*/ 160659 h 163762"/>
                  <a:gd name="connsiteX12" fmla="*/ 20369 w 78825"/>
                  <a:gd name="connsiteY12" fmla="*/ 163763 h 163762"/>
                  <a:gd name="connsiteX13" fmla="*/ 47109 w 78825"/>
                  <a:gd name="connsiteY13" fmla="*/ 163763 h 163762"/>
                  <a:gd name="connsiteX14" fmla="*/ 50213 w 78825"/>
                  <a:gd name="connsiteY14" fmla="*/ 160659 h 163762"/>
                  <a:gd name="connsiteX15" fmla="*/ 50213 w 78825"/>
                  <a:gd name="connsiteY15" fmla="*/ 78990 h 163762"/>
                  <a:gd name="connsiteX16" fmla="*/ 71443 w 78825"/>
                  <a:gd name="connsiteY16" fmla="*/ 78990 h 163762"/>
                  <a:gd name="connsiteX17" fmla="*/ 74492 w 78825"/>
                  <a:gd name="connsiteY17" fmla="*/ 75941 h 163762"/>
                  <a:gd name="connsiteX18" fmla="*/ 74492 w 78825"/>
                  <a:gd name="connsiteY18" fmla="*/ 54902 h 163762"/>
                  <a:gd name="connsiteX19" fmla="*/ 71443 w 78825"/>
                  <a:gd name="connsiteY19" fmla="*/ 51853 h 163762"/>
                  <a:gd name="connsiteX20" fmla="*/ 50213 w 78825"/>
                  <a:gd name="connsiteY20" fmla="*/ 51853 h 163762"/>
                  <a:gd name="connsiteX21" fmla="*/ 50213 w 78825"/>
                  <a:gd name="connsiteY21" fmla="*/ 38565 h 163762"/>
                  <a:gd name="connsiteX22" fmla="*/ 59509 w 78825"/>
                  <a:gd name="connsiteY22" fmla="*/ 29269 h 163762"/>
                  <a:gd name="connsiteX23" fmla="*/ 75722 w 78825"/>
                  <a:gd name="connsiteY23" fmla="*/ 29269 h 163762"/>
                  <a:gd name="connsiteX24" fmla="*/ 78826 w 78825"/>
                  <a:gd name="connsiteY24" fmla="*/ 26166 h 163762"/>
                  <a:gd name="connsiteX25" fmla="*/ 78826 w 78825"/>
                  <a:gd name="connsiteY25" fmla="*/ 3103 h 163762"/>
                  <a:gd name="connsiteX26" fmla="*/ 75722 w 78825"/>
                  <a:gd name="connsiteY26" fmla="*/ 0 h 163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78825" h="163762">
                    <a:moveTo>
                      <a:pt x="75722" y="14"/>
                    </a:moveTo>
                    <a:lnTo>
                      <a:pt x="50377" y="14"/>
                    </a:lnTo>
                    <a:cubicBezTo>
                      <a:pt x="47916" y="14"/>
                      <a:pt x="45551" y="998"/>
                      <a:pt x="43801" y="2734"/>
                    </a:cubicBezTo>
                    <a:lnTo>
                      <a:pt x="19987" y="26549"/>
                    </a:lnTo>
                    <a:cubicBezTo>
                      <a:pt x="18237" y="28299"/>
                      <a:pt x="17266" y="30664"/>
                      <a:pt x="17266" y="33124"/>
                    </a:cubicBezTo>
                    <a:lnTo>
                      <a:pt x="17266" y="51867"/>
                    </a:lnTo>
                    <a:lnTo>
                      <a:pt x="3049" y="51867"/>
                    </a:lnTo>
                    <a:cubicBezTo>
                      <a:pt x="1367" y="51867"/>
                      <a:pt x="0" y="53234"/>
                      <a:pt x="0" y="54916"/>
                    </a:cubicBezTo>
                    <a:lnTo>
                      <a:pt x="0" y="75955"/>
                    </a:lnTo>
                    <a:cubicBezTo>
                      <a:pt x="0" y="77636"/>
                      <a:pt x="1367" y="79004"/>
                      <a:pt x="3049" y="79004"/>
                    </a:cubicBezTo>
                    <a:lnTo>
                      <a:pt x="17266" y="79004"/>
                    </a:lnTo>
                    <a:lnTo>
                      <a:pt x="17266" y="160659"/>
                    </a:lnTo>
                    <a:cubicBezTo>
                      <a:pt x="17266" y="162368"/>
                      <a:pt x="18661" y="163763"/>
                      <a:pt x="20369" y="163763"/>
                    </a:cubicBezTo>
                    <a:lnTo>
                      <a:pt x="47109" y="163763"/>
                    </a:lnTo>
                    <a:cubicBezTo>
                      <a:pt x="48818" y="163763"/>
                      <a:pt x="50213" y="162368"/>
                      <a:pt x="50213" y="160659"/>
                    </a:cubicBezTo>
                    <a:lnTo>
                      <a:pt x="50213" y="78990"/>
                    </a:lnTo>
                    <a:lnTo>
                      <a:pt x="71443" y="78990"/>
                    </a:lnTo>
                    <a:cubicBezTo>
                      <a:pt x="73125" y="78990"/>
                      <a:pt x="74492" y="77623"/>
                      <a:pt x="74492" y="75941"/>
                    </a:cubicBezTo>
                    <a:lnTo>
                      <a:pt x="74492" y="54902"/>
                    </a:lnTo>
                    <a:cubicBezTo>
                      <a:pt x="74492" y="53220"/>
                      <a:pt x="73125" y="51853"/>
                      <a:pt x="71443" y="51853"/>
                    </a:cubicBezTo>
                    <a:lnTo>
                      <a:pt x="50213" y="51853"/>
                    </a:lnTo>
                    <a:lnTo>
                      <a:pt x="50213" y="38565"/>
                    </a:lnTo>
                    <a:cubicBezTo>
                      <a:pt x="50213" y="33425"/>
                      <a:pt x="54382" y="29269"/>
                      <a:pt x="59509" y="29269"/>
                    </a:cubicBezTo>
                    <a:lnTo>
                      <a:pt x="75722" y="29269"/>
                    </a:lnTo>
                    <a:cubicBezTo>
                      <a:pt x="77431" y="29269"/>
                      <a:pt x="78826" y="27875"/>
                      <a:pt x="78826" y="26166"/>
                    </a:cubicBezTo>
                    <a:lnTo>
                      <a:pt x="78826" y="3103"/>
                    </a:lnTo>
                    <a:cubicBezTo>
                      <a:pt x="78826" y="1394"/>
                      <a:pt x="77431" y="0"/>
                      <a:pt x="75722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" name="Freeform: Shape 15">
                <a:extLst>
                  <a:ext uri="{FF2B5EF4-FFF2-40B4-BE49-F238E27FC236}">
                    <a16:creationId xmlns:a16="http://schemas.microsoft.com/office/drawing/2014/main" id="{878985CB-1814-BCFA-0314-24B00AB9802C}"/>
                  </a:ext>
                </a:extLst>
              </p:cNvPr>
              <p:cNvSpPr/>
              <p:nvPr/>
            </p:nvSpPr>
            <p:spPr>
              <a:xfrm>
                <a:off x="11896791" y="6612367"/>
                <a:ext cx="25659" cy="25660"/>
              </a:xfrm>
              <a:custGeom>
                <a:avLst/>
                <a:gdLst>
                  <a:gd name="connsiteX0" fmla="*/ 25660 w 25659"/>
                  <a:gd name="connsiteY0" fmla="*/ 12810 h 25660"/>
                  <a:gd name="connsiteX1" fmla="*/ 12782 w 25659"/>
                  <a:gd name="connsiteY1" fmla="*/ 25660 h 25660"/>
                  <a:gd name="connsiteX2" fmla="*/ 0 w 25659"/>
                  <a:gd name="connsiteY2" fmla="*/ 12810 h 25660"/>
                  <a:gd name="connsiteX3" fmla="*/ 12823 w 25659"/>
                  <a:gd name="connsiteY3" fmla="*/ 0 h 25660"/>
                  <a:gd name="connsiteX4" fmla="*/ 25646 w 25659"/>
                  <a:gd name="connsiteY4" fmla="*/ 12810 h 25660"/>
                  <a:gd name="connsiteX5" fmla="*/ 23691 w 25659"/>
                  <a:gd name="connsiteY5" fmla="*/ 12864 h 25660"/>
                  <a:gd name="connsiteX6" fmla="*/ 12837 w 25659"/>
                  <a:gd name="connsiteY6" fmla="*/ 1832 h 25660"/>
                  <a:gd name="connsiteX7" fmla="*/ 1982 w 25659"/>
                  <a:gd name="connsiteY7" fmla="*/ 12851 h 25660"/>
                  <a:gd name="connsiteX8" fmla="*/ 12782 w 25659"/>
                  <a:gd name="connsiteY8" fmla="*/ 23856 h 25660"/>
                  <a:gd name="connsiteX9" fmla="*/ 23691 w 25659"/>
                  <a:gd name="connsiteY9" fmla="*/ 12864 h 25660"/>
                  <a:gd name="connsiteX10" fmla="*/ 15585 w 25659"/>
                  <a:gd name="connsiteY10" fmla="*/ 14888 h 25660"/>
                  <a:gd name="connsiteX11" fmla="*/ 18811 w 25659"/>
                  <a:gd name="connsiteY11" fmla="*/ 19905 h 25660"/>
                  <a:gd name="connsiteX12" fmla="*/ 16678 w 25659"/>
                  <a:gd name="connsiteY12" fmla="*/ 19905 h 25660"/>
                  <a:gd name="connsiteX13" fmla="*/ 13097 w 25659"/>
                  <a:gd name="connsiteY13" fmla="*/ 14218 h 25660"/>
                  <a:gd name="connsiteX14" fmla="*/ 9829 w 25659"/>
                  <a:gd name="connsiteY14" fmla="*/ 14218 h 25660"/>
                  <a:gd name="connsiteX15" fmla="*/ 9829 w 25659"/>
                  <a:gd name="connsiteY15" fmla="*/ 19905 h 25660"/>
                  <a:gd name="connsiteX16" fmla="*/ 8038 w 25659"/>
                  <a:gd name="connsiteY16" fmla="*/ 19905 h 25660"/>
                  <a:gd name="connsiteX17" fmla="*/ 8038 w 25659"/>
                  <a:gd name="connsiteY17" fmla="*/ 5523 h 25660"/>
                  <a:gd name="connsiteX18" fmla="*/ 13616 w 25659"/>
                  <a:gd name="connsiteY18" fmla="*/ 5523 h 25660"/>
                  <a:gd name="connsiteX19" fmla="*/ 18155 w 25659"/>
                  <a:gd name="connsiteY19" fmla="*/ 9761 h 25660"/>
                  <a:gd name="connsiteX20" fmla="*/ 14887 w 25659"/>
                  <a:gd name="connsiteY20" fmla="*/ 13917 h 25660"/>
                  <a:gd name="connsiteX21" fmla="*/ 15585 w 25659"/>
                  <a:gd name="connsiteY21" fmla="*/ 14901 h 25660"/>
                  <a:gd name="connsiteX22" fmla="*/ 13015 w 25659"/>
                  <a:gd name="connsiteY22" fmla="*/ 12522 h 25660"/>
                  <a:gd name="connsiteX23" fmla="*/ 16282 w 25659"/>
                  <a:gd name="connsiteY23" fmla="*/ 9870 h 25660"/>
                  <a:gd name="connsiteX24" fmla="*/ 13657 w 25659"/>
                  <a:gd name="connsiteY24" fmla="*/ 7191 h 25660"/>
                  <a:gd name="connsiteX25" fmla="*/ 9816 w 25659"/>
                  <a:gd name="connsiteY25" fmla="*/ 7191 h 25660"/>
                  <a:gd name="connsiteX26" fmla="*/ 9816 w 25659"/>
                  <a:gd name="connsiteY26" fmla="*/ 12509 h 25660"/>
                  <a:gd name="connsiteX27" fmla="*/ 13015 w 25659"/>
                  <a:gd name="connsiteY27" fmla="*/ 12509 h 25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25659" h="25660">
                    <a:moveTo>
                      <a:pt x="25660" y="12810"/>
                    </a:moveTo>
                    <a:cubicBezTo>
                      <a:pt x="25660" y="19946"/>
                      <a:pt x="19946" y="25660"/>
                      <a:pt x="12782" y="25660"/>
                    </a:cubicBezTo>
                    <a:cubicBezTo>
                      <a:pt x="5619" y="25660"/>
                      <a:pt x="0" y="19891"/>
                      <a:pt x="0" y="12810"/>
                    </a:cubicBezTo>
                    <a:cubicBezTo>
                      <a:pt x="0" y="5728"/>
                      <a:pt x="5714" y="0"/>
                      <a:pt x="12823" y="0"/>
                    </a:cubicBezTo>
                    <a:cubicBezTo>
                      <a:pt x="19932" y="0"/>
                      <a:pt x="25646" y="5687"/>
                      <a:pt x="25646" y="12810"/>
                    </a:cubicBezTo>
                    <a:close/>
                    <a:moveTo>
                      <a:pt x="23691" y="12864"/>
                    </a:moveTo>
                    <a:cubicBezTo>
                      <a:pt x="23691" y="6712"/>
                      <a:pt x="18838" y="1832"/>
                      <a:pt x="12837" y="1832"/>
                    </a:cubicBezTo>
                    <a:cubicBezTo>
                      <a:pt x="6835" y="1832"/>
                      <a:pt x="1982" y="6658"/>
                      <a:pt x="1982" y="12851"/>
                    </a:cubicBezTo>
                    <a:cubicBezTo>
                      <a:pt x="1982" y="19043"/>
                      <a:pt x="6890" y="23856"/>
                      <a:pt x="12782" y="23856"/>
                    </a:cubicBezTo>
                    <a:cubicBezTo>
                      <a:pt x="18674" y="23856"/>
                      <a:pt x="23691" y="19002"/>
                      <a:pt x="23691" y="12864"/>
                    </a:cubicBezTo>
                    <a:close/>
                    <a:moveTo>
                      <a:pt x="15585" y="14888"/>
                    </a:moveTo>
                    <a:lnTo>
                      <a:pt x="18811" y="19905"/>
                    </a:lnTo>
                    <a:lnTo>
                      <a:pt x="16678" y="19905"/>
                    </a:lnTo>
                    <a:lnTo>
                      <a:pt x="13097" y="14218"/>
                    </a:lnTo>
                    <a:lnTo>
                      <a:pt x="9829" y="14218"/>
                    </a:lnTo>
                    <a:lnTo>
                      <a:pt x="9829" y="19905"/>
                    </a:lnTo>
                    <a:lnTo>
                      <a:pt x="8038" y="19905"/>
                    </a:lnTo>
                    <a:lnTo>
                      <a:pt x="8038" y="5523"/>
                    </a:lnTo>
                    <a:lnTo>
                      <a:pt x="13616" y="5523"/>
                    </a:lnTo>
                    <a:cubicBezTo>
                      <a:pt x="16364" y="5523"/>
                      <a:pt x="18155" y="6999"/>
                      <a:pt x="18155" y="9761"/>
                    </a:cubicBezTo>
                    <a:cubicBezTo>
                      <a:pt x="18155" y="11989"/>
                      <a:pt x="16801" y="13370"/>
                      <a:pt x="14887" y="13917"/>
                    </a:cubicBezTo>
                    <a:cubicBezTo>
                      <a:pt x="15147" y="14204"/>
                      <a:pt x="15407" y="14559"/>
                      <a:pt x="15585" y="14901"/>
                    </a:cubicBezTo>
                    <a:close/>
                    <a:moveTo>
                      <a:pt x="13015" y="12522"/>
                    </a:moveTo>
                    <a:cubicBezTo>
                      <a:pt x="15038" y="12522"/>
                      <a:pt x="16282" y="11565"/>
                      <a:pt x="16282" y="9870"/>
                    </a:cubicBezTo>
                    <a:cubicBezTo>
                      <a:pt x="16282" y="8175"/>
                      <a:pt x="15421" y="7191"/>
                      <a:pt x="13657" y="7191"/>
                    </a:cubicBezTo>
                    <a:lnTo>
                      <a:pt x="9816" y="7191"/>
                    </a:lnTo>
                    <a:lnTo>
                      <a:pt x="9816" y="12509"/>
                    </a:lnTo>
                    <a:lnTo>
                      <a:pt x="13015" y="12509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" name="Freeform: Shape 16">
                <a:extLst>
                  <a:ext uri="{FF2B5EF4-FFF2-40B4-BE49-F238E27FC236}">
                    <a16:creationId xmlns:a16="http://schemas.microsoft.com/office/drawing/2014/main" id="{E64A4E60-1B70-1CE3-050D-5A68EFCDB6BF}"/>
                  </a:ext>
                </a:extLst>
              </p:cNvPr>
              <p:cNvSpPr/>
              <p:nvPr/>
            </p:nvSpPr>
            <p:spPr>
              <a:xfrm>
                <a:off x="11620956" y="6472487"/>
                <a:ext cx="32932" cy="163721"/>
              </a:xfrm>
              <a:custGeom>
                <a:avLst/>
                <a:gdLst>
                  <a:gd name="connsiteX0" fmla="*/ 29830 w 32932"/>
                  <a:gd name="connsiteY0" fmla="*/ 0 h 163721"/>
                  <a:gd name="connsiteX1" fmla="*/ 32933 w 32932"/>
                  <a:gd name="connsiteY1" fmla="*/ 3103 h 163721"/>
                  <a:gd name="connsiteX2" fmla="*/ 32933 w 32932"/>
                  <a:gd name="connsiteY2" fmla="*/ 160618 h 163721"/>
                  <a:gd name="connsiteX3" fmla="*/ 29830 w 32932"/>
                  <a:gd name="connsiteY3" fmla="*/ 163722 h 163721"/>
                  <a:gd name="connsiteX4" fmla="*/ 3103 w 32932"/>
                  <a:gd name="connsiteY4" fmla="*/ 163722 h 163721"/>
                  <a:gd name="connsiteX5" fmla="*/ 0 w 32932"/>
                  <a:gd name="connsiteY5" fmla="*/ 160618 h 163721"/>
                  <a:gd name="connsiteX6" fmla="*/ 0 w 32932"/>
                  <a:gd name="connsiteY6" fmla="*/ 3103 h 163721"/>
                  <a:gd name="connsiteX7" fmla="*/ 3103 w 32932"/>
                  <a:gd name="connsiteY7" fmla="*/ 0 h 163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2932" h="163721">
                    <a:moveTo>
                      <a:pt x="29830" y="0"/>
                    </a:moveTo>
                    <a:cubicBezTo>
                      <a:pt x="31544" y="0"/>
                      <a:pt x="32933" y="1389"/>
                      <a:pt x="32933" y="3103"/>
                    </a:cubicBezTo>
                    <a:lnTo>
                      <a:pt x="32933" y="160618"/>
                    </a:lnTo>
                    <a:cubicBezTo>
                      <a:pt x="32933" y="162332"/>
                      <a:pt x="31543" y="163722"/>
                      <a:pt x="29830" y="163722"/>
                    </a:cubicBezTo>
                    <a:lnTo>
                      <a:pt x="3103" y="163722"/>
                    </a:lnTo>
                    <a:cubicBezTo>
                      <a:pt x="1389" y="163722"/>
                      <a:pt x="0" y="162332"/>
                      <a:pt x="0" y="160618"/>
                    </a:cubicBezTo>
                    <a:lnTo>
                      <a:pt x="0" y="3103"/>
                    </a:lnTo>
                    <a:cubicBezTo>
                      <a:pt x="0" y="1389"/>
                      <a:pt x="1389" y="0"/>
                      <a:pt x="3103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" name="Freeform: Shape 17">
                <a:extLst>
                  <a:ext uri="{FF2B5EF4-FFF2-40B4-BE49-F238E27FC236}">
                    <a16:creationId xmlns:a16="http://schemas.microsoft.com/office/drawing/2014/main" id="{47DB506A-795E-5317-7EB6-21AC630CF914}"/>
                  </a:ext>
                </a:extLst>
              </p:cNvPr>
              <p:cNvSpPr/>
              <p:nvPr/>
            </p:nvSpPr>
            <p:spPr>
              <a:xfrm>
                <a:off x="11488486" y="6472473"/>
                <a:ext cx="123638" cy="166086"/>
              </a:xfrm>
              <a:custGeom>
                <a:avLst/>
                <a:gdLst>
                  <a:gd name="connsiteX0" fmla="*/ 68737 w 123638"/>
                  <a:gd name="connsiteY0" fmla="*/ 44663 h 166086"/>
                  <a:gd name="connsiteX1" fmla="*/ 32947 w 123638"/>
                  <a:gd name="connsiteY1" fmla="*/ 62052 h 166086"/>
                  <a:gd name="connsiteX2" fmla="*/ 32947 w 123638"/>
                  <a:gd name="connsiteY2" fmla="*/ 3103 h 166086"/>
                  <a:gd name="connsiteX3" fmla="*/ 29843 w 123638"/>
                  <a:gd name="connsiteY3" fmla="*/ 0 h 166086"/>
                  <a:gd name="connsiteX4" fmla="*/ 3103 w 123638"/>
                  <a:gd name="connsiteY4" fmla="*/ 0 h 166086"/>
                  <a:gd name="connsiteX5" fmla="*/ 0 w 123638"/>
                  <a:gd name="connsiteY5" fmla="*/ 3103 h 166086"/>
                  <a:gd name="connsiteX6" fmla="*/ 0 w 123638"/>
                  <a:gd name="connsiteY6" fmla="*/ 160632 h 166086"/>
                  <a:gd name="connsiteX7" fmla="*/ 3103 w 123638"/>
                  <a:gd name="connsiteY7" fmla="*/ 163735 h 166086"/>
                  <a:gd name="connsiteX8" fmla="*/ 29843 w 123638"/>
                  <a:gd name="connsiteY8" fmla="*/ 163735 h 166086"/>
                  <a:gd name="connsiteX9" fmla="*/ 32947 w 123638"/>
                  <a:gd name="connsiteY9" fmla="*/ 160632 h 166086"/>
                  <a:gd name="connsiteX10" fmla="*/ 32947 w 123638"/>
                  <a:gd name="connsiteY10" fmla="*/ 149025 h 166086"/>
                  <a:gd name="connsiteX11" fmla="*/ 68983 w 123638"/>
                  <a:gd name="connsiteY11" fmla="*/ 166087 h 166086"/>
                  <a:gd name="connsiteX12" fmla="*/ 123638 w 123638"/>
                  <a:gd name="connsiteY12" fmla="*/ 105539 h 166086"/>
                  <a:gd name="connsiteX13" fmla="*/ 68750 w 123638"/>
                  <a:gd name="connsiteY13" fmla="*/ 44663 h 166086"/>
                  <a:gd name="connsiteX14" fmla="*/ 62188 w 123638"/>
                  <a:gd name="connsiteY14" fmla="*/ 135163 h 166086"/>
                  <a:gd name="connsiteX15" fmla="*/ 32947 w 123638"/>
                  <a:gd name="connsiteY15" fmla="*/ 105552 h 166086"/>
                  <a:gd name="connsiteX16" fmla="*/ 62188 w 123638"/>
                  <a:gd name="connsiteY16" fmla="*/ 76174 h 166086"/>
                  <a:gd name="connsiteX17" fmla="*/ 90965 w 123638"/>
                  <a:gd name="connsiteY17" fmla="*/ 105552 h 166086"/>
                  <a:gd name="connsiteX18" fmla="*/ 62188 w 123638"/>
                  <a:gd name="connsiteY18" fmla="*/ 135163 h 166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23638" h="166086">
                    <a:moveTo>
                      <a:pt x="68737" y="44663"/>
                    </a:moveTo>
                    <a:cubicBezTo>
                      <a:pt x="53535" y="44663"/>
                      <a:pt x="40889" y="51252"/>
                      <a:pt x="32947" y="62052"/>
                    </a:cubicBezTo>
                    <a:lnTo>
                      <a:pt x="32947" y="3103"/>
                    </a:lnTo>
                    <a:cubicBezTo>
                      <a:pt x="32947" y="1394"/>
                      <a:pt x="31552" y="0"/>
                      <a:pt x="29843" y="0"/>
                    </a:cubicBezTo>
                    <a:lnTo>
                      <a:pt x="3103" y="0"/>
                    </a:lnTo>
                    <a:cubicBezTo>
                      <a:pt x="1394" y="0"/>
                      <a:pt x="0" y="1394"/>
                      <a:pt x="0" y="3103"/>
                    </a:cubicBezTo>
                    <a:lnTo>
                      <a:pt x="0" y="160632"/>
                    </a:lnTo>
                    <a:cubicBezTo>
                      <a:pt x="0" y="162341"/>
                      <a:pt x="1394" y="163735"/>
                      <a:pt x="3103" y="163735"/>
                    </a:cubicBezTo>
                    <a:lnTo>
                      <a:pt x="29843" y="163735"/>
                    </a:lnTo>
                    <a:cubicBezTo>
                      <a:pt x="31552" y="163735"/>
                      <a:pt x="32947" y="162341"/>
                      <a:pt x="32947" y="160632"/>
                    </a:cubicBezTo>
                    <a:lnTo>
                      <a:pt x="32947" y="149025"/>
                    </a:lnTo>
                    <a:cubicBezTo>
                      <a:pt x="40903" y="159839"/>
                      <a:pt x="53535" y="166087"/>
                      <a:pt x="68983" y="166087"/>
                    </a:cubicBezTo>
                    <a:cubicBezTo>
                      <a:pt x="101505" y="166087"/>
                      <a:pt x="123638" y="139852"/>
                      <a:pt x="123638" y="105539"/>
                    </a:cubicBezTo>
                    <a:cubicBezTo>
                      <a:pt x="123638" y="71225"/>
                      <a:pt x="101505" y="44663"/>
                      <a:pt x="68750" y="44663"/>
                    </a:cubicBezTo>
                    <a:close/>
                    <a:moveTo>
                      <a:pt x="62188" y="135163"/>
                    </a:moveTo>
                    <a:cubicBezTo>
                      <a:pt x="45346" y="135163"/>
                      <a:pt x="32947" y="121533"/>
                      <a:pt x="32947" y="105552"/>
                    </a:cubicBezTo>
                    <a:cubicBezTo>
                      <a:pt x="32947" y="89571"/>
                      <a:pt x="45346" y="76174"/>
                      <a:pt x="62188" y="76174"/>
                    </a:cubicBezTo>
                    <a:cubicBezTo>
                      <a:pt x="79031" y="76174"/>
                      <a:pt x="90965" y="89571"/>
                      <a:pt x="90965" y="105552"/>
                    </a:cubicBezTo>
                    <a:cubicBezTo>
                      <a:pt x="90965" y="121533"/>
                      <a:pt x="78798" y="135163"/>
                      <a:pt x="62188" y="13516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" name="Freeform: Shape 18">
                <a:extLst>
                  <a:ext uri="{FF2B5EF4-FFF2-40B4-BE49-F238E27FC236}">
                    <a16:creationId xmlns:a16="http://schemas.microsoft.com/office/drawing/2014/main" id="{AF0FB4F8-09CE-7D33-E52E-8EE5783B2793}"/>
                  </a:ext>
                </a:extLst>
              </p:cNvPr>
              <p:cNvSpPr/>
              <p:nvPr/>
            </p:nvSpPr>
            <p:spPr>
              <a:xfrm>
                <a:off x="11359421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" name="Freeform: Shape 19">
                <a:extLst>
                  <a:ext uri="{FF2B5EF4-FFF2-40B4-BE49-F238E27FC236}">
                    <a16:creationId xmlns:a16="http://schemas.microsoft.com/office/drawing/2014/main" id="{291877BF-8FF0-8252-4989-F37BDB177D08}"/>
                  </a:ext>
                </a:extLst>
              </p:cNvPr>
              <p:cNvSpPr/>
              <p:nvPr/>
            </p:nvSpPr>
            <p:spPr>
              <a:xfrm>
                <a:off x="11662542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" name="Freeform: Shape 20">
                <a:extLst>
                  <a:ext uri="{FF2B5EF4-FFF2-40B4-BE49-F238E27FC236}">
                    <a16:creationId xmlns:a16="http://schemas.microsoft.com/office/drawing/2014/main" id="{3BDB1AE6-F745-AFE1-6D4A-8C592846121A}"/>
                  </a:ext>
                </a:extLst>
              </p:cNvPr>
              <p:cNvSpPr/>
              <p:nvPr/>
            </p:nvSpPr>
            <p:spPr>
              <a:xfrm>
                <a:off x="11122821" y="6519528"/>
                <a:ext cx="32932" cy="116680"/>
              </a:xfrm>
              <a:custGeom>
                <a:avLst/>
                <a:gdLst>
                  <a:gd name="connsiteX0" fmla="*/ 29843 w 32932"/>
                  <a:gd name="connsiteY0" fmla="*/ 116680 h 116680"/>
                  <a:gd name="connsiteX1" fmla="*/ 3103 w 32932"/>
                  <a:gd name="connsiteY1" fmla="*/ 116680 h 116680"/>
                  <a:gd name="connsiteX2" fmla="*/ 0 w 32932"/>
                  <a:gd name="connsiteY2" fmla="*/ 113577 h 116680"/>
                  <a:gd name="connsiteX3" fmla="*/ 0 w 32932"/>
                  <a:gd name="connsiteY3" fmla="*/ 30554 h 116680"/>
                  <a:gd name="connsiteX4" fmla="*/ 1859 w 32932"/>
                  <a:gd name="connsiteY4" fmla="*/ 26125 h 116680"/>
                  <a:gd name="connsiteX5" fmla="*/ 27670 w 32932"/>
                  <a:gd name="connsiteY5" fmla="*/ 888 h 116680"/>
                  <a:gd name="connsiteX6" fmla="*/ 32933 w 32932"/>
                  <a:gd name="connsiteY6" fmla="*/ 3103 h 116680"/>
                  <a:gd name="connsiteX7" fmla="*/ 32933 w 32932"/>
                  <a:gd name="connsiteY7" fmla="*/ 113577 h 116680"/>
                  <a:gd name="connsiteX8" fmla="*/ 29830 w 32932"/>
                  <a:gd name="connsiteY8" fmla="*/ 116680 h 116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932" h="116680">
                    <a:moveTo>
                      <a:pt x="29843" y="116680"/>
                    </a:moveTo>
                    <a:lnTo>
                      <a:pt x="3103" y="116680"/>
                    </a:lnTo>
                    <a:cubicBezTo>
                      <a:pt x="1394" y="116680"/>
                      <a:pt x="0" y="115286"/>
                      <a:pt x="0" y="113577"/>
                    </a:cubicBezTo>
                    <a:lnTo>
                      <a:pt x="0" y="30554"/>
                    </a:lnTo>
                    <a:cubicBezTo>
                      <a:pt x="0" y="28886"/>
                      <a:pt x="670" y="27287"/>
                      <a:pt x="1859" y="26125"/>
                    </a:cubicBezTo>
                    <a:lnTo>
                      <a:pt x="27670" y="888"/>
                    </a:lnTo>
                    <a:cubicBezTo>
                      <a:pt x="29638" y="-1026"/>
                      <a:pt x="32933" y="355"/>
                      <a:pt x="32933" y="3103"/>
                    </a:cubicBezTo>
                    <a:lnTo>
                      <a:pt x="32933" y="113577"/>
                    </a:lnTo>
                    <a:cubicBezTo>
                      <a:pt x="32933" y="115286"/>
                      <a:pt x="31538" y="116680"/>
                      <a:pt x="29830" y="11668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" name="Freeform: Shape 21">
                <a:extLst>
                  <a:ext uri="{FF2B5EF4-FFF2-40B4-BE49-F238E27FC236}">
                    <a16:creationId xmlns:a16="http://schemas.microsoft.com/office/drawing/2014/main" id="{0DC3A4A5-3595-C301-2374-5781804A8F16}"/>
                  </a:ext>
                </a:extLst>
              </p:cNvPr>
              <p:cNvSpPr/>
              <p:nvPr/>
            </p:nvSpPr>
            <p:spPr>
              <a:xfrm>
                <a:off x="11173074" y="6517105"/>
                <a:ext cx="107493" cy="119116"/>
              </a:xfrm>
              <a:custGeom>
                <a:avLst/>
                <a:gdLst>
                  <a:gd name="connsiteX0" fmla="*/ 107480 w 107493"/>
                  <a:gd name="connsiteY0" fmla="*/ 41877 h 119116"/>
                  <a:gd name="connsiteX1" fmla="*/ 65237 w 107493"/>
                  <a:gd name="connsiteY1" fmla="*/ 3 h 119116"/>
                  <a:gd name="connsiteX2" fmla="*/ 32947 w 107493"/>
                  <a:gd name="connsiteY2" fmla="*/ 17474 h 119116"/>
                  <a:gd name="connsiteX3" fmla="*/ 32947 w 107493"/>
                  <a:gd name="connsiteY3" fmla="*/ 5581 h 119116"/>
                  <a:gd name="connsiteX4" fmla="*/ 29843 w 107493"/>
                  <a:gd name="connsiteY4" fmla="*/ 2478 h 119116"/>
                  <a:gd name="connsiteX5" fmla="*/ 3103 w 107493"/>
                  <a:gd name="connsiteY5" fmla="*/ 2478 h 119116"/>
                  <a:gd name="connsiteX6" fmla="*/ 0 w 107493"/>
                  <a:gd name="connsiteY6" fmla="*/ 5581 h 119116"/>
                  <a:gd name="connsiteX7" fmla="*/ 0 w 107493"/>
                  <a:gd name="connsiteY7" fmla="*/ 116000 h 119116"/>
                  <a:gd name="connsiteX8" fmla="*/ 3103 w 107493"/>
                  <a:gd name="connsiteY8" fmla="*/ 119103 h 119116"/>
                  <a:gd name="connsiteX9" fmla="*/ 29843 w 107493"/>
                  <a:gd name="connsiteY9" fmla="*/ 119103 h 119116"/>
                  <a:gd name="connsiteX10" fmla="*/ 32947 w 107493"/>
                  <a:gd name="connsiteY10" fmla="*/ 116000 h 119116"/>
                  <a:gd name="connsiteX11" fmla="*/ 32947 w 107493"/>
                  <a:gd name="connsiteY11" fmla="*/ 51788 h 119116"/>
                  <a:gd name="connsiteX12" fmla="*/ 53740 w 107493"/>
                  <a:gd name="connsiteY12" fmla="*/ 31747 h 119116"/>
                  <a:gd name="connsiteX13" fmla="*/ 74547 w 107493"/>
                  <a:gd name="connsiteY13" fmla="*/ 53210 h 119116"/>
                  <a:gd name="connsiteX14" fmla="*/ 74547 w 107493"/>
                  <a:gd name="connsiteY14" fmla="*/ 116014 h 119116"/>
                  <a:gd name="connsiteX15" fmla="*/ 77650 w 107493"/>
                  <a:gd name="connsiteY15" fmla="*/ 119117 h 119116"/>
                  <a:gd name="connsiteX16" fmla="*/ 104390 w 107493"/>
                  <a:gd name="connsiteY16" fmla="*/ 119117 h 119116"/>
                  <a:gd name="connsiteX17" fmla="*/ 107493 w 107493"/>
                  <a:gd name="connsiteY17" fmla="*/ 116014 h 119116"/>
                  <a:gd name="connsiteX18" fmla="*/ 107493 w 107493"/>
                  <a:gd name="connsiteY18" fmla="*/ 41890 h 119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7493" h="119116">
                    <a:moveTo>
                      <a:pt x="107480" y="41877"/>
                    </a:moveTo>
                    <a:cubicBezTo>
                      <a:pt x="107480" y="19252"/>
                      <a:pt x="88792" y="277"/>
                      <a:pt x="65237" y="3"/>
                    </a:cubicBezTo>
                    <a:cubicBezTo>
                      <a:pt x="49912" y="-175"/>
                      <a:pt x="39563" y="7331"/>
                      <a:pt x="32947" y="17474"/>
                    </a:cubicBezTo>
                    <a:lnTo>
                      <a:pt x="32947" y="5581"/>
                    </a:lnTo>
                    <a:cubicBezTo>
                      <a:pt x="32947" y="3872"/>
                      <a:pt x="31552" y="2478"/>
                      <a:pt x="29843" y="2478"/>
                    </a:cubicBezTo>
                    <a:lnTo>
                      <a:pt x="3103" y="2478"/>
                    </a:lnTo>
                    <a:cubicBezTo>
                      <a:pt x="1394" y="2478"/>
                      <a:pt x="0" y="3872"/>
                      <a:pt x="0" y="5581"/>
                    </a:cubicBezTo>
                    <a:lnTo>
                      <a:pt x="0" y="116000"/>
                    </a:lnTo>
                    <a:cubicBezTo>
                      <a:pt x="0" y="117709"/>
                      <a:pt x="1394" y="119103"/>
                      <a:pt x="3103" y="119103"/>
                    </a:cubicBezTo>
                    <a:lnTo>
                      <a:pt x="29843" y="119103"/>
                    </a:lnTo>
                    <a:cubicBezTo>
                      <a:pt x="31552" y="119103"/>
                      <a:pt x="32947" y="117709"/>
                      <a:pt x="32947" y="116000"/>
                    </a:cubicBezTo>
                    <a:lnTo>
                      <a:pt x="32947" y="51788"/>
                    </a:lnTo>
                    <a:cubicBezTo>
                      <a:pt x="33685" y="39430"/>
                      <a:pt x="41518" y="31747"/>
                      <a:pt x="53740" y="31747"/>
                    </a:cubicBezTo>
                    <a:cubicBezTo>
                      <a:pt x="65961" y="31747"/>
                      <a:pt x="74547" y="40373"/>
                      <a:pt x="74547" y="53210"/>
                    </a:cubicBezTo>
                    <a:lnTo>
                      <a:pt x="74547" y="116014"/>
                    </a:lnTo>
                    <a:cubicBezTo>
                      <a:pt x="74547" y="117722"/>
                      <a:pt x="75941" y="119117"/>
                      <a:pt x="77650" y="119117"/>
                    </a:cubicBezTo>
                    <a:lnTo>
                      <a:pt x="104390" y="119117"/>
                    </a:lnTo>
                    <a:cubicBezTo>
                      <a:pt x="106099" y="119117"/>
                      <a:pt x="107493" y="117722"/>
                      <a:pt x="107493" y="116014"/>
                    </a:cubicBezTo>
                    <a:lnTo>
                      <a:pt x="107493" y="41890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9" name="Title 1">
            <a:extLst>
              <a:ext uri="{FF2B5EF4-FFF2-40B4-BE49-F238E27FC236}">
                <a16:creationId xmlns:a16="http://schemas.microsoft.com/office/drawing/2014/main" id="{78427D0C-CE13-1C0F-BBAE-1E23242190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978" y="297451"/>
            <a:ext cx="11118522" cy="630213"/>
          </a:xfrm>
          <a:prstGeom prst="rect">
            <a:avLst/>
          </a:prstGeom>
        </p:spPr>
        <p:txBody>
          <a:bodyPr anchor="b" anchorCtr="0"/>
          <a:lstStyle>
            <a:lvl1pPr>
              <a:defRPr sz="3400" b="1" i="0" cap="all" baseline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r>
              <a:rPr lang="en-US"/>
              <a:t>five-content layou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8CF8578C-BF09-C826-692C-5671BFD59A52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501983" y="898900"/>
            <a:ext cx="11118517" cy="397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kumimoji="0" lang="en-US" sz="2200" b="0" i="0" u="none" strike="noStrike" cap="all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Lato" panose="020F0502020204030203" pitchFamily="34" charset="77"/>
                <a:ea typeface="Roboto Slab" pitchFamily="2" charset="0"/>
                <a:cs typeface="Arial" panose="020B0604020202020204" pitchFamily="34" charset="0"/>
              </a:defRPr>
            </a:lvl1pPr>
          </a:lstStyle>
          <a:p>
            <a:pPr marL="228600" marR="0" lvl="0" indent="-22860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ubtitle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8A5C5A44-842F-9985-6658-BD057F440E5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93021" y="1798917"/>
            <a:ext cx="2064702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kumimoji="0" lang="en-US" sz="1600" b="1" i="0" u="none" strike="noStrike" cap="none" spc="0" normalizeH="0" baseline="0" dirty="0" smtClean="0">
                <a:ln>
                  <a:noFill/>
                </a:ln>
                <a:solidFill>
                  <a:srgbClr val="00BD4D"/>
                </a:solidFill>
                <a:effectLst/>
                <a:uLnTx/>
                <a:uFillTx/>
                <a:latin typeface="Lato" panose="020F0502020204030203" pitchFamily="34" charset="0"/>
                <a:ea typeface="Roboto Slab" pitchFamily="2" charset="0"/>
                <a:cs typeface="Arial" panose="020B0604020202020204" pitchFamily="34" charset="0"/>
              </a:defRPr>
            </a:lvl1pPr>
          </a:lstStyle>
          <a:p>
            <a:pPr marR="0" lvl="0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42" name="Text Placeholder 29">
            <a:extLst>
              <a:ext uri="{FF2B5EF4-FFF2-40B4-BE49-F238E27FC236}">
                <a16:creationId xmlns:a16="http://schemas.microsoft.com/office/drawing/2014/main" id="{04C46954-A91C-F09D-5021-C4FCBCD8251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832235" y="1798917"/>
            <a:ext cx="2064702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kumimoji="0" lang="en-US" sz="1600" b="1" i="0" u="none" strike="noStrike" cap="none" spc="0" normalizeH="0" baseline="0" dirty="0" smtClean="0">
                <a:ln>
                  <a:noFill/>
                </a:ln>
                <a:solidFill>
                  <a:srgbClr val="00BD4D"/>
                </a:solidFill>
                <a:effectLst/>
                <a:uLnTx/>
                <a:uFillTx/>
                <a:latin typeface="Lato" panose="020F0502020204030203" pitchFamily="34" charset="0"/>
                <a:ea typeface="Roboto Slab" pitchFamily="2" charset="0"/>
                <a:cs typeface="Arial" panose="020B0604020202020204" pitchFamily="34" charset="0"/>
              </a:defRPr>
            </a:lvl1pPr>
          </a:lstStyle>
          <a:p>
            <a:pPr marR="0" lvl="0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45" name="Text Placeholder 29">
            <a:extLst>
              <a:ext uri="{FF2B5EF4-FFF2-40B4-BE49-F238E27FC236}">
                <a16:creationId xmlns:a16="http://schemas.microsoft.com/office/drawing/2014/main" id="{72C1416A-D2D1-F2A5-3677-63EF87AEC802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071449" y="1798917"/>
            <a:ext cx="2064702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kumimoji="0" lang="en-US" sz="1600" b="1" i="0" u="none" strike="noStrike" cap="none" spc="0" normalizeH="0" baseline="0" dirty="0" smtClean="0">
                <a:ln>
                  <a:noFill/>
                </a:ln>
                <a:solidFill>
                  <a:srgbClr val="00BD4D"/>
                </a:solidFill>
                <a:effectLst/>
                <a:uLnTx/>
                <a:uFillTx/>
                <a:latin typeface="Lato" panose="020F0502020204030203" pitchFamily="34" charset="0"/>
                <a:ea typeface="Roboto Slab" pitchFamily="2" charset="0"/>
                <a:cs typeface="Arial" panose="020B0604020202020204" pitchFamily="34" charset="0"/>
              </a:defRPr>
            </a:lvl1pPr>
          </a:lstStyle>
          <a:p>
            <a:pPr marR="0" lvl="0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48" name="Text Placeholder 29">
            <a:extLst>
              <a:ext uri="{FF2B5EF4-FFF2-40B4-BE49-F238E27FC236}">
                <a16:creationId xmlns:a16="http://schemas.microsoft.com/office/drawing/2014/main" id="{EE84D08F-648D-B192-4FA8-E13D1E65CC7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7310663" y="1798917"/>
            <a:ext cx="2064702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kumimoji="0" lang="en-US" sz="1600" b="1" i="0" u="none" strike="noStrike" cap="none" spc="0" normalizeH="0" baseline="0" dirty="0" smtClean="0">
                <a:ln>
                  <a:noFill/>
                </a:ln>
                <a:solidFill>
                  <a:srgbClr val="00BD4D"/>
                </a:solidFill>
                <a:effectLst/>
                <a:uLnTx/>
                <a:uFillTx/>
                <a:latin typeface="Lato" panose="020F0502020204030203" pitchFamily="34" charset="0"/>
                <a:ea typeface="Roboto Slab" pitchFamily="2" charset="0"/>
                <a:cs typeface="Arial" panose="020B0604020202020204" pitchFamily="34" charset="0"/>
              </a:defRPr>
            </a:lvl1pPr>
          </a:lstStyle>
          <a:p>
            <a:pPr marR="0" lvl="0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51" name="Text Placeholder 29">
            <a:extLst>
              <a:ext uri="{FF2B5EF4-FFF2-40B4-BE49-F238E27FC236}">
                <a16:creationId xmlns:a16="http://schemas.microsoft.com/office/drawing/2014/main" id="{EE2BB71C-0985-EDD8-4A15-A29DAED0416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549878" y="1798917"/>
            <a:ext cx="2064702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kumimoji="0" lang="en-US" sz="1600" b="1" i="0" u="none" strike="noStrike" cap="none" spc="0" normalizeH="0" baseline="0" dirty="0" smtClean="0">
                <a:ln>
                  <a:noFill/>
                </a:ln>
                <a:solidFill>
                  <a:srgbClr val="00BD4D"/>
                </a:solidFill>
                <a:effectLst/>
                <a:uLnTx/>
                <a:uFillTx/>
                <a:latin typeface="Lato" panose="020F0502020204030203" pitchFamily="34" charset="0"/>
                <a:ea typeface="Roboto Slab" pitchFamily="2" charset="0"/>
                <a:cs typeface="Arial" panose="020B0604020202020204" pitchFamily="34" charset="0"/>
              </a:defRPr>
            </a:lvl1pPr>
          </a:lstStyle>
          <a:p>
            <a:pPr marR="0" lvl="0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54" name="Text Placeholder 51">
            <a:extLst>
              <a:ext uri="{FF2B5EF4-FFF2-40B4-BE49-F238E27FC236}">
                <a16:creationId xmlns:a16="http://schemas.microsoft.com/office/drawing/2014/main" id="{FE7AEDBF-9493-4D56-1FFE-CF82B3EB540B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93725" y="2728232"/>
            <a:ext cx="2098675" cy="3482065"/>
          </a:xfrm>
          <a:prstGeom prst="rect">
            <a:avLst/>
          </a:prstGeom>
        </p:spPr>
        <p:txBody>
          <a:bodyPr/>
          <a:lstStyle>
            <a:lvl1pPr marL="180000" indent="-180000">
              <a:spcBef>
                <a:spcPts val="1000"/>
              </a:spcBef>
              <a:buClr>
                <a:srgbClr val="00BD4D"/>
              </a:buClr>
              <a:defRPr sz="1400" b="0" i="0">
                <a:solidFill>
                  <a:schemeClr val="bg1"/>
                </a:solidFill>
                <a:latin typeface="Lato" panose="020F0502020204030203" pitchFamily="34" charset="77"/>
              </a:defRPr>
            </a:lvl1pPr>
            <a:lvl2pPr marL="360000" indent="-180000">
              <a:spcBef>
                <a:spcPts val="1000"/>
              </a:spcBef>
              <a:buClr>
                <a:srgbClr val="00BD4D"/>
              </a:buClr>
              <a:defRPr sz="1200" b="0" i="0">
                <a:solidFill>
                  <a:schemeClr val="bg1"/>
                </a:solidFill>
                <a:latin typeface="Lato" panose="020F0502020204030203" pitchFamily="34" charset="77"/>
              </a:defRPr>
            </a:lvl2pPr>
            <a:lvl3pPr marL="540000" indent="-180000">
              <a:spcBef>
                <a:spcPts val="1000"/>
              </a:spcBef>
              <a:buClr>
                <a:srgbClr val="00BD4D"/>
              </a:buClr>
              <a:defRPr sz="1100" b="0" i="0">
                <a:solidFill>
                  <a:schemeClr val="bg1"/>
                </a:solidFill>
                <a:latin typeface="Lato" panose="020F0502020204030203" pitchFamily="34" charset="77"/>
              </a:defRPr>
            </a:lvl3pPr>
            <a:lvl4pPr marL="720000" indent="-180000">
              <a:spcBef>
                <a:spcPts val="1000"/>
              </a:spcBef>
              <a:buClr>
                <a:srgbClr val="00BD4D"/>
              </a:buClr>
              <a:defRPr sz="1050" b="0" i="0">
                <a:solidFill>
                  <a:schemeClr val="bg1"/>
                </a:solidFill>
                <a:latin typeface="Lato" panose="020F0502020204030203" pitchFamily="34" charset="77"/>
              </a:defRPr>
            </a:lvl4pPr>
            <a:lvl5pPr marL="900000" indent="-180000">
              <a:spcBef>
                <a:spcPts val="1000"/>
              </a:spcBef>
              <a:buClr>
                <a:srgbClr val="00BD4D"/>
              </a:buClr>
              <a:defRPr sz="1050" b="0" i="0">
                <a:solidFill>
                  <a:schemeClr val="bg1"/>
                </a:solidFill>
                <a:latin typeface="Lato" panose="020F05020202040302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5" name="Text Placeholder 51">
            <a:extLst>
              <a:ext uri="{FF2B5EF4-FFF2-40B4-BE49-F238E27FC236}">
                <a16:creationId xmlns:a16="http://schemas.microsoft.com/office/drawing/2014/main" id="{484BAF97-4A34-66BC-BB7F-FE771A69222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2832235" y="2728232"/>
            <a:ext cx="2098675" cy="3482065"/>
          </a:xfrm>
          <a:prstGeom prst="rect">
            <a:avLst/>
          </a:prstGeom>
        </p:spPr>
        <p:txBody>
          <a:bodyPr/>
          <a:lstStyle>
            <a:lvl1pPr marL="180000" indent="-180000">
              <a:spcBef>
                <a:spcPts val="1000"/>
              </a:spcBef>
              <a:buClr>
                <a:srgbClr val="00BD4D"/>
              </a:buClr>
              <a:defRPr sz="1400" b="0" i="0">
                <a:solidFill>
                  <a:schemeClr val="bg1"/>
                </a:solidFill>
                <a:latin typeface="Lato" panose="020F0502020204030203" pitchFamily="34" charset="77"/>
              </a:defRPr>
            </a:lvl1pPr>
            <a:lvl2pPr marL="360000" indent="-180000">
              <a:spcBef>
                <a:spcPts val="1000"/>
              </a:spcBef>
              <a:buClr>
                <a:srgbClr val="00BD4D"/>
              </a:buClr>
              <a:defRPr sz="1200" b="0" i="0">
                <a:solidFill>
                  <a:schemeClr val="bg1"/>
                </a:solidFill>
                <a:latin typeface="Lato" panose="020F0502020204030203" pitchFamily="34" charset="77"/>
              </a:defRPr>
            </a:lvl2pPr>
            <a:lvl3pPr marL="540000" indent="-180000">
              <a:spcBef>
                <a:spcPts val="1000"/>
              </a:spcBef>
              <a:buClr>
                <a:srgbClr val="00BD4D"/>
              </a:buClr>
              <a:defRPr sz="1100" b="0" i="0">
                <a:solidFill>
                  <a:schemeClr val="bg1"/>
                </a:solidFill>
                <a:latin typeface="Lato" panose="020F0502020204030203" pitchFamily="34" charset="77"/>
              </a:defRPr>
            </a:lvl3pPr>
            <a:lvl4pPr marL="720000" indent="-180000">
              <a:spcBef>
                <a:spcPts val="1000"/>
              </a:spcBef>
              <a:buClr>
                <a:srgbClr val="00BD4D"/>
              </a:buClr>
              <a:defRPr sz="1050" b="0" i="0">
                <a:solidFill>
                  <a:schemeClr val="bg1"/>
                </a:solidFill>
                <a:latin typeface="Lato" panose="020F0502020204030203" pitchFamily="34" charset="77"/>
              </a:defRPr>
            </a:lvl4pPr>
            <a:lvl5pPr marL="900000" indent="-180000">
              <a:spcBef>
                <a:spcPts val="1000"/>
              </a:spcBef>
              <a:buClr>
                <a:srgbClr val="00BD4D"/>
              </a:buClr>
              <a:defRPr sz="1050" b="0" i="0">
                <a:solidFill>
                  <a:schemeClr val="bg1"/>
                </a:solidFill>
                <a:latin typeface="Lato" panose="020F05020202040302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6" name="Text Placeholder 51">
            <a:extLst>
              <a:ext uri="{FF2B5EF4-FFF2-40B4-BE49-F238E27FC236}">
                <a16:creationId xmlns:a16="http://schemas.microsoft.com/office/drawing/2014/main" id="{A5AC2F54-29DF-BBD3-B78B-A44D2CB34EDC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5070745" y="2728232"/>
            <a:ext cx="2098675" cy="3482065"/>
          </a:xfrm>
          <a:prstGeom prst="rect">
            <a:avLst/>
          </a:prstGeom>
        </p:spPr>
        <p:txBody>
          <a:bodyPr/>
          <a:lstStyle>
            <a:lvl1pPr marL="180000" indent="-180000">
              <a:spcBef>
                <a:spcPts val="1000"/>
              </a:spcBef>
              <a:buClr>
                <a:srgbClr val="00BD4D"/>
              </a:buClr>
              <a:defRPr sz="1400" b="0" i="0">
                <a:solidFill>
                  <a:schemeClr val="bg1"/>
                </a:solidFill>
                <a:latin typeface="Lato" panose="020F0502020204030203" pitchFamily="34" charset="77"/>
              </a:defRPr>
            </a:lvl1pPr>
            <a:lvl2pPr marL="360000" indent="-180000">
              <a:spcBef>
                <a:spcPts val="1000"/>
              </a:spcBef>
              <a:buClr>
                <a:srgbClr val="00BD4D"/>
              </a:buClr>
              <a:defRPr sz="1200" b="0" i="0">
                <a:solidFill>
                  <a:schemeClr val="bg1"/>
                </a:solidFill>
                <a:latin typeface="Lato" panose="020F0502020204030203" pitchFamily="34" charset="77"/>
              </a:defRPr>
            </a:lvl2pPr>
            <a:lvl3pPr marL="540000" indent="-180000">
              <a:spcBef>
                <a:spcPts val="1000"/>
              </a:spcBef>
              <a:buClr>
                <a:srgbClr val="00BD4D"/>
              </a:buClr>
              <a:defRPr sz="1100" b="0" i="0">
                <a:solidFill>
                  <a:schemeClr val="bg1"/>
                </a:solidFill>
                <a:latin typeface="Lato" panose="020F0502020204030203" pitchFamily="34" charset="77"/>
              </a:defRPr>
            </a:lvl3pPr>
            <a:lvl4pPr marL="720000" indent="-180000">
              <a:spcBef>
                <a:spcPts val="1000"/>
              </a:spcBef>
              <a:buClr>
                <a:srgbClr val="00BD4D"/>
              </a:buClr>
              <a:defRPr sz="1050" b="0" i="0">
                <a:solidFill>
                  <a:schemeClr val="bg1"/>
                </a:solidFill>
                <a:latin typeface="Lato" panose="020F0502020204030203" pitchFamily="34" charset="77"/>
              </a:defRPr>
            </a:lvl4pPr>
            <a:lvl5pPr marL="900000" indent="-180000">
              <a:spcBef>
                <a:spcPts val="1000"/>
              </a:spcBef>
              <a:buClr>
                <a:srgbClr val="00BD4D"/>
              </a:buClr>
              <a:defRPr sz="1050" b="0" i="0">
                <a:solidFill>
                  <a:schemeClr val="bg1"/>
                </a:solidFill>
                <a:latin typeface="Lato" panose="020F05020202040302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7" name="Text Placeholder 51">
            <a:extLst>
              <a:ext uri="{FF2B5EF4-FFF2-40B4-BE49-F238E27FC236}">
                <a16:creationId xmlns:a16="http://schemas.microsoft.com/office/drawing/2014/main" id="{D79D8419-1308-DBD1-4D43-4D9AE535A50E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309255" y="2728232"/>
            <a:ext cx="2098675" cy="3482065"/>
          </a:xfrm>
          <a:prstGeom prst="rect">
            <a:avLst/>
          </a:prstGeom>
        </p:spPr>
        <p:txBody>
          <a:bodyPr/>
          <a:lstStyle>
            <a:lvl1pPr marL="180000" indent="-180000">
              <a:spcBef>
                <a:spcPts val="1000"/>
              </a:spcBef>
              <a:buClr>
                <a:srgbClr val="00BD4D"/>
              </a:buClr>
              <a:defRPr sz="1400" b="0" i="0">
                <a:solidFill>
                  <a:schemeClr val="bg1"/>
                </a:solidFill>
                <a:latin typeface="Lato" panose="020F0502020204030203" pitchFamily="34" charset="77"/>
              </a:defRPr>
            </a:lvl1pPr>
            <a:lvl2pPr marL="360000" indent="-180000">
              <a:spcBef>
                <a:spcPts val="1000"/>
              </a:spcBef>
              <a:buClr>
                <a:srgbClr val="00BD4D"/>
              </a:buClr>
              <a:defRPr sz="1200" b="0" i="0">
                <a:solidFill>
                  <a:schemeClr val="bg1"/>
                </a:solidFill>
                <a:latin typeface="Lato" panose="020F0502020204030203" pitchFamily="34" charset="77"/>
              </a:defRPr>
            </a:lvl2pPr>
            <a:lvl3pPr marL="540000" indent="-180000">
              <a:spcBef>
                <a:spcPts val="1000"/>
              </a:spcBef>
              <a:buClr>
                <a:srgbClr val="00BD4D"/>
              </a:buClr>
              <a:defRPr sz="1100" b="0" i="0">
                <a:solidFill>
                  <a:schemeClr val="bg1"/>
                </a:solidFill>
                <a:latin typeface="Lato" panose="020F0502020204030203" pitchFamily="34" charset="77"/>
              </a:defRPr>
            </a:lvl3pPr>
            <a:lvl4pPr marL="720000" indent="-180000">
              <a:spcBef>
                <a:spcPts val="1000"/>
              </a:spcBef>
              <a:buClr>
                <a:srgbClr val="00BD4D"/>
              </a:buClr>
              <a:defRPr sz="1050" b="0" i="0">
                <a:solidFill>
                  <a:schemeClr val="bg1"/>
                </a:solidFill>
                <a:latin typeface="Lato" panose="020F0502020204030203" pitchFamily="34" charset="77"/>
              </a:defRPr>
            </a:lvl4pPr>
            <a:lvl5pPr marL="900000" indent="-180000">
              <a:spcBef>
                <a:spcPts val="1000"/>
              </a:spcBef>
              <a:buClr>
                <a:srgbClr val="00BD4D"/>
              </a:buClr>
              <a:defRPr sz="1050" b="0" i="0">
                <a:solidFill>
                  <a:schemeClr val="bg1"/>
                </a:solidFill>
                <a:latin typeface="Lato" panose="020F05020202040302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8" name="Text Placeholder 51">
            <a:extLst>
              <a:ext uri="{FF2B5EF4-FFF2-40B4-BE49-F238E27FC236}">
                <a16:creationId xmlns:a16="http://schemas.microsoft.com/office/drawing/2014/main" id="{CBE58029-43BD-E1CA-C262-285E4AFC63BC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9547765" y="2728232"/>
            <a:ext cx="2098675" cy="3482065"/>
          </a:xfrm>
          <a:prstGeom prst="rect">
            <a:avLst/>
          </a:prstGeom>
        </p:spPr>
        <p:txBody>
          <a:bodyPr/>
          <a:lstStyle>
            <a:lvl1pPr marL="180000" indent="-180000">
              <a:spcBef>
                <a:spcPts val="1000"/>
              </a:spcBef>
              <a:buClr>
                <a:srgbClr val="00BD4D"/>
              </a:buClr>
              <a:defRPr sz="1400" b="0" i="0">
                <a:solidFill>
                  <a:schemeClr val="bg1"/>
                </a:solidFill>
                <a:latin typeface="Lato" panose="020F0502020204030203" pitchFamily="34" charset="77"/>
              </a:defRPr>
            </a:lvl1pPr>
            <a:lvl2pPr marL="360000" indent="-180000">
              <a:spcBef>
                <a:spcPts val="1000"/>
              </a:spcBef>
              <a:buClr>
                <a:srgbClr val="00BD4D"/>
              </a:buClr>
              <a:defRPr sz="1200" b="0" i="0">
                <a:solidFill>
                  <a:schemeClr val="bg1"/>
                </a:solidFill>
                <a:latin typeface="Lato" panose="020F0502020204030203" pitchFamily="34" charset="77"/>
              </a:defRPr>
            </a:lvl2pPr>
            <a:lvl3pPr marL="540000" indent="-180000">
              <a:spcBef>
                <a:spcPts val="1000"/>
              </a:spcBef>
              <a:buClr>
                <a:srgbClr val="00BD4D"/>
              </a:buClr>
              <a:defRPr sz="1100" b="0" i="0">
                <a:solidFill>
                  <a:schemeClr val="bg1"/>
                </a:solidFill>
                <a:latin typeface="Lato" panose="020F0502020204030203" pitchFamily="34" charset="77"/>
              </a:defRPr>
            </a:lvl3pPr>
            <a:lvl4pPr marL="720000" indent="-180000">
              <a:spcBef>
                <a:spcPts val="1000"/>
              </a:spcBef>
              <a:buClr>
                <a:srgbClr val="00BD4D"/>
              </a:buClr>
              <a:defRPr sz="1050" b="0" i="0">
                <a:solidFill>
                  <a:schemeClr val="bg1"/>
                </a:solidFill>
                <a:latin typeface="Lato" panose="020F0502020204030203" pitchFamily="34" charset="77"/>
              </a:defRPr>
            </a:lvl4pPr>
            <a:lvl5pPr marL="900000" indent="-180000">
              <a:spcBef>
                <a:spcPts val="1000"/>
              </a:spcBef>
              <a:buClr>
                <a:srgbClr val="00BD4D"/>
              </a:buClr>
              <a:defRPr sz="1050" b="0" i="0">
                <a:solidFill>
                  <a:schemeClr val="bg1"/>
                </a:solidFill>
                <a:latin typeface="Lato" panose="020F05020202040302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D8D209F-F190-E71E-6480-1769135B3FDB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839" y="2497096"/>
            <a:ext cx="2064702" cy="2743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95E4AF4-2DEF-BDBB-F2BA-383B00CDB898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41629" y="2497096"/>
            <a:ext cx="2064702" cy="27432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404B4CBC-8665-88ED-FBF4-17A857ED950D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63649" y="2524528"/>
            <a:ext cx="2064702" cy="27432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431933F3-8DEB-73AC-A7CB-BE2059C6001E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09356" y="2497096"/>
            <a:ext cx="2064702" cy="27432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F1E80D37-E0B0-1A52-22D4-AA71A6DB996A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31188" y="2497096"/>
            <a:ext cx="2064702" cy="27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010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6A50CCC9-DFC5-F006-3765-D15E1F5327AE}"/>
              </a:ext>
            </a:extLst>
          </p:cNvPr>
          <p:cNvGrpSpPr/>
          <p:nvPr userDrawn="1"/>
        </p:nvGrpSpPr>
        <p:grpSpPr>
          <a:xfrm>
            <a:off x="11122821" y="6472473"/>
            <a:ext cx="799629" cy="166100"/>
            <a:chOff x="11122821" y="6472473"/>
            <a:chExt cx="799629" cy="166100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BC2EA8A1-D923-0FB0-51CC-49DE7C6CFB7C}"/>
                </a:ext>
              </a:extLst>
            </p:cNvPr>
            <p:cNvSpPr/>
            <p:nvPr/>
          </p:nvSpPr>
          <p:spPr>
            <a:xfrm rot="18900000">
              <a:off x="11134957" y="6473485"/>
              <a:ext cx="35147" cy="35147"/>
            </a:xfrm>
            <a:custGeom>
              <a:avLst/>
              <a:gdLst>
                <a:gd name="connsiteX0" fmla="*/ 32044 w 35147"/>
                <a:gd name="connsiteY0" fmla="*/ 0 h 35147"/>
                <a:gd name="connsiteX1" fmla="*/ 35148 w 35147"/>
                <a:gd name="connsiteY1" fmla="*/ 3103 h 35147"/>
                <a:gd name="connsiteX2" fmla="*/ 35148 w 35147"/>
                <a:gd name="connsiteY2" fmla="*/ 32044 h 35147"/>
                <a:gd name="connsiteX3" fmla="*/ 32044 w 35147"/>
                <a:gd name="connsiteY3" fmla="*/ 35148 h 35147"/>
                <a:gd name="connsiteX4" fmla="*/ 3103 w 35147"/>
                <a:gd name="connsiteY4" fmla="*/ 35148 h 35147"/>
                <a:gd name="connsiteX5" fmla="*/ 0 w 35147"/>
                <a:gd name="connsiteY5" fmla="*/ 32044 h 35147"/>
                <a:gd name="connsiteX6" fmla="*/ 0 w 35147"/>
                <a:gd name="connsiteY6" fmla="*/ 3103 h 35147"/>
                <a:gd name="connsiteX7" fmla="*/ 3103 w 35147"/>
                <a:gd name="connsiteY7" fmla="*/ 0 h 35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147" h="35147">
                  <a:moveTo>
                    <a:pt x="32044" y="0"/>
                  </a:moveTo>
                  <a:cubicBezTo>
                    <a:pt x="33758" y="0"/>
                    <a:pt x="35148" y="1389"/>
                    <a:pt x="35148" y="3103"/>
                  </a:cubicBezTo>
                  <a:lnTo>
                    <a:pt x="35148" y="32044"/>
                  </a:lnTo>
                  <a:cubicBezTo>
                    <a:pt x="35148" y="33758"/>
                    <a:pt x="33758" y="35148"/>
                    <a:pt x="32044" y="35148"/>
                  </a:cubicBezTo>
                  <a:lnTo>
                    <a:pt x="3103" y="35148"/>
                  </a:lnTo>
                  <a:cubicBezTo>
                    <a:pt x="1389" y="35148"/>
                    <a:pt x="0" y="33758"/>
                    <a:pt x="0" y="32044"/>
                  </a:cubicBezTo>
                  <a:lnTo>
                    <a:pt x="0" y="3103"/>
                  </a:lnTo>
                  <a:cubicBezTo>
                    <a:pt x="0" y="1389"/>
                    <a:pt x="1389" y="0"/>
                    <a:pt x="3103" y="0"/>
                  </a:cubicBezTo>
                  <a:close/>
                </a:path>
              </a:pathLst>
            </a:custGeom>
            <a:solidFill>
              <a:srgbClr val="00BD4D"/>
            </a:solidFill>
            <a:ln w="135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DF3634DF-8944-2E55-4DB8-A9BE74BFEBDE}"/>
                </a:ext>
              </a:extLst>
            </p:cNvPr>
            <p:cNvGrpSpPr/>
            <p:nvPr/>
          </p:nvGrpSpPr>
          <p:grpSpPr>
            <a:xfrm>
              <a:off x="11122821" y="6472473"/>
              <a:ext cx="799629" cy="166100"/>
              <a:chOff x="11122821" y="6472473"/>
              <a:chExt cx="799629" cy="166100"/>
            </a:xfrm>
            <a:solidFill>
              <a:schemeClr val="bg1"/>
            </a:solidFill>
          </p:grpSpPr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3DAAA96B-59DA-84CA-01A2-E9D210523DF3}"/>
                  </a:ext>
                </a:extLst>
              </p:cNvPr>
              <p:cNvSpPr/>
              <p:nvPr/>
            </p:nvSpPr>
            <p:spPr>
              <a:xfrm>
                <a:off x="11774281" y="6519597"/>
                <a:ext cx="119385" cy="116611"/>
              </a:xfrm>
              <a:custGeom>
                <a:avLst/>
                <a:gdLst>
                  <a:gd name="connsiteX0" fmla="*/ 82523 w 119385"/>
                  <a:gd name="connsiteY0" fmla="*/ 58306 h 116611"/>
                  <a:gd name="connsiteX1" fmla="*/ 118887 w 119385"/>
                  <a:gd name="connsiteY1" fmla="*/ 112265 h 116611"/>
                  <a:gd name="connsiteX2" fmla="*/ 116385 w 119385"/>
                  <a:gd name="connsiteY2" fmla="*/ 116612 h 116611"/>
                  <a:gd name="connsiteX3" fmla="*/ 85831 w 119385"/>
                  <a:gd name="connsiteY3" fmla="*/ 116612 h 116611"/>
                  <a:gd name="connsiteX4" fmla="*/ 80718 w 119385"/>
                  <a:gd name="connsiteY4" fmla="*/ 113919 h 116611"/>
                  <a:gd name="connsiteX5" fmla="*/ 59693 w 119385"/>
                  <a:gd name="connsiteY5" fmla="*/ 81751 h 116611"/>
                  <a:gd name="connsiteX6" fmla="*/ 38667 w 119385"/>
                  <a:gd name="connsiteY6" fmla="*/ 113919 h 116611"/>
                  <a:gd name="connsiteX7" fmla="*/ 33554 w 119385"/>
                  <a:gd name="connsiteY7" fmla="*/ 116612 h 116611"/>
                  <a:gd name="connsiteX8" fmla="*/ 3000 w 119385"/>
                  <a:gd name="connsiteY8" fmla="*/ 116612 h 116611"/>
                  <a:gd name="connsiteX9" fmla="*/ 498 w 119385"/>
                  <a:gd name="connsiteY9" fmla="*/ 112265 h 116611"/>
                  <a:gd name="connsiteX10" fmla="*/ 36753 w 119385"/>
                  <a:gd name="connsiteY10" fmla="*/ 58306 h 116611"/>
                  <a:gd name="connsiteX11" fmla="*/ 498 w 119385"/>
                  <a:gd name="connsiteY11" fmla="*/ 4347 h 116611"/>
                  <a:gd name="connsiteX12" fmla="*/ 3000 w 119385"/>
                  <a:gd name="connsiteY12" fmla="*/ 0 h 116611"/>
                  <a:gd name="connsiteX13" fmla="*/ 34853 w 119385"/>
                  <a:gd name="connsiteY13" fmla="*/ 0 h 116611"/>
                  <a:gd name="connsiteX14" fmla="*/ 37778 w 119385"/>
                  <a:gd name="connsiteY14" fmla="*/ 1449 h 116611"/>
                  <a:gd name="connsiteX15" fmla="*/ 59679 w 119385"/>
                  <a:gd name="connsiteY15" fmla="*/ 34806 h 116611"/>
                  <a:gd name="connsiteX16" fmla="*/ 80240 w 119385"/>
                  <a:gd name="connsiteY16" fmla="*/ 1463 h 116611"/>
                  <a:gd name="connsiteX17" fmla="*/ 83165 w 119385"/>
                  <a:gd name="connsiteY17" fmla="*/ 0 h 116611"/>
                  <a:gd name="connsiteX18" fmla="*/ 115333 w 119385"/>
                  <a:gd name="connsiteY18" fmla="*/ 0 h 116611"/>
                  <a:gd name="connsiteX19" fmla="*/ 117834 w 119385"/>
                  <a:gd name="connsiteY19" fmla="*/ 4334 h 116611"/>
                  <a:gd name="connsiteX20" fmla="*/ 82495 w 119385"/>
                  <a:gd name="connsiteY20" fmla="*/ 58306 h 116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19385" h="116611">
                    <a:moveTo>
                      <a:pt x="82523" y="58306"/>
                    </a:moveTo>
                    <a:lnTo>
                      <a:pt x="118887" y="112265"/>
                    </a:lnTo>
                    <a:cubicBezTo>
                      <a:pt x="120199" y="114124"/>
                      <a:pt x="118764" y="116612"/>
                      <a:pt x="116385" y="116612"/>
                    </a:cubicBezTo>
                    <a:lnTo>
                      <a:pt x="85831" y="116612"/>
                    </a:lnTo>
                    <a:cubicBezTo>
                      <a:pt x="83794" y="116612"/>
                      <a:pt x="81880" y="115600"/>
                      <a:pt x="80718" y="113919"/>
                    </a:cubicBezTo>
                    <a:lnTo>
                      <a:pt x="59693" y="81751"/>
                    </a:lnTo>
                    <a:lnTo>
                      <a:pt x="38667" y="113919"/>
                    </a:lnTo>
                    <a:cubicBezTo>
                      <a:pt x="37505" y="115600"/>
                      <a:pt x="35605" y="116612"/>
                      <a:pt x="33554" y="116612"/>
                    </a:cubicBezTo>
                    <a:lnTo>
                      <a:pt x="3000" y="116612"/>
                    </a:lnTo>
                    <a:cubicBezTo>
                      <a:pt x="621" y="116612"/>
                      <a:pt x="-814" y="114138"/>
                      <a:pt x="498" y="112265"/>
                    </a:cubicBezTo>
                    <a:lnTo>
                      <a:pt x="36753" y="58306"/>
                    </a:lnTo>
                    <a:lnTo>
                      <a:pt x="498" y="4347"/>
                    </a:lnTo>
                    <a:cubicBezTo>
                      <a:pt x="-814" y="2488"/>
                      <a:pt x="621" y="0"/>
                      <a:pt x="3000" y="0"/>
                    </a:cubicBezTo>
                    <a:lnTo>
                      <a:pt x="34853" y="0"/>
                    </a:lnTo>
                    <a:cubicBezTo>
                      <a:pt x="36042" y="0"/>
                      <a:pt x="37149" y="547"/>
                      <a:pt x="37778" y="1449"/>
                    </a:cubicBezTo>
                    <a:lnTo>
                      <a:pt x="59679" y="34806"/>
                    </a:lnTo>
                    <a:lnTo>
                      <a:pt x="80240" y="1463"/>
                    </a:lnTo>
                    <a:cubicBezTo>
                      <a:pt x="80855" y="561"/>
                      <a:pt x="81976" y="0"/>
                      <a:pt x="83165" y="0"/>
                    </a:cubicBezTo>
                    <a:lnTo>
                      <a:pt x="115333" y="0"/>
                    </a:lnTo>
                    <a:cubicBezTo>
                      <a:pt x="117711" y="0"/>
                      <a:pt x="119133" y="2474"/>
                      <a:pt x="117834" y="4334"/>
                    </a:cubicBezTo>
                    <a:lnTo>
                      <a:pt x="82495" y="58306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29A056FB-9267-15EF-8ECA-E467B7522CD5}"/>
                  </a:ext>
                </a:extLst>
              </p:cNvPr>
              <p:cNvSpPr/>
              <p:nvPr/>
            </p:nvSpPr>
            <p:spPr>
              <a:xfrm>
                <a:off x="11284928" y="6472473"/>
                <a:ext cx="78825" cy="163762"/>
              </a:xfrm>
              <a:custGeom>
                <a:avLst/>
                <a:gdLst>
                  <a:gd name="connsiteX0" fmla="*/ 75722 w 78825"/>
                  <a:gd name="connsiteY0" fmla="*/ 14 h 163762"/>
                  <a:gd name="connsiteX1" fmla="*/ 50377 w 78825"/>
                  <a:gd name="connsiteY1" fmla="*/ 14 h 163762"/>
                  <a:gd name="connsiteX2" fmla="*/ 43801 w 78825"/>
                  <a:gd name="connsiteY2" fmla="*/ 2734 h 163762"/>
                  <a:gd name="connsiteX3" fmla="*/ 19987 w 78825"/>
                  <a:gd name="connsiteY3" fmla="*/ 26549 h 163762"/>
                  <a:gd name="connsiteX4" fmla="*/ 17266 w 78825"/>
                  <a:gd name="connsiteY4" fmla="*/ 33124 h 163762"/>
                  <a:gd name="connsiteX5" fmla="*/ 17266 w 78825"/>
                  <a:gd name="connsiteY5" fmla="*/ 51867 h 163762"/>
                  <a:gd name="connsiteX6" fmla="*/ 3049 w 78825"/>
                  <a:gd name="connsiteY6" fmla="*/ 51867 h 163762"/>
                  <a:gd name="connsiteX7" fmla="*/ 0 w 78825"/>
                  <a:gd name="connsiteY7" fmla="*/ 54916 h 163762"/>
                  <a:gd name="connsiteX8" fmla="*/ 0 w 78825"/>
                  <a:gd name="connsiteY8" fmla="*/ 75955 h 163762"/>
                  <a:gd name="connsiteX9" fmla="*/ 3049 w 78825"/>
                  <a:gd name="connsiteY9" fmla="*/ 79004 h 163762"/>
                  <a:gd name="connsiteX10" fmla="*/ 17266 w 78825"/>
                  <a:gd name="connsiteY10" fmla="*/ 79004 h 163762"/>
                  <a:gd name="connsiteX11" fmla="*/ 17266 w 78825"/>
                  <a:gd name="connsiteY11" fmla="*/ 160659 h 163762"/>
                  <a:gd name="connsiteX12" fmla="*/ 20369 w 78825"/>
                  <a:gd name="connsiteY12" fmla="*/ 163763 h 163762"/>
                  <a:gd name="connsiteX13" fmla="*/ 47109 w 78825"/>
                  <a:gd name="connsiteY13" fmla="*/ 163763 h 163762"/>
                  <a:gd name="connsiteX14" fmla="*/ 50213 w 78825"/>
                  <a:gd name="connsiteY14" fmla="*/ 160659 h 163762"/>
                  <a:gd name="connsiteX15" fmla="*/ 50213 w 78825"/>
                  <a:gd name="connsiteY15" fmla="*/ 78990 h 163762"/>
                  <a:gd name="connsiteX16" fmla="*/ 71443 w 78825"/>
                  <a:gd name="connsiteY16" fmla="*/ 78990 h 163762"/>
                  <a:gd name="connsiteX17" fmla="*/ 74492 w 78825"/>
                  <a:gd name="connsiteY17" fmla="*/ 75941 h 163762"/>
                  <a:gd name="connsiteX18" fmla="*/ 74492 w 78825"/>
                  <a:gd name="connsiteY18" fmla="*/ 54902 h 163762"/>
                  <a:gd name="connsiteX19" fmla="*/ 71443 w 78825"/>
                  <a:gd name="connsiteY19" fmla="*/ 51853 h 163762"/>
                  <a:gd name="connsiteX20" fmla="*/ 50213 w 78825"/>
                  <a:gd name="connsiteY20" fmla="*/ 51853 h 163762"/>
                  <a:gd name="connsiteX21" fmla="*/ 50213 w 78825"/>
                  <a:gd name="connsiteY21" fmla="*/ 38565 h 163762"/>
                  <a:gd name="connsiteX22" fmla="*/ 59509 w 78825"/>
                  <a:gd name="connsiteY22" fmla="*/ 29269 h 163762"/>
                  <a:gd name="connsiteX23" fmla="*/ 75722 w 78825"/>
                  <a:gd name="connsiteY23" fmla="*/ 29269 h 163762"/>
                  <a:gd name="connsiteX24" fmla="*/ 78826 w 78825"/>
                  <a:gd name="connsiteY24" fmla="*/ 26166 h 163762"/>
                  <a:gd name="connsiteX25" fmla="*/ 78826 w 78825"/>
                  <a:gd name="connsiteY25" fmla="*/ 3103 h 163762"/>
                  <a:gd name="connsiteX26" fmla="*/ 75722 w 78825"/>
                  <a:gd name="connsiteY26" fmla="*/ 0 h 163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78825" h="163762">
                    <a:moveTo>
                      <a:pt x="75722" y="14"/>
                    </a:moveTo>
                    <a:lnTo>
                      <a:pt x="50377" y="14"/>
                    </a:lnTo>
                    <a:cubicBezTo>
                      <a:pt x="47916" y="14"/>
                      <a:pt x="45551" y="998"/>
                      <a:pt x="43801" y="2734"/>
                    </a:cubicBezTo>
                    <a:lnTo>
                      <a:pt x="19987" y="26549"/>
                    </a:lnTo>
                    <a:cubicBezTo>
                      <a:pt x="18237" y="28299"/>
                      <a:pt x="17266" y="30664"/>
                      <a:pt x="17266" y="33124"/>
                    </a:cubicBezTo>
                    <a:lnTo>
                      <a:pt x="17266" y="51867"/>
                    </a:lnTo>
                    <a:lnTo>
                      <a:pt x="3049" y="51867"/>
                    </a:lnTo>
                    <a:cubicBezTo>
                      <a:pt x="1367" y="51867"/>
                      <a:pt x="0" y="53234"/>
                      <a:pt x="0" y="54916"/>
                    </a:cubicBezTo>
                    <a:lnTo>
                      <a:pt x="0" y="75955"/>
                    </a:lnTo>
                    <a:cubicBezTo>
                      <a:pt x="0" y="77636"/>
                      <a:pt x="1367" y="79004"/>
                      <a:pt x="3049" y="79004"/>
                    </a:cubicBezTo>
                    <a:lnTo>
                      <a:pt x="17266" y="79004"/>
                    </a:lnTo>
                    <a:lnTo>
                      <a:pt x="17266" y="160659"/>
                    </a:lnTo>
                    <a:cubicBezTo>
                      <a:pt x="17266" y="162368"/>
                      <a:pt x="18661" y="163763"/>
                      <a:pt x="20369" y="163763"/>
                    </a:cubicBezTo>
                    <a:lnTo>
                      <a:pt x="47109" y="163763"/>
                    </a:lnTo>
                    <a:cubicBezTo>
                      <a:pt x="48818" y="163763"/>
                      <a:pt x="50213" y="162368"/>
                      <a:pt x="50213" y="160659"/>
                    </a:cubicBezTo>
                    <a:lnTo>
                      <a:pt x="50213" y="78990"/>
                    </a:lnTo>
                    <a:lnTo>
                      <a:pt x="71443" y="78990"/>
                    </a:lnTo>
                    <a:cubicBezTo>
                      <a:pt x="73125" y="78990"/>
                      <a:pt x="74492" y="77623"/>
                      <a:pt x="74492" y="75941"/>
                    </a:cubicBezTo>
                    <a:lnTo>
                      <a:pt x="74492" y="54902"/>
                    </a:lnTo>
                    <a:cubicBezTo>
                      <a:pt x="74492" y="53220"/>
                      <a:pt x="73125" y="51853"/>
                      <a:pt x="71443" y="51853"/>
                    </a:cubicBezTo>
                    <a:lnTo>
                      <a:pt x="50213" y="51853"/>
                    </a:lnTo>
                    <a:lnTo>
                      <a:pt x="50213" y="38565"/>
                    </a:lnTo>
                    <a:cubicBezTo>
                      <a:pt x="50213" y="33425"/>
                      <a:pt x="54382" y="29269"/>
                      <a:pt x="59509" y="29269"/>
                    </a:cubicBezTo>
                    <a:lnTo>
                      <a:pt x="75722" y="29269"/>
                    </a:lnTo>
                    <a:cubicBezTo>
                      <a:pt x="77431" y="29269"/>
                      <a:pt x="78826" y="27875"/>
                      <a:pt x="78826" y="26166"/>
                    </a:cubicBezTo>
                    <a:lnTo>
                      <a:pt x="78826" y="3103"/>
                    </a:lnTo>
                    <a:cubicBezTo>
                      <a:pt x="78826" y="1394"/>
                      <a:pt x="77431" y="0"/>
                      <a:pt x="75722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15EA11DF-A591-E967-C123-CF9FB8F9C59E}"/>
                  </a:ext>
                </a:extLst>
              </p:cNvPr>
              <p:cNvSpPr/>
              <p:nvPr/>
            </p:nvSpPr>
            <p:spPr>
              <a:xfrm>
                <a:off x="11896791" y="6612367"/>
                <a:ext cx="25659" cy="25660"/>
              </a:xfrm>
              <a:custGeom>
                <a:avLst/>
                <a:gdLst>
                  <a:gd name="connsiteX0" fmla="*/ 25660 w 25659"/>
                  <a:gd name="connsiteY0" fmla="*/ 12810 h 25660"/>
                  <a:gd name="connsiteX1" fmla="*/ 12782 w 25659"/>
                  <a:gd name="connsiteY1" fmla="*/ 25660 h 25660"/>
                  <a:gd name="connsiteX2" fmla="*/ 0 w 25659"/>
                  <a:gd name="connsiteY2" fmla="*/ 12810 h 25660"/>
                  <a:gd name="connsiteX3" fmla="*/ 12823 w 25659"/>
                  <a:gd name="connsiteY3" fmla="*/ 0 h 25660"/>
                  <a:gd name="connsiteX4" fmla="*/ 25646 w 25659"/>
                  <a:gd name="connsiteY4" fmla="*/ 12810 h 25660"/>
                  <a:gd name="connsiteX5" fmla="*/ 23691 w 25659"/>
                  <a:gd name="connsiteY5" fmla="*/ 12864 h 25660"/>
                  <a:gd name="connsiteX6" fmla="*/ 12837 w 25659"/>
                  <a:gd name="connsiteY6" fmla="*/ 1832 h 25660"/>
                  <a:gd name="connsiteX7" fmla="*/ 1982 w 25659"/>
                  <a:gd name="connsiteY7" fmla="*/ 12851 h 25660"/>
                  <a:gd name="connsiteX8" fmla="*/ 12782 w 25659"/>
                  <a:gd name="connsiteY8" fmla="*/ 23856 h 25660"/>
                  <a:gd name="connsiteX9" fmla="*/ 23691 w 25659"/>
                  <a:gd name="connsiteY9" fmla="*/ 12864 h 25660"/>
                  <a:gd name="connsiteX10" fmla="*/ 15585 w 25659"/>
                  <a:gd name="connsiteY10" fmla="*/ 14888 h 25660"/>
                  <a:gd name="connsiteX11" fmla="*/ 18811 w 25659"/>
                  <a:gd name="connsiteY11" fmla="*/ 19905 h 25660"/>
                  <a:gd name="connsiteX12" fmla="*/ 16678 w 25659"/>
                  <a:gd name="connsiteY12" fmla="*/ 19905 h 25660"/>
                  <a:gd name="connsiteX13" fmla="*/ 13097 w 25659"/>
                  <a:gd name="connsiteY13" fmla="*/ 14218 h 25660"/>
                  <a:gd name="connsiteX14" fmla="*/ 9829 w 25659"/>
                  <a:gd name="connsiteY14" fmla="*/ 14218 h 25660"/>
                  <a:gd name="connsiteX15" fmla="*/ 9829 w 25659"/>
                  <a:gd name="connsiteY15" fmla="*/ 19905 h 25660"/>
                  <a:gd name="connsiteX16" fmla="*/ 8038 w 25659"/>
                  <a:gd name="connsiteY16" fmla="*/ 19905 h 25660"/>
                  <a:gd name="connsiteX17" fmla="*/ 8038 w 25659"/>
                  <a:gd name="connsiteY17" fmla="*/ 5523 h 25660"/>
                  <a:gd name="connsiteX18" fmla="*/ 13616 w 25659"/>
                  <a:gd name="connsiteY18" fmla="*/ 5523 h 25660"/>
                  <a:gd name="connsiteX19" fmla="*/ 18155 w 25659"/>
                  <a:gd name="connsiteY19" fmla="*/ 9761 h 25660"/>
                  <a:gd name="connsiteX20" fmla="*/ 14887 w 25659"/>
                  <a:gd name="connsiteY20" fmla="*/ 13917 h 25660"/>
                  <a:gd name="connsiteX21" fmla="*/ 15585 w 25659"/>
                  <a:gd name="connsiteY21" fmla="*/ 14901 h 25660"/>
                  <a:gd name="connsiteX22" fmla="*/ 13015 w 25659"/>
                  <a:gd name="connsiteY22" fmla="*/ 12522 h 25660"/>
                  <a:gd name="connsiteX23" fmla="*/ 16282 w 25659"/>
                  <a:gd name="connsiteY23" fmla="*/ 9870 h 25660"/>
                  <a:gd name="connsiteX24" fmla="*/ 13657 w 25659"/>
                  <a:gd name="connsiteY24" fmla="*/ 7191 h 25660"/>
                  <a:gd name="connsiteX25" fmla="*/ 9816 w 25659"/>
                  <a:gd name="connsiteY25" fmla="*/ 7191 h 25660"/>
                  <a:gd name="connsiteX26" fmla="*/ 9816 w 25659"/>
                  <a:gd name="connsiteY26" fmla="*/ 12509 h 25660"/>
                  <a:gd name="connsiteX27" fmla="*/ 13015 w 25659"/>
                  <a:gd name="connsiteY27" fmla="*/ 12509 h 25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25659" h="25660">
                    <a:moveTo>
                      <a:pt x="25660" y="12810"/>
                    </a:moveTo>
                    <a:cubicBezTo>
                      <a:pt x="25660" y="19946"/>
                      <a:pt x="19946" y="25660"/>
                      <a:pt x="12782" y="25660"/>
                    </a:cubicBezTo>
                    <a:cubicBezTo>
                      <a:pt x="5619" y="25660"/>
                      <a:pt x="0" y="19891"/>
                      <a:pt x="0" y="12810"/>
                    </a:cubicBezTo>
                    <a:cubicBezTo>
                      <a:pt x="0" y="5728"/>
                      <a:pt x="5714" y="0"/>
                      <a:pt x="12823" y="0"/>
                    </a:cubicBezTo>
                    <a:cubicBezTo>
                      <a:pt x="19932" y="0"/>
                      <a:pt x="25646" y="5687"/>
                      <a:pt x="25646" y="12810"/>
                    </a:cubicBezTo>
                    <a:close/>
                    <a:moveTo>
                      <a:pt x="23691" y="12864"/>
                    </a:moveTo>
                    <a:cubicBezTo>
                      <a:pt x="23691" y="6712"/>
                      <a:pt x="18838" y="1832"/>
                      <a:pt x="12837" y="1832"/>
                    </a:cubicBezTo>
                    <a:cubicBezTo>
                      <a:pt x="6835" y="1832"/>
                      <a:pt x="1982" y="6658"/>
                      <a:pt x="1982" y="12851"/>
                    </a:cubicBezTo>
                    <a:cubicBezTo>
                      <a:pt x="1982" y="19043"/>
                      <a:pt x="6890" y="23856"/>
                      <a:pt x="12782" y="23856"/>
                    </a:cubicBezTo>
                    <a:cubicBezTo>
                      <a:pt x="18674" y="23856"/>
                      <a:pt x="23691" y="19002"/>
                      <a:pt x="23691" y="12864"/>
                    </a:cubicBezTo>
                    <a:close/>
                    <a:moveTo>
                      <a:pt x="15585" y="14888"/>
                    </a:moveTo>
                    <a:lnTo>
                      <a:pt x="18811" y="19905"/>
                    </a:lnTo>
                    <a:lnTo>
                      <a:pt x="16678" y="19905"/>
                    </a:lnTo>
                    <a:lnTo>
                      <a:pt x="13097" y="14218"/>
                    </a:lnTo>
                    <a:lnTo>
                      <a:pt x="9829" y="14218"/>
                    </a:lnTo>
                    <a:lnTo>
                      <a:pt x="9829" y="19905"/>
                    </a:lnTo>
                    <a:lnTo>
                      <a:pt x="8038" y="19905"/>
                    </a:lnTo>
                    <a:lnTo>
                      <a:pt x="8038" y="5523"/>
                    </a:lnTo>
                    <a:lnTo>
                      <a:pt x="13616" y="5523"/>
                    </a:lnTo>
                    <a:cubicBezTo>
                      <a:pt x="16364" y="5523"/>
                      <a:pt x="18155" y="6999"/>
                      <a:pt x="18155" y="9761"/>
                    </a:cubicBezTo>
                    <a:cubicBezTo>
                      <a:pt x="18155" y="11989"/>
                      <a:pt x="16801" y="13370"/>
                      <a:pt x="14887" y="13917"/>
                    </a:cubicBezTo>
                    <a:cubicBezTo>
                      <a:pt x="15147" y="14204"/>
                      <a:pt x="15407" y="14559"/>
                      <a:pt x="15585" y="14901"/>
                    </a:cubicBezTo>
                    <a:close/>
                    <a:moveTo>
                      <a:pt x="13015" y="12522"/>
                    </a:moveTo>
                    <a:cubicBezTo>
                      <a:pt x="15038" y="12522"/>
                      <a:pt x="16282" y="11565"/>
                      <a:pt x="16282" y="9870"/>
                    </a:cubicBezTo>
                    <a:cubicBezTo>
                      <a:pt x="16282" y="8175"/>
                      <a:pt x="15421" y="7191"/>
                      <a:pt x="13657" y="7191"/>
                    </a:cubicBezTo>
                    <a:lnTo>
                      <a:pt x="9816" y="7191"/>
                    </a:lnTo>
                    <a:lnTo>
                      <a:pt x="9816" y="12509"/>
                    </a:lnTo>
                    <a:lnTo>
                      <a:pt x="13015" y="12509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9829D235-C904-48F0-C491-85CEA6EF5CD6}"/>
                  </a:ext>
                </a:extLst>
              </p:cNvPr>
              <p:cNvSpPr/>
              <p:nvPr/>
            </p:nvSpPr>
            <p:spPr>
              <a:xfrm>
                <a:off x="11620956" y="6472487"/>
                <a:ext cx="32932" cy="163721"/>
              </a:xfrm>
              <a:custGeom>
                <a:avLst/>
                <a:gdLst>
                  <a:gd name="connsiteX0" fmla="*/ 29830 w 32932"/>
                  <a:gd name="connsiteY0" fmla="*/ 0 h 163721"/>
                  <a:gd name="connsiteX1" fmla="*/ 32933 w 32932"/>
                  <a:gd name="connsiteY1" fmla="*/ 3103 h 163721"/>
                  <a:gd name="connsiteX2" fmla="*/ 32933 w 32932"/>
                  <a:gd name="connsiteY2" fmla="*/ 160618 h 163721"/>
                  <a:gd name="connsiteX3" fmla="*/ 29830 w 32932"/>
                  <a:gd name="connsiteY3" fmla="*/ 163722 h 163721"/>
                  <a:gd name="connsiteX4" fmla="*/ 3103 w 32932"/>
                  <a:gd name="connsiteY4" fmla="*/ 163722 h 163721"/>
                  <a:gd name="connsiteX5" fmla="*/ 0 w 32932"/>
                  <a:gd name="connsiteY5" fmla="*/ 160618 h 163721"/>
                  <a:gd name="connsiteX6" fmla="*/ 0 w 32932"/>
                  <a:gd name="connsiteY6" fmla="*/ 3103 h 163721"/>
                  <a:gd name="connsiteX7" fmla="*/ 3103 w 32932"/>
                  <a:gd name="connsiteY7" fmla="*/ 0 h 163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2932" h="163721">
                    <a:moveTo>
                      <a:pt x="29830" y="0"/>
                    </a:moveTo>
                    <a:cubicBezTo>
                      <a:pt x="31544" y="0"/>
                      <a:pt x="32933" y="1389"/>
                      <a:pt x="32933" y="3103"/>
                    </a:cubicBezTo>
                    <a:lnTo>
                      <a:pt x="32933" y="160618"/>
                    </a:lnTo>
                    <a:cubicBezTo>
                      <a:pt x="32933" y="162332"/>
                      <a:pt x="31543" y="163722"/>
                      <a:pt x="29830" y="163722"/>
                    </a:cubicBezTo>
                    <a:lnTo>
                      <a:pt x="3103" y="163722"/>
                    </a:lnTo>
                    <a:cubicBezTo>
                      <a:pt x="1389" y="163722"/>
                      <a:pt x="0" y="162332"/>
                      <a:pt x="0" y="160618"/>
                    </a:cubicBezTo>
                    <a:lnTo>
                      <a:pt x="0" y="3103"/>
                    </a:lnTo>
                    <a:cubicBezTo>
                      <a:pt x="0" y="1389"/>
                      <a:pt x="1389" y="0"/>
                      <a:pt x="3103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54CAE4EE-536C-63EE-FCEA-713C1FB03339}"/>
                  </a:ext>
                </a:extLst>
              </p:cNvPr>
              <p:cNvSpPr/>
              <p:nvPr/>
            </p:nvSpPr>
            <p:spPr>
              <a:xfrm>
                <a:off x="11488486" y="6472473"/>
                <a:ext cx="123638" cy="166086"/>
              </a:xfrm>
              <a:custGeom>
                <a:avLst/>
                <a:gdLst>
                  <a:gd name="connsiteX0" fmla="*/ 68737 w 123638"/>
                  <a:gd name="connsiteY0" fmla="*/ 44663 h 166086"/>
                  <a:gd name="connsiteX1" fmla="*/ 32947 w 123638"/>
                  <a:gd name="connsiteY1" fmla="*/ 62052 h 166086"/>
                  <a:gd name="connsiteX2" fmla="*/ 32947 w 123638"/>
                  <a:gd name="connsiteY2" fmla="*/ 3103 h 166086"/>
                  <a:gd name="connsiteX3" fmla="*/ 29843 w 123638"/>
                  <a:gd name="connsiteY3" fmla="*/ 0 h 166086"/>
                  <a:gd name="connsiteX4" fmla="*/ 3103 w 123638"/>
                  <a:gd name="connsiteY4" fmla="*/ 0 h 166086"/>
                  <a:gd name="connsiteX5" fmla="*/ 0 w 123638"/>
                  <a:gd name="connsiteY5" fmla="*/ 3103 h 166086"/>
                  <a:gd name="connsiteX6" fmla="*/ 0 w 123638"/>
                  <a:gd name="connsiteY6" fmla="*/ 160632 h 166086"/>
                  <a:gd name="connsiteX7" fmla="*/ 3103 w 123638"/>
                  <a:gd name="connsiteY7" fmla="*/ 163735 h 166086"/>
                  <a:gd name="connsiteX8" fmla="*/ 29843 w 123638"/>
                  <a:gd name="connsiteY8" fmla="*/ 163735 h 166086"/>
                  <a:gd name="connsiteX9" fmla="*/ 32947 w 123638"/>
                  <a:gd name="connsiteY9" fmla="*/ 160632 h 166086"/>
                  <a:gd name="connsiteX10" fmla="*/ 32947 w 123638"/>
                  <a:gd name="connsiteY10" fmla="*/ 149025 h 166086"/>
                  <a:gd name="connsiteX11" fmla="*/ 68983 w 123638"/>
                  <a:gd name="connsiteY11" fmla="*/ 166087 h 166086"/>
                  <a:gd name="connsiteX12" fmla="*/ 123638 w 123638"/>
                  <a:gd name="connsiteY12" fmla="*/ 105539 h 166086"/>
                  <a:gd name="connsiteX13" fmla="*/ 68750 w 123638"/>
                  <a:gd name="connsiteY13" fmla="*/ 44663 h 166086"/>
                  <a:gd name="connsiteX14" fmla="*/ 62188 w 123638"/>
                  <a:gd name="connsiteY14" fmla="*/ 135163 h 166086"/>
                  <a:gd name="connsiteX15" fmla="*/ 32947 w 123638"/>
                  <a:gd name="connsiteY15" fmla="*/ 105552 h 166086"/>
                  <a:gd name="connsiteX16" fmla="*/ 62188 w 123638"/>
                  <a:gd name="connsiteY16" fmla="*/ 76174 h 166086"/>
                  <a:gd name="connsiteX17" fmla="*/ 90965 w 123638"/>
                  <a:gd name="connsiteY17" fmla="*/ 105552 h 166086"/>
                  <a:gd name="connsiteX18" fmla="*/ 62188 w 123638"/>
                  <a:gd name="connsiteY18" fmla="*/ 135163 h 166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23638" h="166086">
                    <a:moveTo>
                      <a:pt x="68737" y="44663"/>
                    </a:moveTo>
                    <a:cubicBezTo>
                      <a:pt x="53535" y="44663"/>
                      <a:pt x="40889" y="51252"/>
                      <a:pt x="32947" y="62052"/>
                    </a:cubicBezTo>
                    <a:lnTo>
                      <a:pt x="32947" y="3103"/>
                    </a:lnTo>
                    <a:cubicBezTo>
                      <a:pt x="32947" y="1394"/>
                      <a:pt x="31552" y="0"/>
                      <a:pt x="29843" y="0"/>
                    </a:cubicBezTo>
                    <a:lnTo>
                      <a:pt x="3103" y="0"/>
                    </a:lnTo>
                    <a:cubicBezTo>
                      <a:pt x="1394" y="0"/>
                      <a:pt x="0" y="1394"/>
                      <a:pt x="0" y="3103"/>
                    </a:cubicBezTo>
                    <a:lnTo>
                      <a:pt x="0" y="160632"/>
                    </a:lnTo>
                    <a:cubicBezTo>
                      <a:pt x="0" y="162341"/>
                      <a:pt x="1394" y="163735"/>
                      <a:pt x="3103" y="163735"/>
                    </a:cubicBezTo>
                    <a:lnTo>
                      <a:pt x="29843" y="163735"/>
                    </a:lnTo>
                    <a:cubicBezTo>
                      <a:pt x="31552" y="163735"/>
                      <a:pt x="32947" y="162341"/>
                      <a:pt x="32947" y="160632"/>
                    </a:cubicBezTo>
                    <a:lnTo>
                      <a:pt x="32947" y="149025"/>
                    </a:lnTo>
                    <a:cubicBezTo>
                      <a:pt x="40903" y="159839"/>
                      <a:pt x="53535" y="166087"/>
                      <a:pt x="68983" y="166087"/>
                    </a:cubicBezTo>
                    <a:cubicBezTo>
                      <a:pt x="101505" y="166087"/>
                      <a:pt x="123638" y="139852"/>
                      <a:pt x="123638" y="105539"/>
                    </a:cubicBezTo>
                    <a:cubicBezTo>
                      <a:pt x="123638" y="71225"/>
                      <a:pt x="101505" y="44663"/>
                      <a:pt x="68750" y="44663"/>
                    </a:cubicBezTo>
                    <a:close/>
                    <a:moveTo>
                      <a:pt x="62188" y="135163"/>
                    </a:moveTo>
                    <a:cubicBezTo>
                      <a:pt x="45346" y="135163"/>
                      <a:pt x="32947" y="121533"/>
                      <a:pt x="32947" y="105552"/>
                    </a:cubicBezTo>
                    <a:cubicBezTo>
                      <a:pt x="32947" y="89571"/>
                      <a:pt x="45346" y="76174"/>
                      <a:pt x="62188" y="76174"/>
                    </a:cubicBezTo>
                    <a:cubicBezTo>
                      <a:pt x="79031" y="76174"/>
                      <a:pt x="90965" y="89571"/>
                      <a:pt x="90965" y="105552"/>
                    </a:cubicBezTo>
                    <a:cubicBezTo>
                      <a:pt x="90965" y="121533"/>
                      <a:pt x="78798" y="135163"/>
                      <a:pt x="62188" y="13516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0BFC099B-4BE7-9762-88BD-56F2C02A984A}"/>
                  </a:ext>
                </a:extLst>
              </p:cNvPr>
              <p:cNvSpPr/>
              <p:nvPr/>
            </p:nvSpPr>
            <p:spPr>
              <a:xfrm>
                <a:off x="11359421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35D75CC2-74FF-9976-2602-0868DA4832CE}"/>
                  </a:ext>
                </a:extLst>
              </p:cNvPr>
              <p:cNvSpPr/>
              <p:nvPr/>
            </p:nvSpPr>
            <p:spPr>
              <a:xfrm>
                <a:off x="11662542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8A746B35-F8ED-DE90-9324-DD9F3770DAEA}"/>
                  </a:ext>
                </a:extLst>
              </p:cNvPr>
              <p:cNvSpPr/>
              <p:nvPr/>
            </p:nvSpPr>
            <p:spPr>
              <a:xfrm>
                <a:off x="11122821" y="6519528"/>
                <a:ext cx="32932" cy="116680"/>
              </a:xfrm>
              <a:custGeom>
                <a:avLst/>
                <a:gdLst>
                  <a:gd name="connsiteX0" fmla="*/ 29843 w 32932"/>
                  <a:gd name="connsiteY0" fmla="*/ 116680 h 116680"/>
                  <a:gd name="connsiteX1" fmla="*/ 3103 w 32932"/>
                  <a:gd name="connsiteY1" fmla="*/ 116680 h 116680"/>
                  <a:gd name="connsiteX2" fmla="*/ 0 w 32932"/>
                  <a:gd name="connsiteY2" fmla="*/ 113577 h 116680"/>
                  <a:gd name="connsiteX3" fmla="*/ 0 w 32932"/>
                  <a:gd name="connsiteY3" fmla="*/ 30554 h 116680"/>
                  <a:gd name="connsiteX4" fmla="*/ 1859 w 32932"/>
                  <a:gd name="connsiteY4" fmla="*/ 26125 h 116680"/>
                  <a:gd name="connsiteX5" fmla="*/ 27670 w 32932"/>
                  <a:gd name="connsiteY5" fmla="*/ 888 h 116680"/>
                  <a:gd name="connsiteX6" fmla="*/ 32933 w 32932"/>
                  <a:gd name="connsiteY6" fmla="*/ 3103 h 116680"/>
                  <a:gd name="connsiteX7" fmla="*/ 32933 w 32932"/>
                  <a:gd name="connsiteY7" fmla="*/ 113577 h 116680"/>
                  <a:gd name="connsiteX8" fmla="*/ 29830 w 32932"/>
                  <a:gd name="connsiteY8" fmla="*/ 116680 h 116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932" h="116680">
                    <a:moveTo>
                      <a:pt x="29843" y="116680"/>
                    </a:moveTo>
                    <a:lnTo>
                      <a:pt x="3103" y="116680"/>
                    </a:lnTo>
                    <a:cubicBezTo>
                      <a:pt x="1394" y="116680"/>
                      <a:pt x="0" y="115286"/>
                      <a:pt x="0" y="113577"/>
                    </a:cubicBezTo>
                    <a:lnTo>
                      <a:pt x="0" y="30554"/>
                    </a:lnTo>
                    <a:cubicBezTo>
                      <a:pt x="0" y="28886"/>
                      <a:pt x="670" y="27287"/>
                      <a:pt x="1859" y="26125"/>
                    </a:cubicBezTo>
                    <a:lnTo>
                      <a:pt x="27670" y="888"/>
                    </a:lnTo>
                    <a:cubicBezTo>
                      <a:pt x="29638" y="-1026"/>
                      <a:pt x="32933" y="355"/>
                      <a:pt x="32933" y="3103"/>
                    </a:cubicBezTo>
                    <a:lnTo>
                      <a:pt x="32933" y="113577"/>
                    </a:lnTo>
                    <a:cubicBezTo>
                      <a:pt x="32933" y="115286"/>
                      <a:pt x="31538" y="116680"/>
                      <a:pt x="29830" y="11668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4C06C4EE-E3AC-5D21-4E55-975E3F91D068}"/>
                  </a:ext>
                </a:extLst>
              </p:cNvPr>
              <p:cNvSpPr/>
              <p:nvPr/>
            </p:nvSpPr>
            <p:spPr>
              <a:xfrm>
                <a:off x="11173074" y="6517105"/>
                <a:ext cx="107493" cy="119116"/>
              </a:xfrm>
              <a:custGeom>
                <a:avLst/>
                <a:gdLst>
                  <a:gd name="connsiteX0" fmla="*/ 107480 w 107493"/>
                  <a:gd name="connsiteY0" fmla="*/ 41877 h 119116"/>
                  <a:gd name="connsiteX1" fmla="*/ 65237 w 107493"/>
                  <a:gd name="connsiteY1" fmla="*/ 3 h 119116"/>
                  <a:gd name="connsiteX2" fmla="*/ 32947 w 107493"/>
                  <a:gd name="connsiteY2" fmla="*/ 17474 h 119116"/>
                  <a:gd name="connsiteX3" fmla="*/ 32947 w 107493"/>
                  <a:gd name="connsiteY3" fmla="*/ 5581 h 119116"/>
                  <a:gd name="connsiteX4" fmla="*/ 29843 w 107493"/>
                  <a:gd name="connsiteY4" fmla="*/ 2478 h 119116"/>
                  <a:gd name="connsiteX5" fmla="*/ 3103 w 107493"/>
                  <a:gd name="connsiteY5" fmla="*/ 2478 h 119116"/>
                  <a:gd name="connsiteX6" fmla="*/ 0 w 107493"/>
                  <a:gd name="connsiteY6" fmla="*/ 5581 h 119116"/>
                  <a:gd name="connsiteX7" fmla="*/ 0 w 107493"/>
                  <a:gd name="connsiteY7" fmla="*/ 116000 h 119116"/>
                  <a:gd name="connsiteX8" fmla="*/ 3103 w 107493"/>
                  <a:gd name="connsiteY8" fmla="*/ 119103 h 119116"/>
                  <a:gd name="connsiteX9" fmla="*/ 29843 w 107493"/>
                  <a:gd name="connsiteY9" fmla="*/ 119103 h 119116"/>
                  <a:gd name="connsiteX10" fmla="*/ 32947 w 107493"/>
                  <a:gd name="connsiteY10" fmla="*/ 116000 h 119116"/>
                  <a:gd name="connsiteX11" fmla="*/ 32947 w 107493"/>
                  <a:gd name="connsiteY11" fmla="*/ 51788 h 119116"/>
                  <a:gd name="connsiteX12" fmla="*/ 53740 w 107493"/>
                  <a:gd name="connsiteY12" fmla="*/ 31747 h 119116"/>
                  <a:gd name="connsiteX13" fmla="*/ 74547 w 107493"/>
                  <a:gd name="connsiteY13" fmla="*/ 53210 h 119116"/>
                  <a:gd name="connsiteX14" fmla="*/ 74547 w 107493"/>
                  <a:gd name="connsiteY14" fmla="*/ 116014 h 119116"/>
                  <a:gd name="connsiteX15" fmla="*/ 77650 w 107493"/>
                  <a:gd name="connsiteY15" fmla="*/ 119117 h 119116"/>
                  <a:gd name="connsiteX16" fmla="*/ 104390 w 107493"/>
                  <a:gd name="connsiteY16" fmla="*/ 119117 h 119116"/>
                  <a:gd name="connsiteX17" fmla="*/ 107493 w 107493"/>
                  <a:gd name="connsiteY17" fmla="*/ 116014 h 119116"/>
                  <a:gd name="connsiteX18" fmla="*/ 107493 w 107493"/>
                  <a:gd name="connsiteY18" fmla="*/ 41890 h 119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7493" h="119116">
                    <a:moveTo>
                      <a:pt x="107480" y="41877"/>
                    </a:moveTo>
                    <a:cubicBezTo>
                      <a:pt x="107480" y="19252"/>
                      <a:pt x="88792" y="277"/>
                      <a:pt x="65237" y="3"/>
                    </a:cubicBezTo>
                    <a:cubicBezTo>
                      <a:pt x="49912" y="-175"/>
                      <a:pt x="39563" y="7331"/>
                      <a:pt x="32947" y="17474"/>
                    </a:cubicBezTo>
                    <a:lnTo>
                      <a:pt x="32947" y="5581"/>
                    </a:lnTo>
                    <a:cubicBezTo>
                      <a:pt x="32947" y="3872"/>
                      <a:pt x="31552" y="2478"/>
                      <a:pt x="29843" y="2478"/>
                    </a:cubicBezTo>
                    <a:lnTo>
                      <a:pt x="3103" y="2478"/>
                    </a:lnTo>
                    <a:cubicBezTo>
                      <a:pt x="1394" y="2478"/>
                      <a:pt x="0" y="3872"/>
                      <a:pt x="0" y="5581"/>
                    </a:cubicBezTo>
                    <a:lnTo>
                      <a:pt x="0" y="116000"/>
                    </a:lnTo>
                    <a:cubicBezTo>
                      <a:pt x="0" y="117709"/>
                      <a:pt x="1394" y="119103"/>
                      <a:pt x="3103" y="119103"/>
                    </a:cubicBezTo>
                    <a:lnTo>
                      <a:pt x="29843" y="119103"/>
                    </a:lnTo>
                    <a:cubicBezTo>
                      <a:pt x="31552" y="119103"/>
                      <a:pt x="32947" y="117709"/>
                      <a:pt x="32947" y="116000"/>
                    </a:cubicBezTo>
                    <a:lnTo>
                      <a:pt x="32947" y="51788"/>
                    </a:lnTo>
                    <a:cubicBezTo>
                      <a:pt x="33685" y="39430"/>
                      <a:pt x="41518" y="31747"/>
                      <a:pt x="53740" y="31747"/>
                    </a:cubicBezTo>
                    <a:cubicBezTo>
                      <a:pt x="65961" y="31747"/>
                      <a:pt x="74547" y="40373"/>
                      <a:pt x="74547" y="53210"/>
                    </a:cubicBezTo>
                    <a:lnTo>
                      <a:pt x="74547" y="116014"/>
                    </a:lnTo>
                    <a:cubicBezTo>
                      <a:pt x="74547" y="117722"/>
                      <a:pt x="75941" y="119117"/>
                      <a:pt x="77650" y="119117"/>
                    </a:cubicBezTo>
                    <a:lnTo>
                      <a:pt x="104390" y="119117"/>
                    </a:lnTo>
                    <a:cubicBezTo>
                      <a:pt x="106099" y="119117"/>
                      <a:pt x="107493" y="117722"/>
                      <a:pt x="107493" y="116014"/>
                    </a:cubicBezTo>
                    <a:lnTo>
                      <a:pt x="107493" y="41890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3" name="Graphic 2">
            <a:extLst>
              <a:ext uri="{FF2B5EF4-FFF2-40B4-BE49-F238E27FC236}">
                <a16:creationId xmlns:a16="http://schemas.microsoft.com/office/drawing/2014/main" id="{FEA4C8F9-E98F-41EA-1D33-C4F7B51D7E5E}"/>
              </a:ext>
            </a:extLst>
          </p:cNvPr>
          <p:cNvPicPr>
            <a:picLocks noChangeAspect="1"/>
          </p:cNvPicPr>
          <p:nvPr userDrawn="1"/>
        </p:nvPicPr>
        <p:blipFill rotWithShape="1">
          <a:blip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 l="8254" t="15450" r="22093"/>
          <a:stretch/>
        </p:blipFill>
        <p:spPr>
          <a:xfrm rot="16200000">
            <a:off x="733398" y="-733400"/>
            <a:ext cx="6858001" cy="8324797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D884C427-EDCD-7DC1-255B-E6BEA6796A80}"/>
              </a:ext>
            </a:extLst>
          </p:cNvPr>
          <p:cNvSpPr/>
          <p:nvPr/>
        </p:nvSpPr>
        <p:spPr>
          <a:xfrm>
            <a:off x="486228" y="1886854"/>
            <a:ext cx="2627834" cy="4354286"/>
          </a:xfrm>
          <a:prstGeom prst="roundRect">
            <a:avLst>
              <a:gd name="adj" fmla="val 4152"/>
            </a:avLst>
          </a:prstGeom>
          <a:solidFill>
            <a:schemeClr val="bg1"/>
          </a:solidFill>
          <a:ln>
            <a:noFill/>
          </a:ln>
          <a:effectLst>
            <a:outerShdw blurRad="330200" dist="152400" dir="8100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b="0" i="0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6E4AAFC2-2002-28D1-B318-44A6AC5584D0}"/>
              </a:ext>
            </a:extLst>
          </p:cNvPr>
          <p:cNvSpPr/>
          <p:nvPr/>
        </p:nvSpPr>
        <p:spPr>
          <a:xfrm>
            <a:off x="3350131" y="1886854"/>
            <a:ext cx="2627834" cy="4354286"/>
          </a:xfrm>
          <a:prstGeom prst="roundRect">
            <a:avLst>
              <a:gd name="adj" fmla="val 4152"/>
            </a:avLst>
          </a:prstGeom>
          <a:solidFill>
            <a:schemeClr val="bg1"/>
          </a:solidFill>
          <a:ln>
            <a:noFill/>
          </a:ln>
          <a:effectLst>
            <a:outerShdw blurRad="330200" dist="152400" dir="8100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b="0" i="0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0ACC636C-5190-D1C2-A1FC-E7E1A3723AA9}"/>
              </a:ext>
            </a:extLst>
          </p:cNvPr>
          <p:cNvSpPr/>
          <p:nvPr/>
        </p:nvSpPr>
        <p:spPr>
          <a:xfrm>
            <a:off x="6214035" y="1886854"/>
            <a:ext cx="2627834" cy="4354286"/>
          </a:xfrm>
          <a:prstGeom prst="roundRect">
            <a:avLst>
              <a:gd name="adj" fmla="val 4152"/>
            </a:avLst>
          </a:prstGeom>
          <a:solidFill>
            <a:schemeClr val="bg1"/>
          </a:solidFill>
          <a:ln>
            <a:noFill/>
          </a:ln>
          <a:effectLst>
            <a:outerShdw blurRad="330200" dist="152400" dir="8100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b="0" i="0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104A8F1E-F08A-FD27-5B82-A7867C85AC5D}"/>
              </a:ext>
            </a:extLst>
          </p:cNvPr>
          <p:cNvSpPr/>
          <p:nvPr/>
        </p:nvSpPr>
        <p:spPr>
          <a:xfrm>
            <a:off x="9077939" y="1886854"/>
            <a:ext cx="2627834" cy="4354286"/>
          </a:xfrm>
          <a:prstGeom prst="roundRect">
            <a:avLst>
              <a:gd name="adj" fmla="val 4152"/>
            </a:avLst>
          </a:prstGeom>
          <a:solidFill>
            <a:schemeClr val="bg1"/>
          </a:solidFill>
          <a:ln>
            <a:noFill/>
          </a:ln>
          <a:effectLst>
            <a:outerShdw blurRad="330200" dist="152400" dir="8100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b="0" i="0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47BC16F-7A86-8C7C-AA29-ADFB654F0B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978" y="292371"/>
            <a:ext cx="11118522" cy="630213"/>
          </a:xfrm>
          <a:prstGeom prst="rect">
            <a:avLst/>
          </a:prstGeom>
        </p:spPr>
        <p:txBody>
          <a:bodyPr anchor="b" anchorCtr="0"/>
          <a:lstStyle>
            <a:lvl1pPr>
              <a:defRPr lang="en-US" sz="3400" b="1" i="0" cap="all" baseline="0" dirty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pPr lvl="0"/>
            <a:r>
              <a:rPr lang="en-US"/>
              <a:t>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BDECCE9-C6A7-8E54-48EB-B0339C467CC0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501983" y="1005580"/>
            <a:ext cx="11118517" cy="397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kumimoji="0" lang="en-US" sz="2200" b="0" i="0" u="none" strike="noStrike" cap="all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Lato" panose="020F0502020204030203" pitchFamily="34" charset="77"/>
                <a:ea typeface="Roboto Slab" pitchFamily="2" charset="0"/>
                <a:cs typeface="Arial" panose="020B0604020202020204" pitchFamily="34" charset="0"/>
              </a:defRPr>
            </a:lvl1pPr>
          </a:lstStyle>
          <a:p>
            <a:pPr marL="228600" marR="0" lvl="0" indent="-22860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52D1FCC-E646-8438-DBBC-127464B397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88895" y="3022600"/>
            <a:ext cx="2222500" cy="2997199"/>
          </a:xfrm>
          <a:prstGeom prst="rect">
            <a:avLst/>
          </a:prstGeom>
        </p:spPr>
        <p:txBody>
          <a:bodyPr/>
          <a:lstStyle>
            <a:lvl1pPr marL="180000" indent="-180000">
              <a:buClr>
                <a:srgbClr val="00BD4D"/>
              </a:buClr>
              <a:defRPr sz="1600" b="0" i="0">
                <a:latin typeface="Lato" panose="020F0502020204030203" pitchFamily="34" charset="77"/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A959B9C0-A3A6-E084-3D16-FD3C48DFA17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88895" y="2129971"/>
            <a:ext cx="2222500" cy="549729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00BD4D"/>
              </a:buClr>
              <a:buNone/>
              <a:defRPr sz="1800" b="1">
                <a:solidFill>
                  <a:srgbClr val="00BD4D"/>
                </a:solidFill>
                <a:latin typeface="Lato" panose="020F0502020204030203" pitchFamily="34" charset="0"/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F83A6ED9-15D8-AC61-787E-3E8532B816F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552798" y="3022600"/>
            <a:ext cx="2222500" cy="2997199"/>
          </a:xfrm>
          <a:prstGeom prst="rect">
            <a:avLst/>
          </a:prstGeom>
        </p:spPr>
        <p:txBody>
          <a:bodyPr/>
          <a:lstStyle>
            <a:lvl1pPr marL="180000" indent="-180000">
              <a:buClr>
                <a:srgbClr val="00BD4D"/>
              </a:buClr>
              <a:defRPr sz="1600" b="0" i="0">
                <a:latin typeface="Lato" panose="020F0502020204030203" pitchFamily="34" charset="77"/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607DD6AB-0642-E26E-8B34-D15FE387683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552798" y="2129971"/>
            <a:ext cx="2222500" cy="549729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00BD4D"/>
              </a:buClr>
              <a:buNone/>
              <a:defRPr sz="1800" b="1">
                <a:solidFill>
                  <a:srgbClr val="00BD4D"/>
                </a:solidFill>
                <a:latin typeface="Lato" panose="020F0502020204030203" pitchFamily="34" charset="0"/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661FAF63-3D63-6A34-C7C3-953622E7F5C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416702" y="3022600"/>
            <a:ext cx="2222500" cy="2997199"/>
          </a:xfrm>
          <a:prstGeom prst="rect">
            <a:avLst/>
          </a:prstGeom>
        </p:spPr>
        <p:txBody>
          <a:bodyPr/>
          <a:lstStyle>
            <a:lvl1pPr marL="180000" indent="-180000">
              <a:buClr>
                <a:srgbClr val="00BD4D"/>
              </a:buClr>
              <a:defRPr sz="1600" b="0" i="0">
                <a:latin typeface="Lato" panose="020F0502020204030203" pitchFamily="34" charset="77"/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44E40A9C-972F-4F06-CA9F-E94481041D7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16702" y="2129971"/>
            <a:ext cx="2222500" cy="549729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00BD4D"/>
              </a:buClr>
              <a:buNone/>
              <a:defRPr sz="1800" b="1">
                <a:solidFill>
                  <a:srgbClr val="00BD4D"/>
                </a:solidFill>
                <a:latin typeface="Lato" panose="020F0502020204030203" pitchFamily="34" charset="0"/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51594098-3F9F-8D4C-3C24-0FF1029C6CE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280606" y="3022600"/>
            <a:ext cx="2222500" cy="2997199"/>
          </a:xfrm>
          <a:prstGeom prst="rect">
            <a:avLst/>
          </a:prstGeom>
        </p:spPr>
        <p:txBody>
          <a:bodyPr/>
          <a:lstStyle>
            <a:lvl1pPr marL="180000" indent="-180000">
              <a:buClr>
                <a:srgbClr val="00BD4D"/>
              </a:buClr>
              <a:defRPr sz="1600" b="0" i="0">
                <a:latin typeface="Lato" panose="020F0502020204030203" pitchFamily="34" charset="77"/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21A41D9A-87F5-D93A-D88E-A3AFA3357A5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280606" y="2129971"/>
            <a:ext cx="2222500" cy="549729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00BD4D"/>
              </a:buClr>
              <a:buNone/>
              <a:defRPr sz="1800" b="1">
                <a:solidFill>
                  <a:srgbClr val="00BD4D"/>
                </a:solidFill>
                <a:latin typeface="Lato" panose="020F0502020204030203" pitchFamily="34" charset="0"/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77172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raphic 8">
            <a:extLst>
              <a:ext uri="{FF2B5EF4-FFF2-40B4-BE49-F238E27FC236}">
                <a16:creationId xmlns:a16="http://schemas.microsoft.com/office/drawing/2014/main" id="{728B79A7-1FC9-B1EA-35B4-4C7C486F3D36}"/>
              </a:ext>
            </a:extLst>
          </p:cNvPr>
          <p:cNvSpPr/>
          <p:nvPr userDrawn="1"/>
        </p:nvSpPr>
        <p:spPr>
          <a:xfrm>
            <a:off x="-1721645" y="-333829"/>
            <a:ext cx="7525662" cy="7525660"/>
          </a:xfrm>
          <a:custGeom>
            <a:avLst/>
            <a:gdLst>
              <a:gd name="connsiteX0" fmla="*/ 3985217 w 4062497"/>
              <a:gd name="connsiteY0" fmla="*/ 1844654 h 4062497"/>
              <a:gd name="connsiteX1" fmla="*/ 2217844 w 4062497"/>
              <a:gd name="connsiteY1" fmla="*/ 77281 h 4062497"/>
              <a:gd name="connsiteX2" fmla="*/ 1844654 w 4062497"/>
              <a:gd name="connsiteY2" fmla="*/ 77281 h 4062497"/>
              <a:gd name="connsiteX3" fmla="*/ 77281 w 4062497"/>
              <a:gd name="connsiteY3" fmla="*/ 1844654 h 4062497"/>
              <a:gd name="connsiteX4" fmla="*/ 77281 w 4062497"/>
              <a:gd name="connsiteY4" fmla="*/ 2217844 h 4062497"/>
              <a:gd name="connsiteX5" fmla="*/ 1844654 w 4062497"/>
              <a:gd name="connsiteY5" fmla="*/ 3985217 h 4062497"/>
              <a:gd name="connsiteX6" fmla="*/ 2217844 w 4062497"/>
              <a:gd name="connsiteY6" fmla="*/ 3985217 h 4062497"/>
              <a:gd name="connsiteX7" fmla="*/ 3985217 w 4062497"/>
              <a:gd name="connsiteY7" fmla="*/ 2217844 h 4062497"/>
              <a:gd name="connsiteX8" fmla="*/ 3985217 w 4062497"/>
              <a:gd name="connsiteY8" fmla="*/ 1844654 h 4062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2497" h="4062497">
                <a:moveTo>
                  <a:pt x="3985217" y="1844654"/>
                </a:moveTo>
                <a:lnTo>
                  <a:pt x="2217844" y="77281"/>
                </a:lnTo>
                <a:cubicBezTo>
                  <a:pt x="2114803" y="-25760"/>
                  <a:pt x="1947695" y="-25760"/>
                  <a:pt x="1844654" y="77281"/>
                </a:cubicBezTo>
                <a:lnTo>
                  <a:pt x="77281" y="1844654"/>
                </a:lnTo>
                <a:cubicBezTo>
                  <a:pt x="-25760" y="1947695"/>
                  <a:pt x="-25760" y="2114803"/>
                  <a:pt x="77281" y="2217844"/>
                </a:cubicBezTo>
                <a:lnTo>
                  <a:pt x="1844654" y="3985217"/>
                </a:lnTo>
                <a:cubicBezTo>
                  <a:pt x="1947695" y="4088258"/>
                  <a:pt x="2114803" y="4088258"/>
                  <a:pt x="2217844" y="3985217"/>
                </a:cubicBezTo>
                <a:lnTo>
                  <a:pt x="3985217" y="2217844"/>
                </a:lnTo>
                <a:cubicBezTo>
                  <a:pt x="4088258" y="2114803"/>
                  <a:pt x="4088258" y="1947695"/>
                  <a:pt x="3985217" y="1844654"/>
                </a:cubicBezTo>
                <a:close/>
              </a:path>
            </a:pathLst>
          </a:custGeom>
          <a:gradFill>
            <a:gsLst>
              <a:gs pos="12000">
                <a:srgbClr val="D9E1E2">
                  <a:alpha val="30000"/>
                </a:srgbClr>
              </a:gs>
              <a:gs pos="74000">
                <a:srgbClr val="D9E1E2">
                  <a:alpha val="0"/>
                </a:srgbClr>
              </a:gs>
            </a:gsLst>
            <a:lin ang="8100000" scaled="1"/>
          </a:gradFill>
          <a:ln w="685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3B1043-9C7B-996E-7BE9-55659C66C4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21791" y="556542"/>
            <a:ext cx="5118666" cy="5570749"/>
          </a:xfrm>
          <a:prstGeom prst="rect">
            <a:avLst/>
          </a:prstGeom>
        </p:spPr>
        <p:txBody>
          <a:bodyPr anchor="ctr"/>
          <a:lstStyle>
            <a:lvl1pPr marL="216000" indent="-216000">
              <a:buClr>
                <a:srgbClr val="00BD4D"/>
              </a:buClr>
              <a:defRPr sz="2000" b="0" i="0">
                <a:solidFill>
                  <a:schemeClr val="bg1"/>
                </a:solidFill>
                <a:latin typeface="Lato" panose="020F0502020204030203" pitchFamily="34" charset="77"/>
              </a:defRPr>
            </a:lvl1pPr>
            <a:lvl2pPr marL="432000" indent="-216000">
              <a:buClr>
                <a:srgbClr val="00BD4D"/>
              </a:buClr>
              <a:defRPr sz="1800" b="0" i="0">
                <a:solidFill>
                  <a:schemeClr val="bg1"/>
                </a:solidFill>
                <a:latin typeface="Lato" panose="020F0502020204030203" pitchFamily="34" charset="77"/>
              </a:defRPr>
            </a:lvl2pPr>
            <a:lvl3pPr marL="648000" indent="-216000">
              <a:buClr>
                <a:srgbClr val="00BD4D"/>
              </a:buClr>
              <a:defRPr sz="1600" b="0" i="0">
                <a:solidFill>
                  <a:schemeClr val="bg1"/>
                </a:solidFill>
                <a:latin typeface="Lato" panose="020F0502020204030203" pitchFamily="34" charset="77"/>
              </a:defRPr>
            </a:lvl3pPr>
            <a:lvl4pPr marL="864000" indent="-216000">
              <a:buClr>
                <a:srgbClr val="00BD4D"/>
              </a:buClr>
              <a:defRPr sz="1400" b="0" i="0">
                <a:solidFill>
                  <a:schemeClr val="bg1"/>
                </a:solidFill>
                <a:latin typeface="Lato" panose="020F0502020204030203" pitchFamily="34" charset="77"/>
              </a:defRPr>
            </a:lvl4pPr>
            <a:lvl5pPr marL="1080000" indent="-216000">
              <a:buClr>
                <a:srgbClr val="00BD4D"/>
              </a:buClr>
              <a:defRPr sz="1400" b="0" i="0">
                <a:solidFill>
                  <a:schemeClr val="bg1"/>
                </a:solidFill>
                <a:latin typeface="Lato" panose="020F05020202040302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B9BF0004-8B0B-8DD2-247D-E461D525439B}"/>
              </a:ext>
            </a:extLst>
          </p:cNvPr>
          <p:cNvGrpSpPr/>
          <p:nvPr userDrawn="1"/>
        </p:nvGrpSpPr>
        <p:grpSpPr>
          <a:xfrm>
            <a:off x="11122821" y="6472473"/>
            <a:ext cx="799629" cy="166100"/>
            <a:chOff x="11122821" y="6472473"/>
            <a:chExt cx="799629" cy="166100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9BE3A933-8A69-E5B8-44DA-DD51F20E509C}"/>
                </a:ext>
              </a:extLst>
            </p:cNvPr>
            <p:cNvSpPr/>
            <p:nvPr/>
          </p:nvSpPr>
          <p:spPr>
            <a:xfrm rot="18900000">
              <a:off x="11134957" y="6473485"/>
              <a:ext cx="35147" cy="35147"/>
            </a:xfrm>
            <a:custGeom>
              <a:avLst/>
              <a:gdLst>
                <a:gd name="connsiteX0" fmla="*/ 32044 w 35147"/>
                <a:gd name="connsiteY0" fmla="*/ 0 h 35147"/>
                <a:gd name="connsiteX1" fmla="*/ 35148 w 35147"/>
                <a:gd name="connsiteY1" fmla="*/ 3103 h 35147"/>
                <a:gd name="connsiteX2" fmla="*/ 35148 w 35147"/>
                <a:gd name="connsiteY2" fmla="*/ 32044 h 35147"/>
                <a:gd name="connsiteX3" fmla="*/ 32044 w 35147"/>
                <a:gd name="connsiteY3" fmla="*/ 35148 h 35147"/>
                <a:gd name="connsiteX4" fmla="*/ 3103 w 35147"/>
                <a:gd name="connsiteY4" fmla="*/ 35148 h 35147"/>
                <a:gd name="connsiteX5" fmla="*/ 0 w 35147"/>
                <a:gd name="connsiteY5" fmla="*/ 32044 h 35147"/>
                <a:gd name="connsiteX6" fmla="*/ 0 w 35147"/>
                <a:gd name="connsiteY6" fmla="*/ 3103 h 35147"/>
                <a:gd name="connsiteX7" fmla="*/ 3103 w 35147"/>
                <a:gd name="connsiteY7" fmla="*/ 0 h 35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147" h="35147">
                  <a:moveTo>
                    <a:pt x="32044" y="0"/>
                  </a:moveTo>
                  <a:cubicBezTo>
                    <a:pt x="33758" y="0"/>
                    <a:pt x="35148" y="1389"/>
                    <a:pt x="35148" y="3103"/>
                  </a:cubicBezTo>
                  <a:lnTo>
                    <a:pt x="35148" y="32044"/>
                  </a:lnTo>
                  <a:cubicBezTo>
                    <a:pt x="35148" y="33758"/>
                    <a:pt x="33758" y="35148"/>
                    <a:pt x="32044" y="35148"/>
                  </a:cubicBezTo>
                  <a:lnTo>
                    <a:pt x="3103" y="35148"/>
                  </a:lnTo>
                  <a:cubicBezTo>
                    <a:pt x="1389" y="35148"/>
                    <a:pt x="0" y="33758"/>
                    <a:pt x="0" y="32044"/>
                  </a:cubicBezTo>
                  <a:lnTo>
                    <a:pt x="0" y="3103"/>
                  </a:lnTo>
                  <a:cubicBezTo>
                    <a:pt x="0" y="1389"/>
                    <a:pt x="1389" y="0"/>
                    <a:pt x="3103" y="0"/>
                  </a:cubicBezTo>
                  <a:close/>
                </a:path>
              </a:pathLst>
            </a:custGeom>
            <a:solidFill>
              <a:srgbClr val="00BD4D"/>
            </a:solidFill>
            <a:ln w="135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2319E8B0-8A94-1E73-DB2D-6DF32304A285}"/>
                </a:ext>
              </a:extLst>
            </p:cNvPr>
            <p:cNvGrpSpPr/>
            <p:nvPr/>
          </p:nvGrpSpPr>
          <p:grpSpPr>
            <a:xfrm>
              <a:off x="11122821" y="6472473"/>
              <a:ext cx="799629" cy="166100"/>
              <a:chOff x="11122821" y="6472473"/>
              <a:chExt cx="799629" cy="166100"/>
            </a:xfrm>
            <a:solidFill>
              <a:schemeClr val="bg1"/>
            </a:solidFill>
          </p:grpSpPr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7C89A3E2-639E-B930-97A7-F523A282D048}"/>
                  </a:ext>
                </a:extLst>
              </p:cNvPr>
              <p:cNvSpPr/>
              <p:nvPr/>
            </p:nvSpPr>
            <p:spPr>
              <a:xfrm>
                <a:off x="11774281" y="6519597"/>
                <a:ext cx="119385" cy="116611"/>
              </a:xfrm>
              <a:custGeom>
                <a:avLst/>
                <a:gdLst>
                  <a:gd name="connsiteX0" fmla="*/ 82523 w 119385"/>
                  <a:gd name="connsiteY0" fmla="*/ 58306 h 116611"/>
                  <a:gd name="connsiteX1" fmla="*/ 118887 w 119385"/>
                  <a:gd name="connsiteY1" fmla="*/ 112265 h 116611"/>
                  <a:gd name="connsiteX2" fmla="*/ 116385 w 119385"/>
                  <a:gd name="connsiteY2" fmla="*/ 116612 h 116611"/>
                  <a:gd name="connsiteX3" fmla="*/ 85831 w 119385"/>
                  <a:gd name="connsiteY3" fmla="*/ 116612 h 116611"/>
                  <a:gd name="connsiteX4" fmla="*/ 80718 w 119385"/>
                  <a:gd name="connsiteY4" fmla="*/ 113919 h 116611"/>
                  <a:gd name="connsiteX5" fmla="*/ 59693 w 119385"/>
                  <a:gd name="connsiteY5" fmla="*/ 81751 h 116611"/>
                  <a:gd name="connsiteX6" fmla="*/ 38667 w 119385"/>
                  <a:gd name="connsiteY6" fmla="*/ 113919 h 116611"/>
                  <a:gd name="connsiteX7" fmla="*/ 33554 w 119385"/>
                  <a:gd name="connsiteY7" fmla="*/ 116612 h 116611"/>
                  <a:gd name="connsiteX8" fmla="*/ 3000 w 119385"/>
                  <a:gd name="connsiteY8" fmla="*/ 116612 h 116611"/>
                  <a:gd name="connsiteX9" fmla="*/ 498 w 119385"/>
                  <a:gd name="connsiteY9" fmla="*/ 112265 h 116611"/>
                  <a:gd name="connsiteX10" fmla="*/ 36753 w 119385"/>
                  <a:gd name="connsiteY10" fmla="*/ 58306 h 116611"/>
                  <a:gd name="connsiteX11" fmla="*/ 498 w 119385"/>
                  <a:gd name="connsiteY11" fmla="*/ 4347 h 116611"/>
                  <a:gd name="connsiteX12" fmla="*/ 3000 w 119385"/>
                  <a:gd name="connsiteY12" fmla="*/ 0 h 116611"/>
                  <a:gd name="connsiteX13" fmla="*/ 34853 w 119385"/>
                  <a:gd name="connsiteY13" fmla="*/ 0 h 116611"/>
                  <a:gd name="connsiteX14" fmla="*/ 37778 w 119385"/>
                  <a:gd name="connsiteY14" fmla="*/ 1449 h 116611"/>
                  <a:gd name="connsiteX15" fmla="*/ 59679 w 119385"/>
                  <a:gd name="connsiteY15" fmla="*/ 34806 h 116611"/>
                  <a:gd name="connsiteX16" fmla="*/ 80240 w 119385"/>
                  <a:gd name="connsiteY16" fmla="*/ 1463 h 116611"/>
                  <a:gd name="connsiteX17" fmla="*/ 83165 w 119385"/>
                  <a:gd name="connsiteY17" fmla="*/ 0 h 116611"/>
                  <a:gd name="connsiteX18" fmla="*/ 115333 w 119385"/>
                  <a:gd name="connsiteY18" fmla="*/ 0 h 116611"/>
                  <a:gd name="connsiteX19" fmla="*/ 117834 w 119385"/>
                  <a:gd name="connsiteY19" fmla="*/ 4334 h 116611"/>
                  <a:gd name="connsiteX20" fmla="*/ 82495 w 119385"/>
                  <a:gd name="connsiteY20" fmla="*/ 58306 h 116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19385" h="116611">
                    <a:moveTo>
                      <a:pt x="82523" y="58306"/>
                    </a:moveTo>
                    <a:lnTo>
                      <a:pt x="118887" y="112265"/>
                    </a:lnTo>
                    <a:cubicBezTo>
                      <a:pt x="120199" y="114124"/>
                      <a:pt x="118764" y="116612"/>
                      <a:pt x="116385" y="116612"/>
                    </a:cubicBezTo>
                    <a:lnTo>
                      <a:pt x="85831" y="116612"/>
                    </a:lnTo>
                    <a:cubicBezTo>
                      <a:pt x="83794" y="116612"/>
                      <a:pt x="81880" y="115600"/>
                      <a:pt x="80718" y="113919"/>
                    </a:cubicBezTo>
                    <a:lnTo>
                      <a:pt x="59693" y="81751"/>
                    </a:lnTo>
                    <a:lnTo>
                      <a:pt x="38667" y="113919"/>
                    </a:lnTo>
                    <a:cubicBezTo>
                      <a:pt x="37505" y="115600"/>
                      <a:pt x="35605" y="116612"/>
                      <a:pt x="33554" y="116612"/>
                    </a:cubicBezTo>
                    <a:lnTo>
                      <a:pt x="3000" y="116612"/>
                    </a:lnTo>
                    <a:cubicBezTo>
                      <a:pt x="621" y="116612"/>
                      <a:pt x="-814" y="114138"/>
                      <a:pt x="498" y="112265"/>
                    </a:cubicBezTo>
                    <a:lnTo>
                      <a:pt x="36753" y="58306"/>
                    </a:lnTo>
                    <a:lnTo>
                      <a:pt x="498" y="4347"/>
                    </a:lnTo>
                    <a:cubicBezTo>
                      <a:pt x="-814" y="2488"/>
                      <a:pt x="621" y="0"/>
                      <a:pt x="3000" y="0"/>
                    </a:cubicBezTo>
                    <a:lnTo>
                      <a:pt x="34853" y="0"/>
                    </a:lnTo>
                    <a:cubicBezTo>
                      <a:pt x="36042" y="0"/>
                      <a:pt x="37149" y="547"/>
                      <a:pt x="37778" y="1449"/>
                    </a:cubicBezTo>
                    <a:lnTo>
                      <a:pt x="59679" y="34806"/>
                    </a:lnTo>
                    <a:lnTo>
                      <a:pt x="80240" y="1463"/>
                    </a:lnTo>
                    <a:cubicBezTo>
                      <a:pt x="80855" y="561"/>
                      <a:pt x="81976" y="0"/>
                      <a:pt x="83165" y="0"/>
                    </a:cubicBezTo>
                    <a:lnTo>
                      <a:pt x="115333" y="0"/>
                    </a:lnTo>
                    <a:cubicBezTo>
                      <a:pt x="117711" y="0"/>
                      <a:pt x="119133" y="2474"/>
                      <a:pt x="117834" y="4334"/>
                    </a:cubicBezTo>
                    <a:lnTo>
                      <a:pt x="82495" y="58306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BB6E5EC3-5A79-44DC-F77F-CE1C93C70DA0}"/>
                  </a:ext>
                </a:extLst>
              </p:cNvPr>
              <p:cNvSpPr/>
              <p:nvPr/>
            </p:nvSpPr>
            <p:spPr>
              <a:xfrm>
                <a:off x="11284928" y="6472473"/>
                <a:ext cx="78825" cy="163762"/>
              </a:xfrm>
              <a:custGeom>
                <a:avLst/>
                <a:gdLst>
                  <a:gd name="connsiteX0" fmla="*/ 75722 w 78825"/>
                  <a:gd name="connsiteY0" fmla="*/ 14 h 163762"/>
                  <a:gd name="connsiteX1" fmla="*/ 50377 w 78825"/>
                  <a:gd name="connsiteY1" fmla="*/ 14 h 163762"/>
                  <a:gd name="connsiteX2" fmla="*/ 43801 w 78825"/>
                  <a:gd name="connsiteY2" fmla="*/ 2734 h 163762"/>
                  <a:gd name="connsiteX3" fmla="*/ 19987 w 78825"/>
                  <a:gd name="connsiteY3" fmla="*/ 26549 h 163762"/>
                  <a:gd name="connsiteX4" fmla="*/ 17266 w 78825"/>
                  <a:gd name="connsiteY4" fmla="*/ 33124 h 163762"/>
                  <a:gd name="connsiteX5" fmla="*/ 17266 w 78825"/>
                  <a:gd name="connsiteY5" fmla="*/ 51867 h 163762"/>
                  <a:gd name="connsiteX6" fmla="*/ 3049 w 78825"/>
                  <a:gd name="connsiteY6" fmla="*/ 51867 h 163762"/>
                  <a:gd name="connsiteX7" fmla="*/ 0 w 78825"/>
                  <a:gd name="connsiteY7" fmla="*/ 54916 h 163762"/>
                  <a:gd name="connsiteX8" fmla="*/ 0 w 78825"/>
                  <a:gd name="connsiteY8" fmla="*/ 75955 h 163762"/>
                  <a:gd name="connsiteX9" fmla="*/ 3049 w 78825"/>
                  <a:gd name="connsiteY9" fmla="*/ 79004 h 163762"/>
                  <a:gd name="connsiteX10" fmla="*/ 17266 w 78825"/>
                  <a:gd name="connsiteY10" fmla="*/ 79004 h 163762"/>
                  <a:gd name="connsiteX11" fmla="*/ 17266 w 78825"/>
                  <a:gd name="connsiteY11" fmla="*/ 160659 h 163762"/>
                  <a:gd name="connsiteX12" fmla="*/ 20369 w 78825"/>
                  <a:gd name="connsiteY12" fmla="*/ 163763 h 163762"/>
                  <a:gd name="connsiteX13" fmla="*/ 47109 w 78825"/>
                  <a:gd name="connsiteY13" fmla="*/ 163763 h 163762"/>
                  <a:gd name="connsiteX14" fmla="*/ 50213 w 78825"/>
                  <a:gd name="connsiteY14" fmla="*/ 160659 h 163762"/>
                  <a:gd name="connsiteX15" fmla="*/ 50213 w 78825"/>
                  <a:gd name="connsiteY15" fmla="*/ 78990 h 163762"/>
                  <a:gd name="connsiteX16" fmla="*/ 71443 w 78825"/>
                  <a:gd name="connsiteY16" fmla="*/ 78990 h 163762"/>
                  <a:gd name="connsiteX17" fmla="*/ 74492 w 78825"/>
                  <a:gd name="connsiteY17" fmla="*/ 75941 h 163762"/>
                  <a:gd name="connsiteX18" fmla="*/ 74492 w 78825"/>
                  <a:gd name="connsiteY18" fmla="*/ 54902 h 163762"/>
                  <a:gd name="connsiteX19" fmla="*/ 71443 w 78825"/>
                  <a:gd name="connsiteY19" fmla="*/ 51853 h 163762"/>
                  <a:gd name="connsiteX20" fmla="*/ 50213 w 78825"/>
                  <a:gd name="connsiteY20" fmla="*/ 51853 h 163762"/>
                  <a:gd name="connsiteX21" fmla="*/ 50213 w 78825"/>
                  <a:gd name="connsiteY21" fmla="*/ 38565 h 163762"/>
                  <a:gd name="connsiteX22" fmla="*/ 59509 w 78825"/>
                  <a:gd name="connsiteY22" fmla="*/ 29269 h 163762"/>
                  <a:gd name="connsiteX23" fmla="*/ 75722 w 78825"/>
                  <a:gd name="connsiteY23" fmla="*/ 29269 h 163762"/>
                  <a:gd name="connsiteX24" fmla="*/ 78826 w 78825"/>
                  <a:gd name="connsiteY24" fmla="*/ 26166 h 163762"/>
                  <a:gd name="connsiteX25" fmla="*/ 78826 w 78825"/>
                  <a:gd name="connsiteY25" fmla="*/ 3103 h 163762"/>
                  <a:gd name="connsiteX26" fmla="*/ 75722 w 78825"/>
                  <a:gd name="connsiteY26" fmla="*/ 0 h 163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78825" h="163762">
                    <a:moveTo>
                      <a:pt x="75722" y="14"/>
                    </a:moveTo>
                    <a:lnTo>
                      <a:pt x="50377" y="14"/>
                    </a:lnTo>
                    <a:cubicBezTo>
                      <a:pt x="47916" y="14"/>
                      <a:pt x="45551" y="998"/>
                      <a:pt x="43801" y="2734"/>
                    </a:cubicBezTo>
                    <a:lnTo>
                      <a:pt x="19987" y="26549"/>
                    </a:lnTo>
                    <a:cubicBezTo>
                      <a:pt x="18237" y="28299"/>
                      <a:pt x="17266" y="30664"/>
                      <a:pt x="17266" y="33124"/>
                    </a:cubicBezTo>
                    <a:lnTo>
                      <a:pt x="17266" y="51867"/>
                    </a:lnTo>
                    <a:lnTo>
                      <a:pt x="3049" y="51867"/>
                    </a:lnTo>
                    <a:cubicBezTo>
                      <a:pt x="1367" y="51867"/>
                      <a:pt x="0" y="53234"/>
                      <a:pt x="0" y="54916"/>
                    </a:cubicBezTo>
                    <a:lnTo>
                      <a:pt x="0" y="75955"/>
                    </a:lnTo>
                    <a:cubicBezTo>
                      <a:pt x="0" y="77636"/>
                      <a:pt x="1367" y="79004"/>
                      <a:pt x="3049" y="79004"/>
                    </a:cubicBezTo>
                    <a:lnTo>
                      <a:pt x="17266" y="79004"/>
                    </a:lnTo>
                    <a:lnTo>
                      <a:pt x="17266" y="160659"/>
                    </a:lnTo>
                    <a:cubicBezTo>
                      <a:pt x="17266" y="162368"/>
                      <a:pt x="18661" y="163763"/>
                      <a:pt x="20369" y="163763"/>
                    </a:cubicBezTo>
                    <a:lnTo>
                      <a:pt x="47109" y="163763"/>
                    </a:lnTo>
                    <a:cubicBezTo>
                      <a:pt x="48818" y="163763"/>
                      <a:pt x="50213" y="162368"/>
                      <a:pt x="50213" y="160659"/>
                    </a:cubicBezTo>
                    <a:lnTo>
                      <a:pt x="50213" y="78990"/>
                    </a:lnTo>
                    <a:lnTo>
                      <a:pt x="71443" y="78990"/>
                    </a:lnTo>
                    <a:cubicBezTo>
                      <a:pt x="73125" y="78990"/>
                      <a:pt x="74492" y="77623"/>
                      <a:pt x="74492" y="75941"/>
                    </a:cubicBezTo>
                    <a:lnTo>
                      <a:pt x="74492" y="54902"/>
                    </a:lnTo>
                    <a:cubicBezTo>
                      <a:pt x="74492" y="53220"/>
                      <a:pt x="73125" y="51853"/>
                      <a:pt x="71443" y="51853"/>
                    </a:cubicBezTo>
                    <a:lnTo>
                      <a:pt x="50213" y="51853"/>
                    </a:lnTo>
                    <a:lnTo>
                      <a:pt x="50213" y="38565"/>
                    </a:lnTo>
                    <a:cubicBezTo>
                      <a:pt x="50213" y="33425"/>
                      <a:pt x="54382" y="29269"/>
                      <a:pt x="59509" y="29269"/>
                    </a:cubicBezTo>
                    <a:lnTo>
                      <a:pt x="75722" y="29269"/>
                    </a:lnTo>
                    <a:cubicBezTo>
                      <a:pt x="77431" y="29269"/>
                      <a:pt x="78826" y="27875"/>
                      <a:pt x="78826" y="26166"/>
                    </a:cubicBezTo>
                    <a:lnTo>
                      <a:pt x="78826" y="3103"/>
                    </a:lnTo>
                    <a:cubicBezTo>
                      <a:pt x="78826" y="1394"/>
                      <a:pt x="77431" y="0"/>
                      <a:pt x="75722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BFFC07CE-44B8-90F0-DF26-46902F440318}"/>
                  </a:ext>
                </a:extLst>
              </p:cNvPr>
              <p:cNvSpPr/>
              <p:nvPr/>
            </p:nvSpPr>
            <p:spPr>
              <a:xfrm>
                <a:off x="11896791" y="6612367"/>
                <a:ext cx="25659" cy="25660"/>
              </a:xfrm>
              <a:custGeom>
                <a:avLst/>
                <a:gdLst>
                  <a:gd name="connsiteX0" fmla="*/ 25660 w 25659"/>
                  <a:gd name="connsiteY0" fmla="*/ 12810 h 25660"/>
                  <a:gd name="connsiteX1" fmla="*/ 12782 w 25659"/>
                  <a:gd name="connsiteY1" fmla="*/ 25660 h 25660"/>
                  <a:gd name="connsiteX2" fmla="*/ 0 w 25659"/>
                  <a:gd name="connsiteY2" fmla="*/ 12810 h 25660"/>
                  <a:gd name="connsiteX3" fmla="*/ 12823 w 25659"/>
                  <a:gd name="connsiteY3" fmla="*/ 0 h 25660"/>
                  <a:gd name="connsiteX4" fmla="*/ 25646 w 25659"/>
                  <a:gd name="connsiteY4" fmla="*/ 12810 h 25660"/>
                  <a:gd name="connsiteX5" fmla="*/ 23691 w 25659"/>
                  <a:gd name="connsiteY5" fmla="*/ 12864 h 25660"/>
                  <a:gd name="connsiteX6" fmla="*/ 12837 w 25659"/>
                  <a:gd name="connsiteY6" fmla="*/ 1832 h 25660"/>
                  <a:gd name="connsiteX7" fmla="*/ 1982 w 25659"/>
                  <a:gd name="connsiteY7" fmla="*/ 12851 h 25660"/>
                  <a:gd name="connsiteX8" fmla="*/ 12782 w 25659"/>
                  <a:gd name="connsiteY8" fmla="*/ 23856 h 25660"/>
                  <a:gd name="connsiteX9" fmla="*/ 23691 w 25659"/>
                  <a:gd name="connsiteY9" fmla="*/ 12864 h 25660"/>
                  <a:gd name="connsiteX10" fmla="*/ 15585 w 25659"/>
                  <a:gd name="connsiteY10" fmla="*/ 14888 h 25660"/>
                  <a:gd name="connsiteX11" fmla="*/ 18811 w 25659"/>
                  <a:gd name="connsiteY11" fmla="*/ 19905 h 25660"/>
                  <a:gd name="connsiteX12" fmla="*/ 16678 w 25659"/>
                  <a:gd name="connsiteY12" fmla="*/ 19905 h 25660"/>
                  <a:gd name="connsiteX13" fmla="*/ 13097 w 25659"/>
                  <a:gd name="connsiteY13" fmla="*/ 14218 h 25660"/>
                  <a:gd name="connsiteX14" fmla="*/ 9829 w 25659"/>
                  <a:gd name="connsiteY14" fmla="*/ 14218 h 25660"/>
                  <a:gd name="connsiteX15" fmla="*/ 9829 w 25659"/>
                  <a:gd name="connsiteY15" fmla="*/ 19905 h 25660"/>
                  <a:gd name="connsiteX16" fmla="*/ 8038 w 25659"/>
                  <a:gd name="connsiteY16" fmla="*/ 19905 h 25660"/>
                  <a:gd name="connsiteX17" fmla="*/ 8038 w 25659"/>
                  <a:gd name="connsiteY17" fmla="*/ 5523 h 25660"/>
                  <a:gd name="connsiteX18" fmla="*/ 13616 w 25659"/>
                  <a:gd name="connsiteY18" fmla="*/ 5523 h 25660"/>
                  <a:gd name="connsiteX19" fmla="*/ 18155 w 25659"/>
                  <a:gd name="connsiteY19" fmla="*/ 9761 h 25660"/>
                  <a:gd name="connsiteX20" fmla="*/ 14887 w 25659"/>
                  <a:gd name="connsiteY20" fmla="*/ 13917 h 25660"/>
                  <a:gd name="connsiteX21" fmla="*/ 15585 w 25659"/>
                  <a:gd name="connsiteY21" fmla="*/ 14901 h 25660"/>
                  <a:gd name="connsiteX22" fmla="*/ 13015 w 25659"/>
                  <a:gd name="connsiteY22" fmla="*/ 12522 h 25660"/>
                  <a:gd name="connsiteX23" fmla="*/ 16282 w 25659"/>
                  <a:gd name="connsiteY23" fmla="*/ 9870 h 25660"/>
                  <a:gd name="connsiteX24" fmla="*/ 13657 w 25659"/>
                  <a:gd name="connsiteY24" fmla="*/ 7191 h 25660"/>
                  <a:gd name="connsiteX25" fmla="*/ 9816 w 25659"/>
                  <a:gd name="connsiteY25" fmla="*/ 7191 h 25660"/>
                  <a:gd name="connsiteX26" fmla="*/ 9816 w 25659"/>
                  <a:gd name="connsiteY26" fmla="*/ 12509 h 25660"/>
                  <a:gd name="connsiteX27" fmla="*/ 13015 w 25659"/>
                  <a:gd name="connsiteY27" fmla="*/ 12509 h 25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25659" h="25660">
                    <a:moveTo>
                      <a:pt x="25660" y="12810"/>
                    </a:moveTo>
                    <a:cubicBezTo>
                      <a:pt x="25660" y="19946"/>
                      <a:pt x="19946" y="25660"/>
                      <a:pt x="12782" y="25660"/>
                    </a:cubicBezTo>
                    <a:cubicBezTo>
                      <a:pt x="5619" y="25660"/>
                      <a:pt x="0" y="19891"/>
                      <a:pt x="0" y="12810"/>
                    </a:cubicBezTo>
                    <a:cubicBezTo>
                      <a:pt x="0" y="5728"/>
                      <a:pt x="5714" y="0"/>
                      <a:pt x="12823" y="0"/>
                    </a:cubicBezTo>
                    <a:cubicBezTo>
                      <a:pt x="19932" y="0"/>
                      <a:pt x="25646" y="5687"/>
                      <a:pt x="25646" y="12810"/>
                    </a:cubicBezTo>
                    <a:close/>
                    <a:moveTo>
                      <a:pt x="23691" y="12864"/>
                    </a:moveTo>
                    <a:cubicBezTo>
                      <a:pt x="23691" y="6712"/>
                      <a:pt x="18838" y="1832"/>
                      <a:pt x="12837" y="1832"/>
                    </a:cubicBezTo>
                    <a:cubicBezTo>
                      <a:pt x="6835" y="1832"/>
                      <a:pt x="1982" y="6658"/>
                      <a:pt x="1982" y="12851"/>
                    </a:cubicBezTo>
                    <a:cubicBezTo>
                      <a:pt x="1982" y="19043"/>
                      <a:pt x="6890" y="23856"/>
                      <a:pt x="12782" y="23856"/>
                    </a:cubicBezTo>
                    <a:cubicBezTo>
                      <a:pt x="18674" y="23856"/>
                      <a:pt x="23691" y="19002"/>
                      <a:pt x="23691" y="12864"/>
                    </a:cubicBezTo>
                    <a:close/>
                    <a:moveTo>
                      <a:pt x="15585" y="14888"/>
                    </a:moveTo>
                    <a:lnTo>
                      <a:pt x="18811" y="19905"/>
                    </a:lnTo>
                    <a:lnTo>
                      <a:pt x="16678" y="19905"/>
                    </a:lnTo>
                    <a:lnTo>
                      <a:pt x="13097" y="14218"/>
                    </a:lnTo>
                    <a:lnTo>
                      <a:pt x="9829" y="14218"/>
                    </a:lnTo>
                    <a:lnTo>
                      <a:pt x="9829" y="19905"/>
                    </a:lnTo>
                    <a:lnTo>
                      <a:pt x="8038" y="19905"/>
                    </a:lnTo>
                    <a:lnTo>
                      <a:pt x="8038" y="5523"/>
                    </a:lnTo>
                    <a:lnTo>
                      <a:pt x="13616" y="5523"/>
                    </a:lnTo>
                    <a:cubicBezTo>
                      <a:pt x="16364" y="5523"/>
                      <a:pt x="18155" y="6999"/>
                      <a:pt x="18155" y="9761"/>
                    </a:cubicBezTo>
                    <a:cubicBezTo>
                      <a:pt x="18155" y="11989"/>
                      <a:pt x="16801" y="13370"/>
                      <a:pt x="14887" y="13917"/>
                    </a:cubicBezTo>
                    <a:cubicBezTo>
                      <a:pt x="15147" y="14204"/>
                      <a:pt x="15407" y="14559"/>
                      <a:pt x="15585" y="14901"/>
                    </a:cubicBezTo>
                    <a:close/>
                    <a:moveTo>
                      <a:pt x="13015" y="12522"/>
                    </a:moveTo>
                    <a:cubicBezTo>
                      <a:pt x="15038" y="12522"/>
                      <a:pt x="16282" y="11565"/>
                      <a:pt x="16282" y="9870"/>
                    </a:cubicBezTo>
                    <a:cubicBezTo>
                      <a:pt x="16282" y="8175"/>
                      <a:pt x="15421" y="7191"/>
                      <a:pt x="13657" y="7191"/>
                    </a:cubicBezTo>
                    <a:lnTo>
                      <a:pt x="9816" y="7191"/>
                    </a:lnTo>
                    <a:lnTo>
                      <a:pt x="9816" y="12509"/>
                    </a:lnTo>
                    <a:lnTo>
                      <a:pt x="13015" y="12509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796657A5-DDEE-2093-6C86-0053530B3882}"/>
                  </a:ext>
                </a:extLst>
              </p:cNvPr>
              <p:cNvSpPr/>
              <p:nvPr/>
            </p:nvSpPr>
            <p:spPr>
              <a:xfrm>
                <a:off x="11620956" y="6472487"/>
                <a:ext cx="32932" cy="163721"/>
              </a:xfrm>
              <a:custGeom>
                <a:avLst/>
                <a:gdLst>
                  <a:gd name="connsiteX0" fmla="*/ 29830 w 32932"/>
                  <a:gd name="connsiteY0" fmla="*/ 0 h 163721"/>
                  <a:gd name="connsiteX1" fmla="*/ 32933 w 32932"/>
                  <a:gd name="connsiteY1" fmla="*/ 3103 h 163721"/>
                  <a:gd name="connsiteX2" fmla="*/ 32933 w 32932"/>
                  <a:gd name="connsiteY2" fmla="*/ 160618 h 163721"/>
                  <a:gd name="connsiteX3" fmla="*/ 29830 w 32932"/>
                  <a:gd name="connsiteY3" fmla="*/ 163722 h 163721"/>
                  <a:gd name="connsiteX4" fmla="*/ 3103 w 32932"/>
                  <a:gd name="connsiteY4" fmla="*/ 163722 h 163721"/>
                  <a:gd name="connsiteX5" fmla="*/ 0 w 32932"/>
                  <a:gd name="connsiteY5" fmla="*/ 160618 h 163721"/>
                  <a:gd name="connsiteX6" fmla="*/ 0 w 32932"/>
                  <a:gd name="connsiteY6" fmla="*/ 3103 h 163721"/>
                  <a:gd name="connsiteX7" fmla="*/ 3103 w 32932"/>
                  <a:gd name="connsiteY7" fmla="*/ 0 h 163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2932" h="163721">
                    <a:moveTo>
                      <a:pt x="29830" y="0"/>
                    </a:moveTo>
                    <a:cubicBezTo>
                      <a:pt x="31544" y="0"/>
                      <a:pt x="32933" y="1389"/>
                      <a:pt x="32933" y="3103"/>
                    </a:cubicBezTo>
                    <a:lnTo>
                      <a:pt x="32933" y="160618"/>
                    </a:lnTo>
                    <a:cubicBezTo>
                      <a:pt x="32933" y="162332"/>
                      <a:pt x="31543" y="163722"/>
                      <a:pt x="29830" y="163722"/>
                    </a:cubicBezTo>
                    <a:lnTo>
                      <a:pt x="3103" y="163722"/>
                    </a:lnTo>
                    <a:cubicBezTo>
                      <a:pt x="1389" y="163722"/>
                      <a:pt x="0" y="162332"/>
                      <a:pt x="0" y="160618"/>
                    </a:cubicBezTo>
                    <a:lnTo>
                      <a:pt x="0" y="3103"/>
                    </a:lnTo>
                    <a:cubicBezTo>
                      <a:pt x="0" y="1389"/>
                      <a:pt x="1389" y="0"/>
                      <a:pt x="3103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90B1D049-BF68-423D-3788-D8D9F16FC573}"/>
                  </a:ext>
                </a:extLst>
              </p:cNvPr>
              <p:cNvSpPr/>
              <p:nvPr/>
            </p:nvSpPr>
            <p:spPr>
              <a:xfrm>
                <a:off x="11488486" y="6472473"/>
                <a:ext cx="123638" cy="166086"/>
              </a:xfrm>
              <a:custGeom>
                <a:avLst/>
                <a:gdLst>
                  <a:gd name="connsiteX0" fmla="*/ 68737 w 123638"/>
                  <a:gd name="connsiteY0" fmla="*/ 44663 h 166086"/>
                  <a:gd name="connsiteX1" fmla="*/ 32947 w 123638"/>
                  <a:gd name="connsiteY1" fmla="*/ 62052 h 166086"/>
                  <a:gd name="connsiteX2" fmla="*/ 32947 w 123638"/>
                  <a:gd name="connsiteY2" fmla="*/ 3103 h 166086"/>
                  <a:gd name="connsiteX3" fmla="*/ 29843 w 123638"/>
                  <a:gd name="connsiteY3" fmla="*/ 0 h 166086"/>
                  <a:gd name="connsiteX4" fmla="*/ 3103 w 123638"/>
                  <a:gd name="connsiteY4" fmla="*/ 0 h 166086"/>
                  <a:gd name="connsiteX5" fmla="*/ 0 w 123638"/>
                  <a:gd name="connsiteY5" fmla="*/ 3103 h 166086"/>
                  <a:gd name="connsiteX6" fmla="*/ 0 w 123638"/>
                  <a:gd name="connsiteY6" fmla="*/ 160632 h 166086"/>
                  <a:gd name="connsiteX7" fmla="*/ 3103 w 123638"/>
                  <a:gd name="connsiteY7" fmla="*/ 163735 h 166086"/>
                  <a:gd name="connsiteX8" fmla="*/ 29843 w 123638"/>
                  <a:gd name="connsiteY8" fmla="*/ 163735 h 166086"/>
                  <a:gd name="connsiteX9" fmla="*/ 32947 w 123638"/>
                  <a:gd name="connsiteY9" fmla="*/ 160632 h 166086"/>
                  <a:gd name="connsiteX10" fmla="*/ 32947 w 123638"/>
                  <a:gd name="connsiteY10" fmla="*/ 149025 h 166086"/>
                  <a:gd name="connsiteX11" fmla="*/ 68983 w 123638"/>
                  <a:gd name="connsiteY11" fmla="*/ 166087 h 166086"/>
                  <a:gd name="connsiteX12" fmla="*/ 123638 w 123638"/>
                  <a:gd name="connsiteY12" fmla="*/ 105539 h 166086"/>
                  <a:gd name="connsiteX13" fmla="*/ 68750 w 123638"/>
                  <a:gd name="connsiteY13" fmla="*/ 44663 h 166086"/>
                  <a:gd name="connsiteX14" fmla="*/ 62188 w 123638"/>
                  <a:gd name="connsiteY14" fmla="*/ 135163 h 166086"/>
                  <a:gd name="connsiteX15" fmla="*/ 32947 w 123638"/>
                  <a:gd name="connsiteY15" fmla="*/ 105552 h 166086"/>
                  <a:gd name="connsiteX16" fmla="*/ 62188 w 123638"/>
                  <a:gd name="connsiteY16" fmla="*/ 76174 h 166086"/>
                  <a:gd name="connsiteX17" fmla="*/ 90965 w 123638"/>
                  <a:gd name="connsiteY17" fmla="*/ 105552 h 166086"/>
                  <a:gd name="connsiteX18" fmla="*/ 62188 w 123638"/>
                  <a:gd name="connsiteY18" fmla="*/ 135163 h 166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23638" h="166086">
                    <a:moveTo>
                      <a:pt x="68737" y="44663"/>
                    </a:moveTo>
                    <a:cubicBezTo>
                      <a:pt x="53535" y="44663"/>
                      <a:pt x="40889" y="51252"/>
                      <a:pt x="32947" y="62052"/>
                    </a:cubicBezTo>
                    <a:lnTo>
                      <a:pt x="32947" y="3103"/>
                    </a:lnTo>
                    <a:cubicBezTo>
                      <a:pt x="32947" y="1394"/>
                      <a:pt x="31552" y="0"/>
                      <a:pt x="29843" y="0"/>
                    </a:cubicBezTo>
                    <a:lnTo>
                      <a:pt x="3103" y="0"/>
                    </a:lnTo>
                    <a:cubicBezTo>
                      <a:pt x="1394" y="0"/>
                      <a:pt x="0" y="1394"/>
                      <a:pt x="0" y="3103"/>
                    </a:cubicBezTo>
                    <a:lnTo>
                      <a:pt x="0" y="160632"/>
                    </a:lnTo>
                    <a:cubicBezTo>
                      <a:pt x="0" y="162341"/>
                      <a:pt x="1394" y="163735"/>
                      <a:pt x="3103" y="163735"/>
                    </a:cubicBezTo>
                    <a:lnTo>
                      <a:pt x="29843" y="163735"/>
                    </a:lnTo>
                    <a:cubicBezTo>
                      <a:pt x="31552" y="163735"/>
                      <a:pt x="32947" y="162341"/>
                      <a:pt x="32947" y="160632"/>
                    </a:cubicBezTo>
                    <a:lnTo>
                      <a:pt x="32947" y="149025"/>
                    </a:lnTo>
                    <a:cubicBezTo>
                      <a:pt x="40903" y="159839"/>
                      <a:pt x="53535" y="166087"/>
                      <a:pt x="68983" y="166087"/>
                    </a:cubicBezTo>
                    <a:cubicBezTo>
                      <a:pt x="101505" y="166087"/>
                      <a:pt x="123638" y="139852"/>
                      <a:pt x="123638" y="105539"/>
                    </a:cubicBezTo>
                    <a:cubicBezTo>
                      <a:pt x="123638" y="71225"/>
                      <a:pt x="101505" y="44663"/>
                      <a:pt x="68750" y="44663"/>
                    </a:cubicBezTo>
                    <a:close/>
                    <a:moveTo>
                      <a:pt x="62188" y="135163"/>
                    </a:moveTo>
                    <a:cubicBezTo>
                      <a:pt x="45346" y="135163"/>
                      <a:pt x="32947" y="121533"/>
                      <a:pt x="32947" y="105552"/>
                    </a:cubicBezTo>
                    <a:cubicBezTo>
                      <a:pt x="32947" y="89571"/>
                      <a:pt x="45346" y="76174"/>
                      <a:pt x="62188" y="76174"/>
                    </a:cubicBezTo>
                    <a:cubicBezTo>
                      <a:pt x="79031" y="76174"/>
                      <a:pt x="90965" y="89571"/>
                      <a:pt x="90965" y="105552"/>
                    </a:cubicBezTo>
                    <a:cubicBezTo>
                      <a:pt x="90965" y="121533"/>
                      <a:pt x="78798" y="135163"/>
                      <a:pt x="62188" y="13516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4D2F452A-FCE2-2D70-67A6-275D859DF8C4}"/>
                  </a:ext>
                </a:extLst>
              </p:cNvPr>
              <p:cNvSpPr/>
              <p:nvPr/>
            </p:nvSpPr>
            <p:spPr>
              <a:xfrm>
                <a:off x="11359421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135AB5A1-3858-0926-73BA-EE0620402EC4}"/>
                  </a:ext>
                </a:extLst>
              </p:cNvPr>
              <p:cNvSpPr/>
              <p:nvPr/>
            </p:nvSpPr>
            <p:spPr>
              <a:xfrm>
                <a:off x="11662542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FE95F4EA-307E-9FAD-0E96-DBD0DA1B7405}"/>
                  </a:ext>
                </a:extLst>
              </p:cNvPr>
              <p:cNvSpPr/>
              <p:nvPr/>
            </p:nvSpPr>
            <p:spPr>
              <a:xfrm>
                <a:off x="11122821" y="6519528"/>
                <a:ext cx="32932" cy="116680"/>
              </a:xfrm>
              <a:custGeom>
                <a:avLst/>
                <a:gdLst>
                  <a:gd name="connsiteX0" fmla="*/ 29843 w 32932"/>
                  <a:gd name="connsiteY0" fmla="*/ 116680 h 116680"/>
                  <a:gd name="connsiteX1" fmla="*/ 3103 w 32932"/>
                  <a:gd name="connsiteY1" fmla="*/ 116680 h 116680"/>
                  <a:gd name="connsiteX2" fmla="*/ 0 w 32932"/>
                  <a:gd name="connsiteY2" fmla="*/ 113577 h 116680"/>
                  <a:gd name="connsiteX3" fmla="*/ 0 w 32932"/>
                  <a:gd name="connsiteY3" fmla="*/ 30554 h 116680"/>
                  <a:gd name="connsiteX4" fmla="*/ 1859 w 32932"/>
                  <a:gd name="connsiteY4" fmla="*/ 26125 h 116680"/>
                  <a:gd name="connsiteX5" fmla="*/ 27670 w 32932"/>
                  <a:gd name="connsiteY5" fmla="*/ 888 h 116680"/>
                  <a:gd name="connsiteX6" fmla="*/ 32933 w 32932"/>
                  <a:gd name="connsiteY6" fmla="*/ 3103 h 116680"/>
                  <a:gd name="connsiteX7" fmla="*/ 32933 w 32932"/>
                  <a:gd name="connsiteY7" fmla="*/ 113577 h 116680"/>
                  <a:gd name="connsiteX8" fmla="*/ 29830 w 32932"/>
                  <a:gd name="connsiteY8" fmla="*/ 116680 h 116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932" h="116680">
                    <a:moveTo>
                      <a:pt x="29843" y="116680"/>
                    </a:moveTo>
                    <a:lnTo>
                      <a:pt x="3103" y="116680"/>
                    </a:lnTo>
                    <a:cubicBezTo>
                      <a:pt x="1394" y="116680"/>
                      <a:pt x="0" y="115286"/>
                      <a:pt x="0" y="113577"/>
                    </a:cubicBezTo>
                    <a:lnTo>
                      <a:pt x="0" y="30554"/>
                    </a:lnTo>
                    <a:cubicBezTo>
                      <a:pt x="0" y="28886"/>
                      <a:pt x="670" y="27287"/>
                      <a:pt x="1859" y="26125"/>
                    </a:cubicBezTo>
                    <a:lnTo>
                      <a:pt x="27670" y="888"/>
                    </a:lnTo>
                    <a:cubicBezTo>
                      <a:pt x="29638" y="-1026"/>
                      <a:pt x="32933" y="355"/>
                      <a:pt x="32933" y="3103"/>
                    </a:cubicBezTo>
                    <a:lnTo>
                      <a:pt x="32933" y="113577"/>
                    </a:lnTo>
                    <a:cubicBezTo>
                      <a:pt x="32933" y="115286"/>
                      <a:pt x="31538" y="116680"/>
                      <a:pt x="29830" y="11668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9A086E1E-DD14-1D37-D643-274F289C58C9}"/>
                  </a:ext>
                </a:extLst>
              </p:cNvPr>
              <p:cNvSpPr/>
              <p:nvPr/>
            </p:nvSpPr>
            <p:spPr>
              <a:xfrm>
                <a:off x="11173074" y="6517105"/>
                <a:ext cx="107493" cy="119116"/>
              </a:xfrm>
              <a:custGeom>
                <a:avLst/>
                <a:gdLst>
                  <a:gd name="connsiteX0" fmla="*/ 107480 w 107493"/>
                  <a:gd name="connsiteY0" fmla="*/ 41877 h 119116"/>
                  <a:gd name="connsiteX1" fmla="*/ 65237 w 107493"/>
                  <a:gd name="connsiteY1" fmla="*/ 3 h 119116"/>
                  <a:gd name="connsiteX2" fmla="*/ 32947 w 107493"/>
                  <a:gd name="connsiteY2" fmla="*/ 17474 h 119116"/>
                  <a:gd name="connsiteX3" fmla="*/ 32947 w 107493"/>
                  <a:gd name="connsiteY3" fmla="*/ 5581 h 119116"/>
                  <a:gd name="connsiteX4" fmla="*/ 29843 w 107493"/>
                  <a:gd name="connsiteY4" fmla="*/ 2478 h 119116"/>
                  <a:gd name="connsiteX5" fmla="*/ 3103 w 107493"/>
                  <a:gd name="connsiteY5" fmla="*/ 2478 h 119116"/>
                  <a:gd name="connsiteX6" fmla="*/ 0 w 107493"/>
                  <a:gd name="connsiteY6" fmla="*/ 5581 h 119116"/>
                  <a:gd name="connsiteX7" fmla="*/ 0 w 107493"/>
                  <a:gd name="connsiteY7" fmla="*/ 116000 h 119116"/>
                  <a:gd name="connsiteX8" fmla="*/ 3103 w 107493"/>
                  <a:gd name="connsiteY8" fmla="*/ 119103 h 119116"/>
                  <a:gd name="connsiteX9" fmla="*/ 29843 w 107493"/>
                  <a:gd name="connsiteY9" fmla="*/ 119103 h 119116"/>
                  <a:gd name="connsiteX10" fmla="*/ 32947 w 107493"/>
                  <a:gd name="connsiteY10" fmla="*/ 116000 h 119116"/>
                  <a:gd name="connsiteX11" fmla="*/ 32947 w 107493"/>
                  <a:gd name="connsiteY11" fmla="*/ 51788 h 119116"/>
                  <a:gd name="connsiteX12" fmla="*/ 53740 w 107493"/>
                  <a:gd name="connsiteY12" fmla="*/ 31747 h 119116"/>
                  <a:gd name="connsiteX13" fmla="*/ 74547 w 107493"/>
                  <a:gd name="connsiteY13" fmla="*/ 53210 h 119116"/>
                  <a:gd name="connsiteX14" fmla="*/ 74547 w 107493"/>
                  <a:gd name="connsiteY14" fmla="*/ 116014 h 119116"/>
                  <a:gd name="connsiteX15" fmla="*/ 77650 w 107493"/>
                  <a:gd name="connsiteY15" fmla="*/ 119117 h 119116"/>
                  <a:gd name="connsiteX16" fmla="*/ 104390 w 107493"/>
                  <a:gd name="connsiteY16" fmla="*/ 119117 h 119116"/>
                  <a:gd name="connsiteX17" fmla="*/ 107493 w 107493"/>
                  <a:gd name="connsiteY17" fmla="*/ 116014 h 119116"/>
                  <a:gd name="connsiteX18" fmla="*/ 107493 w 107493"/>
                  <a:gd name="connsiteY18" fmla="*/ 41890 h 119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7493" h="119116">
                    <a:moveTo>
                      <a:pt x="107480" y="41877"/>
                    </a:moveTo>
                    <a:cubicBezTo>
                      <a:pt x="107480" y="19252"/>
                      <a:pt x="88792" y="277"/>
                      <a:pt x="65237" y="3"/>
                    </a:cubicBezTo>
                    <a:cubicBezTo>
                      <a:pt x="49912" y="-175"/>
                      <a:pt x="39563" y="7331"/>
                      <a:pt x="32947" y="17474"/>
                    </a:cubicBezTo>
                    <a:lnTo>
                      <a:pt x="32947" y="5581"/>
                    </a:lnTo>
                    <a:cubicBezTo>
                      <a:pt x="32947" y="3872"/>
                      <a:pt x="31552" y="2478"/>
                      <a:pt x="29843" y="2478"/>
                    </a:cubicBezTo>
                    <a:lnTo>
                      <a:pt x="3103" y="2478"/>
                    </a:lnTo>
                    <a:cubicBezTo>
                      <a:pt x="1394" y="2478"/>
                      <a:pt x="0" y="3872"/>
                      <a:pt x="0" y="5581"/>
                    </a:cubicBezTo>
                    <a:lnTo>
                      <a:pt x="0" y="116000"/>
                    </a:lnTo>
                    <a:cubicBezTo>
                      <a:pt x="0" y="117709"/>
                      <a:pt x="1394" y="119103"/>
                      <a:pt x="3103" y="119103"/>
                    </a:cubicBezTo>
                    <a:lnTo>
                      <a:pt x="29843" y="119103"/>
                    </a:lnTo>
                    <a:cubicBezTo>
                      <a:pt x="31552" y="119103"/>
                      <a:pt x="32947" y="117709"/>
                      <a:pt x="32947" y="116000"/>
                    </a:cubicBezTo>
                    <a:lnTo>
                      <a:pt x="32947" y="51788"/>
                    </a:lnTo>
                    <a:cubicBezTo>
                      <a:pt x="33685" y="39430"/>
                      <a:pt x="41518" y="31747"/>
                      <a:pt x="53740" y="31747"/>
                    </a:cubicBezTo>
                    <a:cubicBezTo>
                      <a:pt x="65961" y="31747"/>
                      <a:pt x="74547" y="40373"/>
                      <a:pt x="74547" y="53210"/>
                    </a:cubicBezTo>
                    <a:lnTo>
                      <a:pt x="74547" y="116014"/>
                    </a:lnTo>
                    <a:cubicBezTo>
                      <a:pt x="74547" y="117722"/>
                      <a:pt x="75941" y="119117"/>
                      <a:pt x="77650" y="119117"/>
                    </a:cubicBezTo>
                    <a:lnTo>
                      <a:pt x="104390" y="119117"/>
                    </a:lnTo>
                    <a:cubicBezTo>
                      <a:pt x="106099" y="119117"/>
                      <a:pt x="107493" y="117722"/>
                      <a:pt x="107493" y="116014"/>
                    </a:cubicBezTo>
                    <a:lnTo>
                      <a:pt x="107493" y="41890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09DD804E-CD2A-5361-7B2A-9C98F84243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543" y="1233720"/>
            <a:ext cx="4622623" cy="2086734"/>
          </a:xfrm>
          <a:prstGeom prst="rect">
            <a:avLst/>
          </a:prstGeom>
        </p:spPr>
        <p:txBody>
          <a:bodyPr anchor="b"/>
          <a:lstStyle>
            <a:lvl1pPr>
              <a:defRPr sz="3400" b="1" i="0" cap="all" baseline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r>
              <a:rPr lang="en-US"/>
              <a:t>Slide title styl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D8D64587-B846-D17A-11D3-B833B185C0A9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514713" y="3675742"/>
            <a:ext cx="4659454" cy="70756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0" i="0" cap="all" baseline="0">
                <a:solidFill>
                  <a:schemeClr val="bg1"/>
                </a:solidFill>
                <a:latin typeface="Lato" panose="020F0502020204030203" pitchFamily="34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t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3BCA2B8F-5B29-E953-5560-38F928D7ECEB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1449" y="3384114"/>
            <a:ext cx="4572000" cy="27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1830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2CC1AF6-0D8F-4EF2-414C-887518BE7F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75301D58-20CA-11D7-5164-53DED1D30C97}"/>
              </a:ext>
            </a:extLst>
          </p:cNvPr>
          <p:cNvSpPr/>
          <p:nvPr userDrawn="1"/>
        </p:nvSpPr>
        <p:spPr>
          <a:xfrm>
            <a:off x="7212043" y="0"/>
            <a:ext cx="4979957" cy="6858000"/>
          </a:xfrm>
          <a:prstGeom prst="rect">
            <a:avLst/>
          </a:prstGeom>
          <a:solidFill>
            <a:srgbClr val="D9E1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err="1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D5FE2E4-6459-A8F6-69DF-4DE855B46F9D}"/>
              </a:ext>
            </a:extLst>
          </p:cNvPr>
          <p:cNvSpPr/>
          <p:nvPr userDrawn="1"/>
        </p:nvSpPr>
        <p:spPr>
          <a:xfrm>
            <a:off x="7212044" y="1"/>
            <a:ext cx="4979957" cy="6763657"/>
          </a:xfrm>
          <a:custGeom>
            <a:avLst/>
            <a:gdLst>
              <a:gd name="connsiteX0" fmla="*/ 2392605 w 4979957"/>
              <a:gd name="connsiteY0" fmla="*/ 0 h 6763657"/>
              <a:gd name="connsiteX1" fmla="*/ 2945895 w 4979957"/>
              <a:gd name="connsiteY1" fmla="*/ 0 h 6763657"/>
              <a:gd name="connsiteX2" fmla="*/ 2984461 w 4979957"/>
              <a:gd name="connsiteY2" fmla="*/ 31502 h 6763657"/>
              <a:gd name="connsiteX3" fmla="*/ 4979957 w 4979957"/>
              <a:gd name="connsiteY3" fmla="*/ 2026998 h 6763657"/>
              <a:gd name="connsiteX4" fmla="*/ 4979957 w 4979957"/>
              <a:gd name="connsiteY4" fmla="*/ 4637613 h 6763657"/>
              <a:gd name="connsiteX5" fmla="*/ 2984461 w 4979957"/>
              <a:gd name="connsiteY5" fmla="*/ 6633109 h 6763657"/>
              <a:gd name="connsiteX6" fmla="*/ 2354038 w 4979957"/>
              <a:gd name="connsiteY6" fmla="*/ 6633109 h 6763657"/>
              <a:gd name="connsiteX7" fmla="*/ 0 w 4979957"/>
              <a:gd name="connsiteY7" fmla="*/ 4279070 h 6763657"/>
              <a:gd name="connsiteX8" fmla="*/ 0 w 4979957"/>
              <a:gd name="connsiteY8" fmla="*/ 2385540 h 6763657"/>
              <a:gd name="connsiteX9" fmla="*/ 2354038 w 4979957"/>
              <a:gd name="connsiteY9" fmla="*/ 31502 h 67636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979957" h="6763657">
                <a:moveTo>
                  <a:pt x="2392605" y="0"/>
                </a:moveTo>
                <a:lnTo>
                  <a:pt x="2945895" y="0"/>
                </a:lnTo>
                <a:lnTo>
                  <a:pt x="2984461" y="31502"/>
                </a:lnTo>
                <a:lnTo>
                  <a:pt x="4979957" y="2026998"/>
                </a:lnTo>
                <a:lnTo>
                  <a:pt x="4979957" y="4637613"/>
                </a:lnTo>
                <a:lnTo>
                  <a:pt x="2984461" y="6633109"/>
                </a:lnTo>
                <a:cubicBezTo>
                  <a:pt x="2810396" y="6807174"/>
                  <a:pt x="2528103" y="6807174"/>
                  <a:pt x="2354038" y="6633109"/>
                </a:cubicBezTo>
                <a:lnTo>
                  <a:pt x="0" y="4279070"/>
                </a:lnTo>
                <a:lnTo>
                  <a:pt x="0" y="2385540"/>
                </a:lnTo>
                <a:lnTo>
                  <a:pt x="2354038" y="31502"/>
                </a:lnTo>
                <a:close/>
              </a:path>
            </a:pathLst>
          </a:custGeom>
          <a:gradFill>
            <a:gsLst>
              <a:gs pos="12000">
                <a:schemeClr val="bg1">
                  <a:alpha val="60000"/>
                </a:schemeClr>
              </a:gs>
              <a:gs pos="74000">
                <a:schemeClr val="bg1">
                  <a:alpha val="0"/>
                </a:schemeClr>
              </a:gs>
            </a:gsLst>
            <a:lin ang="8100000" scaled="1"/>
          </a:gradFill>
          <a:ln w="685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63B4C86-0EE6-9EC3-AE54-F3BE8511A838}"/>
              </a:ext>
            </a:extLst>
          </p:cNvPr>
          <p:cNvSpPr txBox="1"/>
          <p:nvPr userDrawn="1"/>
        </p:nvSpPr>
        <p:spPr>
          <a:xfrm>
            <a:off x="7200141" y="602343"/>
            <a:ext cx="794523" cy="624929"/>
          </a:xfrm>
          <a:custGeom>
            <a:avLst/>
            <a:gdLst/>
            <a:ahLst/>
            <a:cxnLst/>
            <a:rect l="l" t="t" r="r" b="b"/>
            <a:pathLst>
              <a:path w="794523" h="624929">
                <a:moveTo>
                  <a:pt x="737992" y="0"/>
                </a:moveTo>
                <a:lnTo>
                  <a:pt x="794523" y="119230"/>
                </a:lnTo>
                <a:cubicBezTo>
                  <a:pt x="736964" y="138416"/>
                  <a:pt x="695679" y="165140"/>
                  <a:pt x="670668" y="199401"/>
                </a:cubicBezTo>
                <a:cubicBezTo>
                  <a:pt x="645657" y="233663"/>
                  <a:pt x="632466" y="279231"/>
                  <a:pt x="631096" y="336105"/>
                </a:cubicBezTo>
                <a:lnTo>
                  <a:pt x="770883" y="336105"/>
                </a:lnTo>
                <a:lnTo>
                  <a:pt x="770883" y="624929"/>
                </a:lnTo>
                <a:lnTo>
                  <a:pt x="482059" y="624929"/>
                </a:lnTo>
                <a:lnTo>
                  <a:pt x="482059" y="418332"/>
                </a:lnTo>
                <a:cubicBezTo>
                  <a:pt x="482059" y="334049"/>
                  <a:pt x="489425" y="267924"/>
                  <a:pt x="504157" y="219958"/>
                </a:cubicBezTo>
                <a:cubicBezTo>
                  <a:pt x="518890" y="171992"/>
                  <a:pt x="546299" y="128823"/>
                  <a:pt x="586385" y="90450"/>
                </a:cubicBezTo>
                <a:cubicBezTo>
                  <a:pt x="626471" y="52077"/>
                  <a:pt x="677006" y="21927"/>
                  <a:pt x="737992" y="0"/>
                </a:cubicBezTo>
                <a:close/>
                <a:moveTo>
                  <a:pt x="255933" y="0"/>
                </a:moveTo>
                <a:lnTo>
                  <a:pt x="312464" y="119230"/>
                </a:lnTo>
                <a:cubicBezTo>
                  <a:pt x="254905" y="138416"/>
                  <a:pt x="213620" y="165140"/>
                  <a:pt x="188609" y="199401"/>
                </a:cubicBezTo>
                <a:cubicBezTo>
                  <a:pt x="163598" y="233663"/>
                  <a:pt x="150407" y="279231"/>
                  <a:pt x="149037" y="336105"/>
                </a:cubicBezTo>
                <a:lnTo>
                  <a:pt x="288824" y="336105"/>
                </a:lnTo>
                <a:lnTo>
                  <a:pt x="288824" y="624929"/>
                </a:lnTo>
                <a:lnTo>
                  <a:pt x="0" y="624929"/>
                </a:lnTo>
                <a:lnTo>
                  <a:pt x="0" y="418332"/>
                </a:lnTo>
                <a:cubicBezTo>
                  <a:pt x="0" y="334734"/>
                  <a:pt x="7366" y="268781"/>
                  <a:pt x="22098" y="220472"/>
                </a:cubicBezTo>
                <a:cubicBezTo>
                  <a:pt x="36831" y="172164"/>
                  <a:pt x="64069" y="128823"/>
                  <a:pt x="103812" y="90450"/>
                </a:cubicBezTo>
                <a:cubicBezTo>
                  <a:pt x="143555" y="52077"/>
                  <a:pt x="194262" y="21927"/>
                  <a:pt x="255933" y="0"/>
                </a:cubicBezTo>
                <a:close/>
              </a:path>
            </a:pathLst>
          </a:custGeom>
          <a:solidFill>
            <a:srgbClr val="00BD4D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600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Arial" panose="020B0604020202020204" pitchFamily="34" charset="0"/>
              <a:ea typeface="Roboto Slab" pitchFamily="2" charset="0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16C5238-5817-CC92-124E-B4BF55A4D5F0}"/>
              </a:ext>
            </a:extLst>
          </p:cNvPr>
          <p:cNvSpPr txBox="1"/>
          <p:nvPr userDrawn="1"/>
        </p:nvSpPr>
        <p:spPr>
          <a:xfrm rot="10800000">
            <a:off x="11437256" y="5597290"/>
            <a:ext cx="469007" cy="368896"/>
          </a:xfrm>
          <a:custGeom>
            <a:avLst/>
            <a:gdLst/>
            <a:ahLst/>
            <a:cxnLst/>
            <a:rect l="l" t="t" r="r" b="b"/>
            <a:pathLst>
              <a:path w="794523" h="624929">
                <a:moveTo>
                  <a:pt x="737992" y="0"/>
                </a:moveTo>
                <a:lnTo>
                  <a:pt x="794523" y="119230"/>
                </a:lnTo>
                <a:cubicBezTo>
                  <a:pt x="736964" y="138416"/>
                  <a:pt x="695679" y="165140"/>
                  <a:pt x="670668" y="199401"/>
                </a:cubicBezTo>
                <a:cubicBezTo>
                  <a:pt x="645657" y="233663"/>
                  <a:pt x="632466" y="279231"/>
                  <a:pt x="631096" y="336105"/>
                </a:cubicBezTo>
                <a:lnTo>
                  <a:pt x="770883" y="336105"/>
                </a:lnTo>
                <a:lnTo>
                  <a:pt x="770883" y="624929"/>
                </a:lnTo>
                <a:lnTo>
                  <a:pt x="482059" y="624929"/>
                </a:lnTo>
                <a:lnTo>
                  <a:pt x="482059" y="418332"/>
                </a:lnTo>
                <a:cubicBezTo>
                  <a:pt x="482059" y="334049"/>
                  <a:pt x="489425" y="267924"/>
                  <a:pt x="504157" y="219958"/>
                </a:cubicBezTo>
                <a:cubicBezTo>
                  <a:pt x="518890" y="171992"/>
                  <a:pt x="546299" y="128823"/>
                  <a:pt x="586385" y="90450"/>
                </a:cubicBezTo>
                <a:cubicBezTo>
                  <a:pt x="626471" y="52077"/>
                  <a:pt x="677006" y="21927"/>
                  <a:pt x="737992" y="0"/>
                </a:cubicBezTo>
                <a:close/>
                <a:moveTo>
                  <a:pt x="255933" y="0"/>
                </a:moveTo>
                <a:lnTo>
                  <a:pt x="312464" y="119230"/>
                </a:lnTo>
                <a:cubicBezTo>
                  <a:pt x="254905" y="138416"/>
                  <a:pt x="213620" y="165140"/>
                  <a:pt x="188609" y="199401"/>
                </a:cubicBezTo>
                <a:cubicBezTo>
                  <a:pt x="163598" y="233663"/>
                  <a:pt x="150407" y="279231"/>
                  <a:pt x="149037" y="336105"/>
                </a:cubicBezTo>
                <a:lnTo>
                  <a:pt x="288824" y="336105"/>
                </a:lnTo>
                <a:lnTo>
                  <a:pt x="288824" y="624929"/>
                </a:lnTo>
                <a:lnTo>
                  <a:pt x="0" y="624929"/>
                </a:lnTo>
                <a:lnTo>
                  <a:pt x="0" y="418332"/>
                </a:lnTo>
                <a:cubicBezTo>
                  <a:pt x="0" y="334734"/>
                  <a:pt x="7366" y="268781"/>
                  <a:pt x="22098" y="220472"/>
                </a:cubicBezTo>
                <a:cubicBezTo>
                  <a:pt x="36831" y="172164"/>
                  <a:pt x="64069" y="128823"/>
                  <a:pt x="103812" y="90450"/>
                </a:cubicBezTo>
                <a:cubicBezTo>
                  <a:pt x="143555" y="52077"/>
                  <a:pt x="194262" y="21927"/>
                  <a:pt x="255933" y="0"/>
                </a:cubicBezTo>
                <a:close/>
              </a:path>
            </a:pathLst>
          </a:custGeom>
          <a:solidFill>
            <a:srgbClr val="00BD4D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600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Arial" panose="020B0604020202020204" pitchFamily="34" charset="0"/>
              <a:ea typeface="Roboto Slab" pitchFamily="2" charset="0"/>
              <a:cs typeface="Arial" panose="020B0604020202020204" pitchFamily="34" charset="0"/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219A740-91A4-702D-F150-6D9E505676A7}"/>
              </a:ext>
            </a:extLst>
          </p:cNvPr>
          <p:cNvCxnSpPr>
            <a:cxnSpLocks/>
          </p:cNvCxnSpPr>
          <p:nvPr userDrawn="1"/>
        </p:nvCxnSpPr>
        <p:spPr>
          <a:xfrm>
            <a:off x="7852229" y="1420464"/>
            <a:ext cx="0" cy="3978850"/>
          </a:xfrm>
          <a:prstGeom prst="line">
            <a:avLst/>
          </a:prstGeom>
          <a:ln w="12700">
            <a:solidFill>
              <a:srgbClr val="00BD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4D6FE247-0E74-A625-337B-99E04CC575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5523" y="1445330"/>
            <a:ext cx="5753956" cy="630213"/>
          </a:xfrm>
          <a:prstGeom prst="rect">
            <a:avLst/>
          </a:prstGeom>
        </p:spPr>
        <p:txBody>
          <a:bodyPr anchor="b"/>
          <a:lstStyle>
            <a:lvl1pPr>
              <a:defRPr sz="3400" b="1" i="0" cap="all" baseline="0">
                <a:solidFill>
                  <a:srgbClr val="00BD4D"/>
                </a:solidFill>
                <a:latin typeface="Lato" panose="020F0502020204030203" pitchFamily="34" charset="77"/>
              </a:defRPr>
            </a:lvl1pPr>
          </a:lstStyle>
          <a:p>
            <a:r>
              <a:rPr lang="en-US"/>
              <a:t>title style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59E3C22D-E22C-737C-E68C-F9213EBC24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5521" y="2914790"/>
            <a:ext cx="5753957" cy="3551416"/>
          </a:xfrm>
          <a:prstGeom prst="rect">
            <a:avLst/>
          </a:prstGeom>
        </p:spPr>
        <p:txBody>
          <a:bodyPr anchor="t"/>
          <a:lstStyle>
            <a:lvl1pPr marL="216000" indent="-216000">
              <a:buClr>
                <a:srgbClr val="00BD4D"/>
              </a:buClr>
              <a:defRPr sz="2000" b="0" i="0">
                <a:solidFill>
                  <a:schemeClr val="bg1"/>
                </a:solidFill>
                <a:latin typeface="Lato" panose="020F0502020204030203" pitchFamily="34" charset="77"/>
              </a:defRPr>
            </a:lvl1pPr>
            <a:lvl2pPr marL="432000" indent="-216000">
              <a:buClr>
                <a:srgbClr val="00BD4D"/>
              </a:buClr>
              <a:defRPr sz="1800" b="0" i="0">
                <a:solidFill>
                  <a:schemeClr val="bg1"/>
                </a:solidFill>
                <a:latin typeface="Lato" panose="020F0502020204030203" pitchFamily="34" charset="77"/>
              </a:defRPr>
            </a:lvl2pPr>
            <a:lvl3pPr marL="648000" indent="-216000">
              <a:buClr>
                <a:srgbClr val="00BD4D"/>
              </a:buClr>
              <a:defRPr sz="1600" b="0" i="0">
                <a:solidFill>
                  <a:schemeClr val="bg1"/>
                </a:solidFill>
                <a:latin typeface="Lato" panose="020F0502020204030203" pitchFamily="34" charset="77"/>
              </a:defRPr>
            </a:lvl3pPr>
            <a:lvl4pPr marL="864000" indent="-216000">
              <a:buClr>
                <a:srgbClr val="00BD4D"/>
              </a:buClr>
              <a:defRPr sz="1400" b="0" i="0">
                <a:solidFill>
                  <a:schemeClr val="bg1"/>
                </a:solidFill>
                <a:latin typeface="Lato" panose="020F0502020204030203" pitchFamily="34" charset="77"/>
              </a:defRPr>
            </a:lvl4pPr>
            <a:lvl5pPr marL="1080000" indent="-216000">
              <a:buClr>
                <a:srgbClr val="00BD4D"/>
              </a:buClr>
              <a:defRPr sz="1400" b="0" i="0">
                <a:solidFill>
                  <a:schemeClr val="bg1"/>
                </a:solidFill>
                <a:latin typeface="Lato" panose="020F05020202040302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DC3DD1A2-B414-8C5D-8E0C-8E8C59208C1B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525523" y="2215813"/>
            <a:ext cx="5753956" cy="3816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0" i="0" cap="all" baseline="0">
                <a:solidFill>
                  <a:schemeClr val="bg1"/>
                </a:solidFill>
                <a:latin typeface="Lato" panose="020F0502020204030203" pitchFamily="34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EE1B5432-EBE1-4EA9-71A6-1B7B0C8A48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01100" y="1505420"/>
            <a:ext cx="3436322" cy="3877250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>
            <a:lvl1pPr marL="0" indent="0">
              <a:buNone/>
              <a:defRPr lang="en-US" sz="2000" b="0" i="0" dirty="0" smtClean="0">
                <a:solidFill>
                  <a:schemeClr val="tx1"/>
                </a:solidFill>
                <a:latin typeface="Lato" panose="020F0502020204030203" pitchFamily="34" charset="77"/>
              </a:defRPr>
            </a:lvl1pPr>
          </a:lstStyle>
          <a:p>
            <a:pPr marL="0" lvl="0">
              <a:lnSpc>
                <a:spcPct val="120000"/>
              </a:lnSpc>
            </a:pPr>
            <a:r>
              <a:rPr lang="en-US"/>
              <a:t>Click to edit Master text styles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4E3EAB5-A37F-8ED2-02AA-D357B3C7698F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22821" y="6467484"/>
            <a:ext cx="799740" cy="170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0168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642B26FE-2907-AE81-0DC9-82D9EEBF2AD5}"/>
              </a:ext>
            </a:extLst>
          </p:cNvPr>
          <p:cNvPicPr>
            <a:picLocks noChangeAspect="1"/>
          </p:cNvPicPr>
          <p:nvPr userDrawn="1"/>
        </p:nvPicPr>
        <p:blipFill rotWithShape="1">
          <a:blip cstate="email">
            <a:alphaModFix amt="1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 l="4477" r="5042"/>
          <a:stretch/>
        </p:blipFill>
        <p:spPr>
          <a:xfrm>
            <a:off x="4749825" y="1"/>
            <a:ext cx="9020576" cy="68580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80FE1B5-C5E8-9149-28BC-CF5EAA92F2F6}"/>
              </a:ext>
            </a:extLst>
          </p:cNvPr>
          <p:cNvSpPr txBox="1"/>
          <p:nvPr userDrawn="1"/>
        </p:nvSpPr>
        <p:spPr>
          <a:xfrm>
            <a:off x="979929" y="771190"/>
            <a:ext cx="994014" cy="781838"/>
          </a:xfrm>
          <a:custGeom>
            <a:avLst/>
            <a:gdLst/>
            <a:ahLst/>
            <a:cxnLst/>
            <a:rect l="l" t="t" r="r" b="b"/>
            <a:pathLst>
              <a:path w="794523" h="624929">
                <a:moveTo>
                  <a:pt x="737992" y="0"/>
                </a:moveTo>
                <a:lnTo>
                  <a:pt x="794523" y="119230"/>
                </a:lnTo>
                <a:cubicBezTo>
                  <a:pt x="736964" y="138416"/>
                  <a:pt x="695679" y="165140"/>
                  <a:pt x="670668" y="199401"/>
                </a:cubicBezTo>
                <a:cubicBezTo>
                  <a:pt x="645657" y="233663"/>
                  <a:pt x="632466" y="279231"/>
                  <a:pt x="631096" y="336105"/>
                </a:cubicBezTo>
                <a:lnTo>
                  <a:pt x="770883" y="336105"/>
                </a:lnTo>
                <a:lnTo>
                  <a:pt x="770883" y="624929"/>
                </a:lnTo>
                <a:lnTo>
                  <a:pt x="482059" y="624929"/>
                </a:lnTo>
                <a:lnTo>
                  <a:pt x="482059" y="418332"/>
                </a:lnTo>
                <a:cubicBezTo>
                  <a:pt x="482059" y="334049"/>
                  <a:pt x="489425" y="267924"/>
                  <a:pt x="504157" y="219958"/>
                </a:cubicBezTo>
                <a:cubicBezTo>
                  <a:pt x="518890" y="171992"/>
                  <a:pt x="546299" y="128823"/>
                  <a:pt x="586385" y="90450"/>
                </a:cubicBezTo>
                <a:cubicBezTo>
                  <a:pt x="626471" y="52077"/>
                  <a:pt x="677006" y="21927"/>
                  <a:pt x="737992" y="0"/>
                </a:cubicBezTo>
                <a:close/>
                <a:moveTo>
                  <a:pt x="255933" y="0"/>
                </a:moveTo>
                <a:lnTo>
                  <a:pt x="312464" y="119230"/>
                </a:lnTo>
                <a:cubicBezTo>
                  <a:pt x="254905" y="138416"/>
                  <a:pt x="213620" y="165140"/>
                  <a:pt x="188609" y="199401"/>
                </a:cubicBezTo>
                <a:cubicBezTo>
                  <a:pt x="163598" y="233663"/>
                  <a:pt x="150407" y="279231"/>
                  <a:pt x="149037" y="336105"/>
                </a:cubicBezTo>
                <a:lnTo>
                  <a:pt x="288824" y="336105"/>
                </a:lnTo>
                <a:lnTo>
                  <a:pt x="288824" y="624929"/>
                </a:lnTo>
                <a:lnTo>
                  <a:pt x="0" y="624929"/>
                </a:lnTo>
                <a:lnTo>
                  <a:pt x="0" y="418332"/>
                </a:lnTo>
                <a:cubicBezTo>
                  <a:pt x="0" y="334734"/>
                  <a:pt x="7366" y="268781"/>
                  <a:pt x="22098" y="220472"/>
                </a:cubicBezTo>
                <a:cubicBezTo>
                  <a:pt x="36831" y="172164"/>
                  <a:pt x="64069" y="128823"/>
                  <a:pt x="103812" y="90450"/>
                </a:cubicBezTo>
                <a:cubicBezTo>
                  <a:pt x="143555" y="52077"/>
                  <a:pt x="194262" y="21927"/>
                  <a:pt x="255933" y="0"/>
                </a:cubicBezTo>
                <a:close/>
              </a:path>
            </a:pathLst>
          </a:custGeom>
          <a:solidFill>
            <a:srgbClr val="00BD4D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600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Arial" panose="020B0604020202020204" pitchFamily="34" charset="0"/>
              <a:ea typeface="Roboto Slab" pitchFamily="2" charset="0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8556DBF-CE23-B51E-730B-3598A3C610E1}"/>
              </a:ext>
            </a:extLst>
          </p:cNvPr>
          <p:cNvSpPr txBox="1"/>
          <p:nvPr userDrawn="1"/>
        </p:nvSpPr>
        <p:spPr>
          <a:xfrm rot="10800000">
            <a:off x="11364685" y="5603188"/>
            <a:ext cx="469007" cy="368896"/>
          </a:xfrm>
          <a:custGeom>
            <a:avLst/>
            <a:gdLst/>
            <a:ahLst/>
            <a:cxnLst/>
            <a:rect l="l" t="t" r="r" b="b"/>
            <a:pathLst>
              <a:path w="794523" h="624929">
                <a:moveTo>
                  <a:pt x="737992" y="0"/>
                </a:moveTo>
                <a:lnTo>
                  <a:pt x="794523" y="119230"/>
                </a:lnTo>
                <a:cubicBezTo>
                  <a:pt x="736964" y="138416"/>
                  <a:pt x="695679" y="165140"/>
                  <a:pt x="670668" y="199401"/>
                </a:cubicBezTo>
                <a:cubicBezTo>
                  <a:pt x="645657" y="233663"/>
                  <a:pt x="632466" y="279231"/>
                  <a:pt x="631096" y="336105"/>
                </a:cubicBezTo>
                <a:lnTo>
                  <a:pt x="770883" y="336105"/>
                </a:lnTo>
                <a:lnTo>
                  <a:pt x="770883" y="624929"/>
                </a:lnTo>
                <a:lnTo>
                  <a:pt x="482059" y="624929"/>
                </a:lnTo>
                <a:lnTo>
                  <a:pt x="482059" y="418332"/>
                </a:lnTo>
                <a:cubicBezTo>
                  <a:pt x="482059" y="334049"/>
                  <a:pt x="489425" y="267924"/>
                  <a:pt x="504157" y="219958"/>
                </a:cubicBezTo>
                <a:cubicBezTo>
                  <a:pt x="518890" y="171992"/>
                  <a:pt x="546299" y="128823"/>
                  <a:pt x="586385" y="90450"/>
                </a:cubicBezTo>
                <a:cubicBezTo>
                  <a:pt x="626471" y="52077"/>
                  <a:pt x="677006" y="21927"/>
                  <a:pt x="737992" y="0"/>
                </a:cubicBezTo>
                <a:close/>
                <a:moveTo>
                  <a:pt x="255933" y="0"/>
                </a:moveTo>
                <a:lnTo>
                  <a:pt x="312464" y="119230"/>
                </a:lnTo>
                <a:cubicBezTo>
                  <a:pt x="254905" y="138416"/>
                  <a:pt x="213620" y="165140"/>
                  <a:pt x="188609" y="199401"/>
                </a:cubicBezTo>
                <a:cubicBezTo>
                  <a:pt x="163598" y="233663"/>
                  <a:pt x="150407" y="279231"/>
                  <a:pt x="149037" y="336105"/>
                </a:cubicBezTo>
                <a:lnTo>
                  <a:pt x="288824" y="336105"/>
                </a:lnTo>
                <a:lnTo>
                  <a:pt x="288824" y="624929"/>
                </a:lnTo>
                <a:lnTo>
                  <a:pt x="0" y="624929"/>
                </a:lnTo>
                <a:lnTo>
                  <a:pt x="0" y="418332"/>
                </a:lnTo>
                <a:cubicBezTo>
                  <a:pt x="0" y="334734"/>
                  <a:pt x="7366" y="268781"/>
                  <a:pt x="22098" y="220472"/>
                </a:cubicBezTo>
                <a:cubicBezTo>
                  <a:pt x="36831" y="172164"/>
                  <a:pt x="64069" y="128823"/>
                  <a:pt x="103812" y="90450"/>
                </a:cubicBezTo>
                <a:cubicBezTo>
                  <a:pt x="143555" y="52077"/>
                  <a:pt x="194262" y="21927"/>
                  <a:pt x="255933" y="0"/>
                </a:cubicBezTo>
                <a:close/>
              </a:path>
            </a:pathLst>
          </a:custGeom>
          <a:solidFill>
            <a:srgbClr val="00BD4D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600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Arial" panose="020B0604020202020204" pitchFamily="34" charset="0"/>
              <a:ea typeface="Roboto Slab" pitchFamily="2" charset="0"/>
              <a:cs typeface="Arial" panose="020B0604020202020204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42DF3DA-20F2-6623-441D-07C3A0D58E6E}"/>
              </a:ext>
            </a:extLst>
          </p:cNvPr>
          <p:cNvGrpSpPr/>
          <p:nvPr userDrawn="1"/>
        </p:nvGrpSpPr>
        <p:grpSpPr>
          <a:xfrm>
            <a:off x="11122821" y="6472473"/>
            <a:ext cx="799629" cy="166100"/>
            <a:chOff x="11122821" y="6472473"/>
            <a:chExt cx="799629" cy="166100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E3F6188-CAFB-67F1-0617-DA4EB29D2E10}"/>
                </a:ext>
              </a:extLst>
            </p:cNvPr>
            <p:cNvSpPr/>
            <p:nvPr/>
          </p:nvSpPr>
          <p:spPr>
            <a:xfrm rot="18900000">
              <a:off x="11134957" y="6473485"/>
              <a:ext cx="35147" cy="35147"/>
            </a:xfrm>
            <a:custGeom>
              <a:avLst/>
              <a:gdLst>
                <a:gd name="connsiteX0" fmla="*/ 32044 w 35147"/>
                <a:gd name="connsiteY0" fmla="*/ 0 h 35147"/>
                <a:gd name="connsiteX1" fmla="*/ 35148 w 35147"/>
                <a:gd name="connsiteY1" fmla="*/ 3103 h 35147"/>
                <a:gd name="connsiteX2" fmla="*/ 35148 w 35147"/>
                <a:gd name="connsiteY2" fmla="*/ 32044 h 35147"/>
                <a:gd name="connsiteX3" fmla="*/ 32044 w 35147"/>
                <a:gd name="connsiteY3" fmla="*/ 35148 h 35147"/>
                <a:gd name="connsiteX4" fmla="*/ 3103 w 35147"/>
                <a:gd name="connsiteY4" fmla="*/ 35148 h 35147"/>
                <a:gd name="connsiteX5" fmla="*/ 0 w 35147"/>
                <a:gd name="connsiteY5" fmla="*/ 32044 h 35147"/>
                <a:gd name="connsiteX6" fmla="*/ 0 w 35147"/>
                <a:gd name="connsiteY6" fmla="*/ 3103 h 35147"/>
                <a:gd name="connsiteX7" fmla="*/ 3103 w 35147"/>
                <a:gd name="connsiteY7" fmla="*/ 0 h 35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147" h="35147">
                  <a:moveTo>
                    <a:pt x="32044" y="0"/>
                  </a:moveTo>
                  <a:cubicBezTo>
                    <a:pt x="33758" y="0"/>
                    <a:pt x="35148" y="1389"/>
                    <a:pt x="35148" y="3103"/>
                  </a:cubicBezTo>
                  <a:lnTo>
                    <a:pt x="35148" y="32044"/>
                  </a:lnTo>
                  <a:cubicBezTo>
                    <a:pt x="35148" y="33758"/>
                    <a:pt x="33758" y="35148"/>
                    <a:pt x="32044" y="35148"/>
                  </a:cubicBezTo>
                  <a:lnTo>
                    <a:pt x="3103" y="35148"/>
                  </a:lnTo>
                  <a:cubicBezTo>
                    <a:pt x="1389" y="35148"/>
                    <a:pt x="0" y="33758"/>
                    <a:pt x="0" y="32044"/>
                  </a:cubicBezTo>
                  <a:lnTo>
                    <a:pt x="0" y="3103"/>
                  </a:lnTo>
                  <a:cubicBezTo>
                    <a:pt x="0" y="1389"/>
                    <a:pt x="1389" y="0"/>
                    <a:pt x="3103" y="0"/>
                  </a:cubicBezTo>
                  <a:close/>
                </a:path>
              </a:pathLst>
            </a:custGeom>
            <a:solidFill>
              <a:srgbClr val="00BD4D"/>
            </a:solidFill>
            <a:ln w="135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9C92CFC5-4578-0218-4FEA-6FC7ED56DC72}"/>
                </a:ext>
              </a:extLst>
            </p:cNvPr>
            <p:cNvGrpSpPr/>
            <p:nvPr/>
          </p:nvGrpSpPr>
          <p:grpSpPr>
            <a:xfrm>
              <a:off x="11122821" y="6472473"/>
              <a:ext cx="799629" cy="166100"/>
              <a:chOff x="11122821" y="6472473"/>
              <a:chExt cx="799629" cy="166100"/>
            </a:xfrm>
            <a:solidFill>
              <a:schemeClr val="bg1"/>
            </a:solidFill>
          </p:grpSpPr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0BBCAFB0-38D6-A0C1-5F59-5452E9B2A4F6}"/>
                  </a:ext>
                </a:extLst>
              </p:cNvPr>
              <p:cNvSpPr/>
              <p:nvPr/>
            </p:nvSpPr>
            <p:spPr>
              <a:xfrm>
                <a:off x="11774281" y="6519597"/>
                <a:ext cx="119385" cy="116611"/>
              </a:xfrm>
              <a:custGeom>
                <a:avLst/>
                <a:gdLst>
                  <a:gd name="connsiteX0" fmla="*/ 82523 w 119385"/>
                  <a:gd name="connsiteY0" fmla="*/ 58306 h 116611"/>
                  <a:gd name="connsiteX1" fmla="*/ 118887 w 119385"/>
                  <a:gd name="connsiteY1" fmla="*/ 112265 h 116611"/>
                  <a:gd name="connsiteX2" fmla="*/ 116385 w 119385"/>
                  <a:gd name="connsiteY2" fmla="*/ 116612 h 116611"/>
                  <a:gd name="connsiteX3" fmla="*/ 85831 w 119385"/>
                  <a:gd name="connsiteY3" fmla="*/ 116612 h 116611"/>
                  <a:gd name="connsiteX4" fmla="*/ 80718 w 119385"/>
                  <a:gd name="connsiteY4" fmla="*/ 113919 h 116611"/>
                  <a:gd name="connsiteX5" fmla="*/ 59693 w 119385"/>
                  <a:gd name="connsiteY5" fmla="*/ 81751 h 116611"/>
                  <a:gd name="connsiteX6" fmla="*/ 38667 w 119385"/>
                  <a:gd name="connsiteY6" fmla="*/ 113919 h 116611"/>
                  <a:gd name="connsiteX7" fmla="*/ 33554 w 119385"/>
                  <a:gd name="connsiteY7" fmla="*/ 116612 h 116611"/>
                  <a:gd name="connsiteX8" fmla="*/ 3000 w 119385"/>
                  <a:gd name="connsiteY8" fmla="*/ 116612 h 116611"/>
                  <a:gd name="connsiteX9" fmla="*/ 498 w 119385"/>
                  <a:gd name="connsiteY9" fmla="*/ 112265 h 116611"/>
                  <a:gd name="connsiteX10" fmla="*/ 36753 w 119385"/>
                  <a:gd name="connsiteY10" fmla="*/ 58306 h 116611"/>
                  <a:gd name="connsiteX11" fmla="*/ 498 w 119385"/>
                  <a:gd name="connsiteY11" fmla="*/ 4347 h 116611"/>
                  <a:gd name="connsiteX12" fmla="*/ 3000 w 119385"/>
                  <a:gd name="connsiteY12" fmla="*/ 0 h 116611"/>
                  <a:gd name="connsiteX13" fmla="*/ 34853 w 119385"/>
                  <a:gd name="connsiteY13" fmla="*/ 0 h 116611"/>
                  <a:gd name="connsiteX14" fmla="*/ 37778 w 119385"/>
                  <a:gd name="connsiteY14" fmla="*/ 1449 h 116611"/>
                  <a:gd name="connsiteX15" fmla="*/ 59679 w 119385"/>
                  <a:gd name="connsiteY15" fmla="*/ 34806 h 116611"/>
                  <a:gd name="connsiteX16" fmla="*/ 80240 w 119385"/>
                  <a:gd name="connsiteY16" fmla="*/ 1463 h 116611"/>
                  <a:gd name="connsiteX17" fmla="*/ 83165 w 119385"/>
                  <a:gd name="connsiteY17" fmla="*/ 0 h 116611"/>
                  <a:gd name="connsiteX18" fmla="*/ 115333 w 119385"/>
                  <a:gd name="connsiteY18" fmla="*/ 0 h 116611"/>
                  <a:gd name="connsiteX19" fmla="*/ 117834 w 119385"/>
                  <a:gd name="connsiteY19" fmla="*/ 4334 h 116611"/>
                  <a:gd name="connsiteX20" fmla="*/ 82495 w 119385"/>
                  <a:gd name="connsiteY20" fmla="*/ 58306 h 116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19385" h="116611">
                    <a:moveTo>
                      <a:pt x="82523" y="58306"/>
                    </a:moveTo>
                    <a:lnTo>
                      <a:pt x="118887" y="112265"/>
                    </a:lnTo>
                    <a:cubicBezTo>
                      <a:pt x="120199" y="114124"/>
                      <a:pt x="118764" y="116612"/>
                      <a:pt x="116385" y="116612"/>
                    </a:cubicBezTo>
                    <a:lnTo>
                      <a:pt x="85831" y="116612"/>
                    </a:lnTo>
                    <a:cubicBezTo>
                      <a:pt x="83794" y="116612"/>
                      <a:pt x="81880" y="115600"/>
                      <a:pt x="80718" y="113919"/>
                    </a:cubicBezTo>
                    <a:lnTo>
                      <a:pt x="59693" y="81751"/>
                    </a:lnTo>
                    <a:lnTo>
                      <a:pt x="38667" y="113919"/>
                    </a:lnTo>
                    <a:cubicBezTo>
                      <a:pt x="37505" y="115600"/>
                      <a:pt x="35605" y="116612"/>
                      <a:pt x="33554" y="116612"/>
                    </a:cubicBezTo>
                    <a:lnTo>
                      <a:pt x="3000" y="116612"/>
                    </a:lnTo>
                    <a:cubicBezTo>
                      <a:pt x="621" y="116612"/>
                      <a:pt x="-814" y="114138"/>
                      <a:pt x="498" y="112265"/>
                    </a:cubicBezTo>
                    <a:lnTo>
                      <a:pt x="36753" y="58306"/>
                    </a:lnTo>
                    <a:lnTo>
                      <a:pt x="498" y="4347"/>
                    </a:lnTo>
                    <a:cubicBezTo>
                      <a:pt x="-814" y="2488"/>
                      <a:pt x="621" y="0"/>
                      <a:pt x="3000" y="0"/>
                    </a:cubicBezTo>
                    <a:lnTo>
                      <a:pt x="34853" y="0"/>
                    </a:lnTo>
                    <a:cubicBezTo>
                      <a:pt x="36042" y="0"/>
                      <a:pt x="37149" y="547"/>
                      <a:pt x="37778" y="1449"/>
                    </a:cubicBezTo>
                    <a:lnTo>
                      <a:pt x="59679" y="34806"/>
                    </a:lnTo>
                    <a:lnTo>
                      <a:pt x="80240" y="1463"/>
                    </a:lnTo>
                    <a:cubicBezTo>
                      <a:pt x="80855" y="561"/>
                      <a:pt x="81976" y="0"/>
                      <a:pt x="83165" y="0"/>
                    </a:cubicBezTo>
                    <a:lnTo>
                      <a:pt x="115333" y="0"/>
                    </a:lnTo>
                    <a:cubicBezTo>
                      <a:pt x="117711" y="0"/>
                      <a:pt x="119133" y="2474"/>
                      <a:pt x="117834" y="4334"/>
                    </a:cubicBezTo>
                    <a:lnTo>
                      <a:pt x="82495" y="58306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3F0DC934-9A55-DD27-2E74-BF81D1F1B645}"/>
                  </a:ext>
                </a:extLst>
              </p:cNvPr>
              <p:cNvSpPr/>
              <p:nvPr/>
            </p:nvSpPr>
            <p:spPr>
              <a:xfrm>
                <a:off x="11284928" y="6472473"/>
                <a:ext cx="78825" cy="163762"/>
              </a:xfrm>
              <a:custGeom>
                <a:avLst/>
                <a:gdLst>
                  <a:gd name="connsiteX0" fmla="*/ 75722 w 78825"/>
                  <a:gd name="connsiteY0" fmla="*/ 14 h 163762"/>
                  <a:gd name="connsiteX1" fmla="*/ 50377 w 78825"/>
                  <a:gd name="connsiteY1" fmla="*/ 14 h 163762"/>
                  <a:gd name="connsiteX2" fmla="*/ 43801 w 78825"/>
                  <a:gd name="connsiteY2" fmla="*/ 2734 h 163762"/>
                  <a:gd name="connsiteX3" fmla="*/ 19987 w 78825"/>
                  <a:gd name="connsiteY3" fmla="*/ 26549 h 163762"/>
                  <a:gd name="connsiteX4" fmla="*/ 17266 w 78825"/>
                  <a:gd name="connsiteY4" fmla="*/ 33124 h 163762"/>
                  <a:gd name="connsiteX5" fmla="*/ 17266 w 78825"/>
                  <a:gd name="connsiteY5" fmla="*/ 51867 h 163762"/>
                  <a:gd name="connsiteX6" fmla="*/ 3049 w 78825"/>
                  <a:gd name="connsiteY6" fmla="*/ 51867 h 163762"/>
                  <a:gd name="connsiteX7" fmla="*/ 0 w 78825"/>
                  <a:gd name="connsiteY7" fmla="*/ 54916 h 163762"/>
                  <a:gd name="connsiteX8" fmla="*/ 0 w 78825"/>
                  <a:gd name="connsiteY8" fmla="*/ 75955 h 163762"/>
                  <a:gd name="connsiteX9" fmla="*/ 3049 w 78825"/>
                  <a:gd name="connsiteY9" fmla="*/ 79004 h 163762"/>
                  <a:gd name="connsiteX10" fmla="*/ 17266 w 78825"/>
                  <a:gd name="connsiteY10" fmla="*/ 79004 h 163762"/>
                  <a:gd name="connsiteX11" fmla="*/ 17266 w 78825"/>
                  <a:gd name="connsiteY11" fmla="*/ 160659 h 163762"/>
                  <a:gd name="connsiteX12" fmla="*/ 20369 w 78825"/>
                  <a:gd name="connsiteY12" fmla="*/ 163763 h 163762"/>
                  <a:gd name="connsiteX13" fmla="*/ 47109 w 78825"/>
                  <a:gd name="connsiteY13" fmla="*/ 163763 h 163762"/>
                  <a:gd name="connsiteX14" fmla="*/ 50213 w 78825"/>
                  <a:gd name="connsiteY14" fmla="*/ 160659 h 163762"/>
                  <a:gd name="connsiteX15" fmla="*/ 50213 w 78825"/>
                  <a:gd name="connsiteY15" fmla="*/ 78990 h 163762"/>
                  <a:gd name="connsiteX16" fmla="*/ 71443 w 78825"/>
                  <a:gd name="connsiteY16" fmla="*/ 78990 h 163762"/>
                  <a:gd name="connsiteX17" fmla="*/ 74492 w 78825"/>
                  <a:gd name="connsiteY17" fmla="*/ 75941 h 163762"/>
                  <a:gd name="connsiteX18" fmla="*/ 74492 w 78825"/>
                  <a:gd name="connsiteY18" fmla="*/ 54902 h 163762"/>
                  <a:gd name="connsiteX19" fmla="*/ 71443 w 78825"/>
                  <a:gd name="connsiteY19" fmla="*/ 51853 h 163762"/>
                  <a:gd name="connsiteX20" fmla="*/ 50213 w 78825"/>
                  <a:gd name="connsiteY20" fmla="*/ 51853 h 163762"/>
                  <a:gd name="connsiteX21" fmla="*/ 50213 w 78825"/>
                  <a:gd name="connsiteY21" fmla="*/ 38565 h 163762"/>
                  <a:gd name="connsiteX22" fmla="*/ 59509 w 78825"/>
                  <a:gd name="connsiteY22" fmla="*/ 29269 h 163762"/>
                  <a:gd name="connsiteX23" fmla="*/ 75722 w 78825"/>
                  <a:gd name="connsiteY23" fmla="*/ 29269 h 163762"/>
                  <a:gd name="connsiteX24" fmla="*/ 78826 w 78825"/>
                  <a:gd name="connsiteY24" fmla="*/ 26166 h 163762"/>
                  <a:gd name="connsiteX25" fmla="*/ 78826 w 78825"/>
                  <a:gd name="connsiteY25" fmla="*/ 3103 h 163762"/>
                  <a:gd name="connsiteX26" fmla="*/ 75722 w 78825"/>
                  <a:gd name="connsiteY26" fmla="*/ 0 h 163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78825" h="163762">
                    <a:moveTo>
                      <a:pt x="75722" y="14"/>
                    </a:moveTo>
                    <a:lnTo>
                      <a:pt x="50377" y="14"/>
                    </a:lnTo>
                    <a:cubicBezTo>
                      <a:pt x="47916" y="14"/>
                      <a:pt x="45551" y="998"/>
                      <a:pt x="43801" y="2734"/>
                    </a:cubicBezTo>
                    <a:lnTo>
                      <a:pt x="19987" y="26549"/>
                    </a:lnTo>
                    <a:cubicBezTo>
                      <a:pt x="18237" y="28299"/>
                      <a:pt x="17266" y="30664"/>
                      <a:pt x="17266" y="33124"/>
                    </a:cubicBezTo>
                    <a:lnTo>
                      <a:pt x="17266" y="51867"/>
                    </a:lnTo>
                    <a:lnTo>
                      <a:pt x="3049" y="51867"/>
                    </a:lnTo>
                    <a:cubicBezTo>
                      <a:pt x="1367" y="51867"/>
                      <a:pt x="0" y="53234"/>
                      <a:pt x="0" y="54916"/>
                    </a:cubicBezTo>
                    <a:lnTo>
                      <a:pt x="0" y="75955"/>
                    </a:lnTo>
                    <a:cubicBezTo>
                      <a:pt x="0" y="77636"/>
                      <a:pt x="1367" y="79004"/>
                      <a:pt x="3049" y="79004"/>
                    </a:cubicBezTo>
                    <a:lnTo>
                      <a:pt x="17266" y="79004"/>
                    </a:lnTo>
                    <a:lnTo>
                      <a:pt x="17266" y="160659"/>
                    </a:lnTo>
                    <a:cubicBezTo>
                      <a:pt x="17266" y="162368"/>
                      <a:pt x="18661" y="163763"/>
                      <a:pt x="20369" y="163763"/>
                    </a:cubicBezTo>
                    <a:lnTo>
                      <a:pt x="47109" y="163763"/>
                    </a:lnTo>
                    <a:cubicBezTo>
                      <a:pt x="48818" y="163763"/>
                      <a:pt x="50213" y="162368"/>
                      <a:pt x="50213" y="160659"/>
                    </a:cubicBezTo>
                    <a:lnTo>
                      <a:pt x="50213" y="78990"/>
                    </a:lnTo>
                    <a:lnTo>
                      <a:pt x="71443" y="78990"/>
                    </a:lnTo>
                    <a:cubicBezTo>
                      <a:pt x="73125" y="78990"/>
                      <a:pt x="74492" y="77623"/>
                      <a:pt x="74492" y="75941"/>
                    </a:cubicBezTo>
                    <a:lnTo>
                      <a:pt x="74492" y="54902"/>
                    </a:lnTo>
                    <a:cubicBezTo>
                      <a:pt x="74492" y="53220"/>
                      <a:pt x="73125" y="51853"/>
                      <a:pt x="71443" y="51853"/>
                    </a:cubicBezTo>
                    <a:lnTo>
                      <a:pt x="50213" y="51853"/>
                    </a:lnTo>
                    <a:lnTo>
                      <a:pt x="50213" y="38565"/>
                    </a:lnTo>
                    <a:cubicBezTo>
                      <a:pt x="50213" y="33425"/>
                      <a:pt x="54382" y="29269"/>
                      <a:pt x="59509" y="29269"/>
                    </a:cubicBezTo>
                    <a:lnTo>
                      <a:pt x="75722" y="29269"/>
                    </a:lnTo>
                    <a:cubicBezTo>
                      <a:pt x="77431" y="29269"/>
                      <a:pt x="78826" y="27875"/>
                      <a:pt x="78826" y="26166"/>
                    </a:cubicBezTo>
                    <a:lnTo>
                      <a:pt x="78826" y="3103"/>
                    </a:lnTo>
                    <a:cubicBezTo>
                      <a:pt x="78826" y="1394"/>
                      <a:pt x="77431" y="0"/>
                      <a:pt x="75722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0119BC24-B6CD-69F9-B396-CC2D7457FCBE}"/>
                  </a:ext>
                </a:extLst>
              </p:cNvPr>
              <p:cNvSpPr/>
              <p:nvPr/>
            </p:nvSpPr>
            <p:spPr>
              <a:xfrm>
                <a:off x="11896791" y="6612367"/>
                <a:ext cx="25659" cy="25660"/>
              </a:xfrm>
              <a:custGeom>
                <a:avLst/>
                <a:gdLst>
                  <a:gd name="connsiteX0" fmla="*/ 25660 w 25659"/>
                  <a:gd name="connsiteY0" fmla="*/ 12810 h 25660"/>
                  <a:gd name="connsiteX1" fmla="*/ 12782 w 25659"/>
                  <a:gd name="connsiteY1" fmla="*/ 25660 h 25660"/>
                  <a:gd name="connsiteX2" fmla="*/ 0 w 25659"/>
                  <a:gd name="connsiteY2" fmla="*/ 12810 h 25660"/>
                  <a:gd name="connsiteX3" fmla="*/ 12823 w 25659"/>
                  <a:gd name="connsiteY3" fmla="*/ 0 h 25660"/>
                  <a:gd name="connsiteX4" fmla="*/ 25646 w 25659"/>
                  <a:gd name="connsiteY4" fmla="*/ 12810 h 25660"/>
                  <a:gd name="connsiteX5" fmla="*/ 23691 w 25659"/>
                  <a:gd name="connsiteY5" fmla="*/ 12864 h 25660"/>
                  <a:gd name="connsiteX6" fmla="*/ 12837 w 25659"/>
                  <a:gd name="connsiteY6" fmla="*/ 1832 h 25660"/>
                  <a:gd name="connsiteX7" fmla="*/ 1982 w 25659"/>
                  <a:gd name="connsiteY7" fmla="*/ 12851 h 25660"/>
                  <a:gd name="connsiteX8" fmla="*/ 12782 w 25659"/>
                  <a:gd name="connsiteY8" fmla="*/ 23856 h 25660"/>
                  <a:gd name="connsiteX9" fmla="*/ 23691 w 25659"/>
                  <a:gd name="connsiteY9" fmla="*/ 12864 h 25660"/>
                  <a:gd name="connsiteX10" fmla="*/ 15585 w 25659"/>
                  <a:gd name="connsiteY10" fmla="*/ 14888 h 25660"/>
                  <a:gd name="connsiteX11" fmla="*/ 18811 w 25659"/>
                  <a:gd name="connsiteY11" fmla="*/ 19905 h 25660"/>
                  <a:gd name="connsiteX12" fmla="*/ 16678 w 25659"/>
                  <a:gd name="connsiteY12" fmla="*/ 19905 h 25660"/>
                  <a:gd name="connsiteX13" fmla="*/ 13097 w 25659"/>
                  <a:gd name="connsiteY13" fmla="*/ 14218 h 25660"/>
                  <a:gd name="connsiteX14" fmla="*/ 9829 w 25659"/>
                  <a:gd name="connsiteY14" fmla="*/ 14218 h 25660"/>
                  <a:gd name="connsiteX15" fmla="*/ 9829 w 25659"/>
                  <a:gd name="connsiteY15" fmla="*/ 19905 h 25660"/>
                  <a:gd name="connsiteX16" fmla="*/ 8038 w 25659"/>
                  <a:gd name="connsiteY16" fmla="*/ 19905 h 25660"/>
                  <a:gd name="connsiteX17" fmla="*/ 8038 w 25659"/>
                  <a:gd name="connsiteY17" fmla="*/ 5523 h 25660"/>
                  <a:gd name="connsiteX18" fmla="*/ 13616 w 25659"/>
                  <a:gd name="connsiteY18" fmla="*/ 5523 h 25660"/>
                  <a:gd name="connsiteX19" fmla="*/ 18155 w 25659"/>
                  <a:gd name="connsiteY19" fmla="*/ 9761 h 25660"/>
                  <a:gd name="connsiteX20" fmla="*/ 14887 w 25659"/>
                  <a:gd name="connsiteY20" fmla="*/ 13917 h 25660"/>
                  <a:gd name="connsiteX21" fmla="*/ 15585 w 25659"/>
                  <a:gd name="connsiteY21" fmla="*/ 14901 h 25660"/>
                  <a:gd name="connsiteX22" fmla="*/ 13015 w 25659"/>
                  <a:gd name="connsiteY22" fmla="*/ 12522 h 25660"/>
                  <a:gd name="connsiteX23" fmla="*/ 16282 w 25659"/>
                  <a:gd name="connsiteY23" fmla="*/ 9870 h 25660"/>
                  <a:gd name="connsiteX24" fmla="*/ 13657 w 25659"/>
                  <a:gd name="connsiteY24" fmla="*/ 7191 h 25660"/>
                  <a:gd name="connsiteX25" fmla="*/ 9816 w 25659"/>
                  <a:gd name="connsiteY25" fmla="*/ 7191 h 25660"/>
                  <a:gd name="connsiteX26" fmla="*/ 9816 w 25659"/>
                  <a:gd name="connsiteY26" fmla="*/ 12509 h 25660"/>
                  <a:gd name="connsiteX27" fmla="*/ 13015 w 25659"/>
                  <a:gd name="connsiteY27" fmla="*/ 12509 h 25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25659" h="25660">
                    <a:moveTo>
                      <a:pt x="25660" y="12810"/>
                    </a:moveTo>
                    <a:cubicBezTo>
                      <a:pt x="25660" y="19946"/>
                      <a:pt x="19946" y="25660"/>
                      <a:pt x="12782" y="25660"/>
                    </a:cubicBezTo>
                    <a:cubicBezTo>
                      <a:pt x="5619" y="25660"/>
                      <a:pt x="0" y="19891"/>
                      <a:pt x="0" y="12810"/>
                    </a:cubicBezTo>
                    <a:cubicBezTo>
                      <a:pt x="0" y="5728"/>
                      <a:pt x="5714" y="0"/>
                      <a:pt x="12823" y="0"/>
                    </a:cubicBezTo>
                    <a:cubicBezTo>
                      <a:pt x="19932" y="0"/>
                      <a:pt x="25646" y="5687"/>
                      <a:pt x="25646" y="12810"/>
                    </a:cubicBezTo>
                    <a:close/>
                    <a:moveTo>
                      <a:pt x="23691" y="12864"/>
                    </a:moveTo>
                    <a:cubicBezTo>
                      <a:pt x="23691" y="6712"/>
                      <a:pt x="18838" y="1832"/>
                      <a:pt x="12837" y="1832"/>
                    </a:cubicBezTo>
                    <a:cubicBezTo>
                      <a:pt x="6835" y="1832"/>
                      <a:pt x="1982" y="6658"/>
                      <a:pt x="1982" y="12851"/>
                    </a:cubicBezTo>
                    <a:cubicBezTo>
                      <a:pt x="1982" y="19043"/>
                      <a:pt x="6890" y="23856"/>
                      <a:pt x="12782" y="23856"/>
                    </a:cubicBezTo>
                    <a:cubicBezTo>
                      <a:pt x="18674" y="23856"/>
                      <a:pt x="23691" y="19002"/>
                      <a:pt x="23691" y="12864"/>
                    </a:cubicBezTo>
                    <a:close/>
                    <a:moveTo>
                      <a:pt x="15585" y="14888"/>
                    </a:moveTo>
                    <a:lnTo>
                      <a:pt x="18811" y="19905"/>
                    </a:lnTo>
                    <a:lnTo>
                      <a:pt x="16678" y="19905"/>
                    </a:lnTo>
                    <a:lnTo>
                      <a:pt x="13097" y="14218"/>
                    </a:lnTo>
                    <a:lnTo>
                      <a:pt x="9829" y="14218"/>
                    </a:lnTo>
                    <a:lnTo>
                      <a:pt x="9829" y="19905"/>
                    </a:lnTo>
                    <a:lnTo>
                      <a:pt x="8038" y="19905"/>
                    </a:lnTo>
                    <a:lnTo>
                      <a:pt x="8038" y="5523"/>
                    </a:lnTo>
                    <a:lnTo>
                      <a:pt x="13616" y="5523"/>
                    </a:lnTo>
                    <a:cubicBezTo>
                      <a:pt x="16364" y="5523"/>
                      <a:pt x="18155" y="6999"/>
                      <a:pt x="18155" y="9761"/>
                    </a:cubicBezTo>
                    <a:cubicBezTo>
                      <a:pt x="18155" y="11989"/>
                      <a:pt x="16801" y="13370"/>
                      <a:pt x="14887" y="13917"/>
                    </a:cubicBezTo>
                    <a:cubicBezTo>
                      <a:pt x="15147" y="14204"/>
                      <a:pt x="15407" y="14559"/>
                      <a:pt x="15585" y="14901"/>
                    </a:cubicBezTo>
                    <a:close/>
                    <a:moveTo>
                      <a:pt x="13015" y="12522"/>
                    </a:moveTo>
                    <a:cubicBezTo>
                      <a:pt x="15038" y="12522"/>
                      <a:pt x="16282" y="11565"/>
                      <a:pt x="16282" y="9870"/>
                    </a:cubicBezTo>
                    <a:cubicBezTo>
                      <a:pt x="16282" y="8175"/>
                      <a:pt x="15421" y="7191"/>
                      <a:pt x="13657" y="7191"/>
                    </a:cubicBezTo>
                    <a:lnTo>
                      <a:pt x="9816" y="7191"/>
                    </a:lnTo>
                    <a:lnTo>
                      <a:pt x="9816" y="12509"/>
                    </a:lnTo>
                    <a:lnTo>
                      <a:pt x="13015" y="12509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2DDBF829-BE26-A00F-8BCA-37F24BCF9450}"/>
                  </a:ext>
                </a:extLst>
              </p:cNvPr>
              <p:cNvSpPr/>
              <p:nvPr/>
            </p:nvSpPr>
            <p:spPr>
              <a:xfrm>
                <a:off x="11620956" y="6472487"/>
                <a:ext cx="32932" cy="163721"/>
              </a:xfrm>
              <a:custGeom>
                <a:avLst/>
                <a:gdLst>
                  <a:gd name="connsiteX0" fmla="*/ 29830 w 32932"/>
                  <a:gd name="connsiteY0" fmla="*/ 0 h 163721"/>
                  <a:gd name="connsiteX1" fmla="*/ 32933 w 32932"/>
                  <a:gd name="connsiteY1" fmla="*/ 3103 h 163721"/>
                  <a:gd name="connsiteX2" fmla="*/ 32933 w 32932"/>
                  <a:gd name="connsiteY2" fmla="*/ 160618 h 163721"/>
                  <a:gd name="connsiteX3" fmla="*/ 29830 w 32932"/>
                  <a:gd name="connsiteY3" fmla="*/ 163722 h 163721"/>
                  <a:gd name="connsiteX4" fmla="*/ 3103 w 32932"/>
                  <a:gd name="connsiteY4" fmla="*/ 163722 h 163721"/>
                  <a:gd name="connsiteX5" fmla="*/ 0 w 32932"/>
                  <a:gd name="connsiteY5" fmla="*/ 160618 h 163721"/>
                  <a:gd name="connsiteX6" fmla="*/ 0 w 32932"/>
                  <a:gd name="connsiteY6" fmla="*/ 3103 h 163721"/>
                  <a:gd name="connsiteX7" fmla="*/ 3103 w 32932"/>
                  <a:gd name="connsiteY7" fmla="*/ 0 h 163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2932" h="163721">
                    <a:moveTo>
                      <a:pt x="29830" y="0"/>
                    </a:moveTo>
                    <a:cubicBezTo>
                      <a:pt x="31544" y="0"/>
                      <a:pt x="32933" y="1389"/>
                      <a:pt x="32933" y="3103"/>
                    </a:cubicBezTo>
                    <a:lnTo>
                      <a:pt x="32933" y="160618"/>
                    </a:lnTo>
                    <a:cubicBezTo>
                      <a:pt x="32933" y="162332"/>
                      <a:pt x="31543" y="163722"/>
                      <a:pt x="29830" y="163722"/>
                    </a:cubicBezTo>
                    <a:lnTo>
                      <a:pt x="3103" y="163722"/>
                    </a:lnTo>
                    <a:cubicBezTo>
                      <a:pt x="1389" y="163722"/>
                      <a:pt x="0" y="162332"/>
                      <a:pt x="0" y="160618"/>
                    </a:cubicBezTo>
                    <a:lnTo>
                      <a:pt x="0" y="3103"/>
                    </a:lnTo>
                    <a:cubicBezTo>
                      <a:pt x="0" y="1389"/>
                      <a:pt x="1389" y="0"/>
                      <a:pt x="3103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17D10DF8-5D86-9D72-59B8-B566532EF036}"/>
                  </a:ext>
                </a:extLst>
              </p:cNvPr>
              <p:cNvSpPr/>
              <p:nvPr/>
            </p:nvSpPr>
            <p:spPr>
              <a:xfrm>
                <a:off x="11488486" y="6472473"/>
                <a:ext cx="123638" cy="166086"/>
              </a:xfrm>
              <a:custGeom>
                <a:avLst/>
                <a:gdLst>
                  <a:gd name="connsiteX0" fmla="*/ 68737 w 123638"/>
                  <a:gd name="connsiteY0" fmla="*/ 44663 h 166086"/>
                  <a:gd name="connsiteX1" fmla="*/ 32947 w 123638"/>
                  <a:gd name="connsiteY1" fmla="*/ 62052 h 166086"/>
                  <a:gd name="connsiteX2" fmla="*/ 32947 w 123638"/>
                  <a:gd name="connsiteY2" fmla="*/ 3103 h 166086"/>
                  <a:gd name="connsiteX3" fmla="*/ 29843 w 123638"/>
                  <a:gd name="connsiteY3" fmla="*/ 0 h 166086"/>
                  <a:gd name="connsiteX4" fmla="*/ 3103 w 123638"/>
                  <a:gd name="connsiteY4" fmla="*/ 0 h 166086"/>
                  <a:gd name="connsiteX5" fmla="*/ 0 w 123638"/>
                  <a:gd name="connsiteY5" fmla="*/ 3103 h 166086"/>
                  <a:gd name="connsiteX6" fmla="*/ 0 w 123638"/>
                  <a:gd name="connsiteY6" fmla="*/ 160632 h 166086"/>
                  <a:gd name="connsiteX7" fmla="*/ 3103 w 123638"/>
                  <a:gd name="connsiteY7" fmla="*/ 163735 h 166086"/>
                  <a:gd name="connsiteX8" fmla="*/ 29843 w 123638"/>
                  <a:gd name="connsiteY8" fmla="*/ 163735 h 166086"/>
                  <a:gd name="connsiteX9" fmla="*/ 32947 w 123638"/>
                  <a:gd name="connsiteY9" fmla="*/ 160632 h 166086"/>
                  <a:gd name="connsiteX10" fmla="*/ 32947 w 123638"/>
                  <a:gd name="connsiteY10" fmla="*/ 149025 h 166086"/>
                  <a:gd name="connsiteX11" fmla="*/ 68983 w 123638"/>
                  <a:gd name="connsiteY11" fmla="*/ 166087 h 166086"/>
                  <a:gd name="connsiteX12" fmla="*/ 123638 w 123638"/>
                  <a:gd name="connsiteY12" fmla="*/ 105539 h 166086"/>
                  <a:gd name="connsiteX13" fmla="*/ 68750 w 123638"/>
                  <a:gd name="connsiteY13" fmla="*/ 44663 h 166086"/>
                  <a:gd name="connsiteX14" fmla="*/ 62188 w 123638"/>
                  <a:gd name="connsiteY14" fmla="*/ 135163 h 166086"/>
                  <a:gd name="connsiteX15" fmla="*/ 32947 w 123638"/>
                  <a:gd name="connsiteY15" fmla="*/ 105552 h 166086"/>
                  <a:gd name="connsiteX16" fmla="*/ 62188 w 123638"/>
                  <a:gd name="connsiteY16" fmla="*/ 76174 h 166086"/>
                  <a:gd name="connsiteX17" fmla="*/ 90965 w 123638"/>
                  <a:gd name="connsiteY17" fmla="*/ 105552 h 166086"/>
                  <a:gd name="connsiteX18" fmla="*/ 62188 w 123638"/>
                  <a:gd name="connsiteY18" fmla="*/ 135163 h 166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23638" h="166086">
                    <a:moveTo>
                      <a:pt x="68737" y="44663"/>
                    </a:moveTo>
                    <a:cubicBezTo>
                      <a:pt x="53535" y="44663"/>
                      <a:pt x="40889" y="51252"/>
                      <a:pt x="32947" y="62052"/>
                    </a:cubicBezTo>
                    <a:lnTo>
                      <a:pt x="32947" y="3103"/>
                    </a:lnTo>
                    <a:cubicBezTo>
                      <a:pt x="32947" y="1394"/>
                      <a:pt x="31552" y="0"/>
                      <a:pt x="29843" y="0"/>
                    </a:cubicBezTo>
                    <a:lnTo>
                      <a:pt x="3103" y="0"/>
                    </a:lnTo>
                    <a:cubicBezTo>
                      <a:pt x="1394" y="0"/>
                      <a:pt x="0" y="1394"/>
                      <a:pt x="0" y="3103"/>
                    </a:cubicBezTo>
                    <a:lnTo>
                      <a:pt x="0" y="160632"/>
                    </a:lnTo>
                    <a:cubicBezTo>
                      <a:pt x="0" y="162341"/>
                      <a:pt x="1394" y="163735"/>
                      <a:pt x="3103" y="163735"/>
                    </a:cubicBezTo>
                    <a:lnTo>
                      <a:pt x="29843" y="163735"/>
                    </a:lnTo>
                    <a:cubicBezTo>
                      <a:pt x="31552" y="163735"/>
                      <a:pt x="32947" y="162341"/>
                      <a:pt x="32947" y="160632"/>
                    </a:cubicBezTo>
                    <a:lnTo>
                      <a:pt x="32947" y="149025"/>
                    </a:lnTo>
                    <a:cubicBezTo>
                      <a:pt x="40903" y="159839"/>
                      <a:pt x="53535" y="166087"/>
                      <a:pt x="68983" y="166087"/>
                    </a:cubicBezTo>
                    <a:cubicBezTo>
                      <a:pt x="101505" y="166087"/>
                      <a:pt x="123638" y="139852"/>
                      <a:pt x="123638" y="105539"/>
                    </a:cubicBezTo>
                    <a:cubicBezTo>
                      <a:pt x="123638" y="71225"/>
                      <a:pt x="101505" y="44663"/>
                      <a:pt x="68750" y="44663"/>
                    </a:cubicBezTo>
                    <a:close/>
                    <a:moveTo>
                      <a:pt x="62188" y="135163"/>
                    </a:moveTo>
                    <a:cubicBezTo>
                      <a:pt x="45346" y="135163"/>
                      <a:pt x="32947" y="121533"/>
                      <a:pt x="32947" y="105552"/>
                    </a:cubicBezTo>
                    <a:cubicBezTo>
                      <a:pt x="32947" y="89571"/>
                      <a:pt x="45346" y="76174"/>
                      <a:pt x="62188" y="76174"/>
                    </a:cubicBezTo>
                    <a:cubicBezTo>
                      <a:pt x="79031" y="76174"/>
                      <a:pt x="90965" y="89571"/>
                      <a:pt x="90965" y="105552"/>
                    </a:cubicBezTo>
                    <a:cubicBezTo>
                      <a:pt x="90965" y="121533"/>
                      <a:pt x="78798" y="135163"/>
                      <a:pt x="62188" y="13516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5B0EBF40-88A0-CC83-9D2B-75EECB2A1B8E}"/>
                  </a:ext>
                </a:extLst>
              </p:cNvPr>
              <p:cNvSpPr/>
              <p:nvPr/>
            </p:nvSpPr>
            <p:spPr>
              <a:xfrm>
                <a:off x="11359421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EB1EDF1F-5C1C-9F73-C7E5-E8458BBB51ED}"/>
                  </a:ext>
                </a:extLst>
              </p:cNvPr>
              <p:cNvSpPr/>
              <p:nvPr/>
            </p:nvSpPr>
            <p:spPr>
              <a:xfrm>
                <a:off x="11662542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F264C4CC-C75F-E8B0-B8C6-1DA4851702BF}"/>
                  </a:ext>
                </a:extLst>
              </p:cNvPr>
              <p:cNvSpPr/>
              <p:nvPr/>
            </p:nvSpPr>
            <p:spPr>
              <a:xfrm>
                <a:off x="11122821" y="6519528"/>
                <a:ext cx="32932" cy="116680"/>
              </a:xfrm>
              <a:custGeom>
                <a:avLst/>
                <a:gdLst>
                  <a:gd name="connsiteX0" fmla="*/ 29843 w 32932"/>
                  <a:gd name="connsiteY0" fmla="*/ 116680 h 116680"/>
                  <a:gd name="connsiteX1" fmla="*/ 3103 w 32932"/>
                  <a:gd name="connsiteY1" fmla="*/ 116680 h 116680"/>
                  <a:gd name="connsiteX2" fmla="*/ 0 w 32932"/>
                  <a:gd name="connsiteY2" fmla="*/ 113577 h 116680"/>
                  <a:gd name="connsiteX3" fmla="*/ 0 w 32932"/>
                  <a:gd name="connsiteY3" fmla="*/ 30554 h 116680"/>
                  <a:gd name="connsiteX4" fmla="*/ 1859 w 32932"/>
                  <a:gd name="connsiteY4" fmla="*/ 26125 h 116680"/>
                  <a:gd name="connsiteX5" fmla="*/ 27670 w 32932"/>
                  <a:gd name="connsiteY5" fmla="*/ 888 h 116680"/>
                  <a:gd name="connsiteX6" fmla="*/ 32933 w 32932"/>
                  <a:gd name="connsiteY6" fmla="*/ 3103 h 116680"/>
                  <a:gd name="connsiteX7" fmla="*/ 32933 w 32932"/>
                  <a:gd name="connsiteY7" fmla="*/ 113577 h 116680"/>
                  <a:gd name="connsiteX8" fmla="*/ 29830 w 32932"/>
                  <a:gd name="connsiteY8" fmla="*/ 116680 h 116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932" h="116680">
                    <a:moveTo>
                      <a:pt x="29843" y="116680"/>
                    </a:moveTo>
                    <a:lnTo>
                      <a:pt x="3103" y="116680"/>
                    </a:lnTo>
                    <a:cubicBezTo>
                      <a:pt x="1394" y="116680"/>
                      <a:pt x="0" y="115286"/>
                      <a:pt x="0" y="113577"/>
                    </a:cubicBezTo>
                    <a:lnTo>
                      <a:pt x="0" y="30554"/>
                    </a:lnTo>
                    <a:cubicBezTo>
                      <a:pt x="0" y="28886"/>
                      <a:pt x="670" y="27287"/>
                      <a:pt x="1859" y="26125"/>
                    </a:cubicBezTo>
                    <a:lnTo>
                      <a:pt x="27670" y="888"/>
                    </a:lnTo>
                    <a:cubicBezTo>
                      <a:pt x="29638" y="-1026"/>
                      <a:pt x="32933" y="355"/>
                      <a:pt x="32933" y="3103"/>
                    </a:cubicBezTo>
                    <a:lnTo>
                      <a:pt x="32933" y="113577"/>
                    </a:lnTo>
                    <a:cubicBezTo>
                      <a:pt x="32933" y="115286"/>
                      <a:pt x="31538" y="116680"/>
                      <a:pt x="29830" y="11668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083F8ECF-C2D9-18CD-29FF-98247B4AC1C2}"/>
                  </a:ext>
                </a:extLst>
              </p:cNvPr>
              <p:cNvSpPr/>
              <p:nvPr/>
            </p:nvSpPr>
            <p:spPr>
              <a:xfrm>
                <a:off x="11173074" y="6517105"/>
                <a:ext cx="107493" cy="119116"/>
              </a:xfrm>
              <a:custGeom>
                <a:avLst/>
                <a:gdLst>
                  <a:gd name="connsiteX0" fmla="*/ 107480 w 107493"/>
                  <a:gd name="connsiteY0" fmla="*/ 41877 h 119116"/>
                  <a:gd name="connsiteX1" fmla="*/ 65237 w 107493"/>
                  <a:gd name="connsiteY1" fmla="*/ 3 h 119116"/>
                  <a:gd name="connsiteX2" fmla="*/ 32947 w 107493"/>
                  <a:gd name="connsiteY2" fmla="*/ 17474 h 119116"/>
                  <a:gd name="connsiteX3" fmla="*/ 32947 w 107493"/>
                  <a:gd name="connsiteY3" fmla="*/ 5581 h 119116"/>
                  <a:gd name="connsiteX4" fmla="*/ 29843 w 107493"/>
                  <a:gd name="connsiteY4" fmla="*/ 2478 h 119116"/>
                  <a:gd name="connsiteX5" fmla="*/ 3103 w 107493"/>
                  <a:gd name="connsiteY5" fmla="*/ 2478 h 119116"/>
                  <a:gd name="connsiteX6" fmla="*/ 0 w 107493"/>
                  <a:gd name="connsiteY6" fmla="*/ 5581 h 119116"/>
                  <a:gd name="connsiteX7" fmla="*/ 0 w 107493"/>
                  <a:gd name="connsiteY7" fmla="*/ 116000 h 119116"/>
                  <a:gd name="connsiteX8" fmla="*/ 3103 w 107493"/>
                  <a:gd name="connsiteY8" fmla="*/ 119103 h 119116"/>
                  <a:gd name="connsiteX9" fmla="*/ 29843 w 107493"/>
                  <a:gd name="connsiteY9" fmla="*/ 119103 h 119116"/>
                  <a:gd name="connsiteX10" fmla="*/ 32947 w 107493"/>
                  <a:gd name="connsiteY10" fmla="*/ 116000 h 119116"/>
                  <a:gd name="connsiteX11" fmla="*/ 32947 w 107493"/>
                  <a:gd name="connsiteY11" fmla="*/ 51788 h 119116"/>
                  <a:gd name="connsiteX12" fmla="*/ 53740 w 107493"/>
                  <a:gd name="connsiteY12" fmla="*/ 31747 h 119116"/>
                  <a:gd name="connsiteX13" fmla="*/ 74547 w 107493"/>
                  <a:gd name="connsiteY13" fmla="*/ 53210 h 119116"/>
                  <a:gd name="connsiteX14" fmla="*/ 74547 w 107493"/>
                  <a:gd name="connsiteY14" fmla="*/ 116014 h 119116"/>
                  <a:gd name="connsiteX15" fmla="*/ 77650 w 107493"/>
                  <a:gd name="connsiteY15" fmla="*/ 119117 h 119116"/>
                  <a:gd name="connsiteX16" fmla="*/ 104390 w 107493"/>
                  <a:gd name="connsiteY16" fmla="*/ 119117 h 119116"/>
                  <a:gd name="connsiteX17" fmla="*/ 107493 w 107493"/>
                  <a:gd name="connsiteY17" fmla="*/ 116014 h 119116"/>
                  <a:gd name="connsiteX18" fmla="*/ 107493 w 107493"/>
                  <a:gd name="connsiteY18" fmla="*/ 41890 h 119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7493" h="119116">
                    <a:moveTo>
                      <a:pt x="107480" y="41877"/>
                    </a:moveTo>
                    <a:cubicBezTo>
                      <a:pt x="107480" y="19252"/>
                      <a:pt x="88792" y="277"/>
                      <a:pt x="65237" y="3"/>
                    </a:cubicBezTo>
                    <a:cubicBezTo>
                      <a:pt x="49912" y="-175"/>
                      <a:pt x="39563" y="7331"/>
                      <a:pt x="32947" y="17474"/>
                    </a:cubicBezTo>
                    <a:lnTo>
                      <a:pt x="32947" y="5581"/>
                    </a:lnTo>
                    <a:cubicBezTo>
                      <a:pt x="32947" y="3872"/>
                      <a:pt x="31552" y="2478"/>
                      <a:pt x="29843" y="2478"/>
                    </a:cubicBezTo>
                    <a:lnTo>
                      <a:pt x="3103" y="2478"/>
                    </a:lnTo>
                    <a:cubicBezTo>
                      <a:pt x="1394" y="2478"/>
                      <a:pt x="0" y="3872"/>
                      <a:pt x="0" y="5581"/>
                    </a:cubicBezTo>
                    <a:lnTo>
                      <a:pt x="0" y="116000"/>
                    </a:lnTo>
                    <a:cubicBezTo>
                      <a:pt x="0" y="117709"/>
                      <a:pt x="1394" y="119103"/>
                      <a:pt x="3103" y="119103"/>
                    </a:cubicBezTo>
                    <a:lnTo>
                      <a:pt x="29843" y="119103"/>
                    </a:lnTo>
                    <a:cubicBezTo>
                      <a:pt x="31552" y="119103"/>
                      <a:pt x="32947" y="117709"/>
                      <a:pt x="32947" y="116000"/>
                    </a:cubicBezTo>
                    <a:lnTo>
                      <a:pt x="32947" y="51788"/>
                    </a:lnTo>
                    <a:cubicBezTo>
                      <a:pt x="33685" y="39430"/>
                      <a:pt x="41518" y="31747"/>
                      <a:pt x="53740" y="31747"/>
                    </a:cubicBezTo>
                    <a:cubicBezTo>
                      <a:pt x="65961" y="31747"/>
                      <a:pt x="74547" y="40373"/>
                      <a:pt x="74547" y="53210"/>
                    </a:cubicBezTo>
                    <a:lnTo>
                      <a:pt x="74547" y="116014"/>
                    </a:lnTo>
                    <a:cubicBezTo>
                      <a:pt x="74547" y="117722"/>
                      <a:pt x="75941" y="119117"/>
                      <a:pt x="77650" y="119117"/>
                    </a:cubicBezTo>
                    <a:lnTo>
                      <a:pt x="104390" y="119117"/>
                    </a:lnTo>
                    <a:cubicBezTo>
                      <a:pt x="106099" y="119117"/>
                      <a:pt x="107493" y="117722"/>
                      <a:pt x="107493" y="116014"/>
                    </a:cubicBezTo>
                    <a:lnTo>
                      <a:pt x="107493" y="41890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107125D9-C661-760E-3D31-07D56DE392B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7357" y="1953562"/>
            <a:ext cx="8788186" cy="340220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indent="0">
              <a:buNone/>
              <a:defRPr lang="en-US" b="0" i="0" dirty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pPr marL="0" lvl="0">
              <a:lnSpc>
                <a:spcPct val="120000"/>
              </a:lnSpc>
            </a:pPr>
            <a:r>
              <a:rPr lang="en-US"/>
              <a:t>Click to edit Master text styles</a:t>
            </a:r>
          </a:p>
        </p:txBody>
      </p:sp>
      <p:sp>
        <p:nvSpPr>
          <p:cNvPr id="25" name="Text Placeholder 34">
            <a:extLst>
              <a:ext uri="{FF2B5EF4-FFF2-40B4-BE49-F238E27FC236}">
                <a16:creationId xmlns:a16="http://schemas.microsoft.com/office/drawing/2014/main" id="{9E8436B3-A98A-274E-8B4C-EAECB4DA3B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07357" y="5565372"/>
            <a:ext cx="3436322" cy="444526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>
            <a:lvl1pPr marL="0" indent="0">
              <a:buNone/>
              <a:defRPr lang="en-US" sz="1800" b="0" i="0" dirty="0" smtClean="0">
                <a:solidFill>
                  <a:srgbClr val="00BD4D"/>
                </a:solidFill>
                <a:latin typeface="Lato" panose="020F0502020204030203" pitchFamily="34" charset="77"/>
              </a:defRPr>
            </a:lvl1pPr>
          </a:lstStyle>
          <a:p>
            <a:pPr marL="0" lvl="0">
              <a:lnSpc>
                <a:spcPct val="120000"/>
              </a:lnSpc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89945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AB5E5558-CEF4-4F61-30A3-E21E043E22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258511"/>
            <a:ext cx="12437462" cy="907089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B4EC665D-0131-BC16-31A4-E6C25F070D02}"/>
              </a:ext>
            </a:extLst>
          </p:cNvPr>
          <p:cNvGrpSpPr/>
          <p:nvPr userDrawn="1"/>
        </p:nvGrpSpPr>
        <p:grpSpPr>
          <a:xfrm>
            <a:off x="11122821" y="6472473"/>
            <a:ext cx="799629" cy="166100"/>
            <a:chOff x="11122821" y="6472473"/>
            <a:chExt cx="799629" cy="166100"/>
          </a:xfrm>
        </p:grpSpPr>
        <p:sp>
          <p:nvSpPr>
            <p:cNvPr id="4" name="Freeform: Shape 11">
              <a:extLst>
                <a:ext uri="{FF2B5EF4-FFF2-40B4-BE49-F238E27FC236}">
                  <a16:creationId xmlns:a16="http://schemas.microsoft.com/office/drawing/2014/main" id="{B796401B-4F67-93BE-5870-F6837DC3EE07}"/>
                </a:ext>
              </a:extLst>
            </p:cNvPr>
            <p:cNvSpPr/>
            <p:nvPr/>
          </p:nvSpPr>
          <p:spPr>
            <a:xfrm rot="18900000">
              <a:off x="11134957" y="6473485"/>
              <a:ext cx="35147" cy="35147"/>
            </a:xfrm>
            <a:custGeom>
              <a:avLst/>
              <a:gdLst>
                <a:gd name="connsiteX0" fmla="*/ 32044 w 35147"/>
                <a:gd name="connsiteY0" fmla="*/ 0 h 35147"/>
                <a:gd name="connsiteX1" fmla="*/ 35148 w 35147"/>
                <a:gd name="connsiteY1" fmla="*/ 3103 h 35147"/>
                <a:gd name="connsiteX2" fmla="*/ 35148 w 35147"/>
                <a:gd name="connsiteY2" fmla="*/ 32044 h 35147"/>
                <a:gd name="connsiteX3" fmla="*/ 32044 w 35147"/>
                <a:gd name="connsiteY3" fmla="*/ 35148 h 35147"/>
                <a:gd name="connsiteX4" fmla="*/ 3103 w 35147"/>
                <a:gd name="connsiteY4" fmla="*/ 35148 h 35147"/>
                <a:gd name="connsiteX5" fmla="*/ 0 w 35147"/>
                <a:gd name="connsiteY5" fmla="*/ 32044 h 35147"/>
                <a:gd name="connsiteX6" fmla="*/ 0 w 35147"/>
                <a:gd name="connsiteY6" fmla="*/ 3103 h 35147"/>
                <a:gd name="connsiteX7" fmla="*/ 3103 w 35147"/>
                <a:gd name="connsiteY7" fmla="*/ 0 h 35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147" h="35147">
                  <a:moveTo>
                    <a:pt x="32044" y="0"/>
                  </a:moveTo>
                  <a:cubicBezTo>
                    <a:pt x="33758" y="0"/>
                    <a:pt x="35148" y="1389"/>
                    <a:pt x="35148" y="3103"/>
                  </a:cubicBezTo>
                  <a:lnTo>
                    <a:pt x="35148" y="32044"/>
                  </a:lnTo>
                  <a:cubicBezTo>
                    <a:pt x="35148" y="33758"/>
                    <a:pt x="33758" y="35148"/>
                    <a:pt x="32044" y="35148"/>
                  </a:cubicBezTo>
                  <a:lnTo>
                    <a:pt x="3103" y="35148"/>
                  </a:lnTo>
                  <a:cubicBezTo>
                    <a:pt x="1389" y="35148"/>
                    <a:pt x="0" y="33758"/>
                    <a:pt x="0" y="32044"/>
                  </a:cubicBezTo>
                  <a:lnTo>
                    <a:pt x="0" y="3103"/>
                  </a:lnTo>
                  <a:cubicBezTo>
                    <a:pt x="0" y="1389"/>
                    <a:pt x="1389" y="0"/>
                    <a:pt x="3103" y="0"/>
                  </a:cubicBezTo>
                  <a:close/>
                </a:path>
              </a:pathLst>
            </a:custGeom>
            <a:solidFill>
              <a:srgbClr val="00BD4D"/>
            </a:solidFill>
            <a:ln w="135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F7253FF5-CF38-C21F-F804-1F69EE12DA94}"/>
                </a:ext>
              </a:extLst>
            </p:cNvPr>
            <p:cNvGrpSpPr/>
            <p:nvPr/>
          </p:nvGrpSpPr>
          <p:grpSpPr>
            <a:xfrm>
              <a:off x="11122821" y="6472473"/>
              <a:ext cx="799629" cy="166100"/>
              <a:chOff x="11122821" y="6472473"/>
              <a:chExt cx="799629" cy="166100"/>
            </a:xfrm>
            <a:solidFill>
              <a:schemeClr val="bg1"/>
            </a:solidFill>
          </p:grpSpPr>
          <p:sp>
            <p:nvSpPr>
              <p:cNvPr id="6" name="Freeform: Shape 13">
                <a:extLst>
                  <a:ext uri="{FF2B5EF4-FFF2-40B4-BE49-F238E27FC236}">
                    <a16:creationId xmlns:a16="http://schemas.microsoft.com/office/drawing/2014/main" id="{5E13B4BB-DCB6-70A1-55DB-6BA8417B626A}"/>
                  </a:ext>
                </a:extLst>
              </p:cNvPr>
              <p:cNvSpPr/>
              <p:nvPr/>
            </p:nvSpPr>
            <p:spPr>
              <a:xfrm>
                <a:off x="11774281" y="6519597"/>
                <a:ext cx="119385" cy="116611"/>
              </a:xfrm>
              <a:custGeom>
                <a:avLst/>
                <a:gdLst>
                  <a:gd name="connsiteX0" fmla="*/ 82523 w 119385"/>
                  <a:gd name="connsiteY0" fmla="*/ 58306 h 116611"/>
                  <a:gd name="connsiteX1" fmla="*/ 118887 w 119385"/>
                  <a:gd name="connsiteY1" fmla="*/ 112265 h 116611"/>
                  <a:gd name="connsiteX2" fmla="*/ 116385 w 119385"/>
                  <a:gd name="connsiteY2" fmla="*/ 116612 h 116611"/>
                  <a:gd name="connsiteX3" fmla="*/ 85831 w 119385"/>
                  <a:gd name="connsiteY3" fmla="*/ 116612 h 116611"/>
                  <a:gd name="connsiteX4" fmla="*/ 80718 w 119385"/>
                  <a:gd name="connsiteY4" fmla="*/ 113919 h 116611"/>
                  <a:gd name="connsiteX5" fmla="*/ 59693 w 119385"/>
                  <a:gd name="connsiteY5" fmla="*/ 81751 h 116611"/>
                  <a:gd name="connsiteX6" fmla="*/ 38667 w 119385"/>
                  <a:gd name="connsiteY6" fmla="*/ 113919 h 116611"/>
                  <a:gd name="connsiteX7" fmla="*/ 33554 w 119385"/>
                  <a:gd name="connsiteY7" fmla="*/ 116612 h 116611"/>
                  <a:gd name="connsiteX8" fmla="*/ 3000 w 119385"/>
                  <a:gd name="connsiteY8" fmla="*/ 116612 h 116611"/>
                  <a:gd name="connsiteX9" fmla="*/ 498 w 119385"/>
                  <a:gd name="connsiteY9" fmla="*/ 112265 h 116611"/>
                  <a:gd name="connsiteX10" fmla="*/ 36753 w 119385"/>
                  <a:gd name="connsiteY10" fmla="*/ 58306 h 116611"/>
                  <a:gd name="connsiteX11" fmla="*/ 498 w 119385"/>
                  <a:gd name="connsiteY11" fmla="*/ 4347 h 116611"/>
                  <a:gd name="connsiteX12" fmla="*/ 3000 w 119385"/>
                  <a:gd name="connsiteY12" fmla="*/ 0 h 116611"/>
                  <a:gd name="connsiteX13" fmla="*/ 34853 w 119385"/>
                  <a:gd name="connsiteY13" fmla="*/ 0 h 116611"/>
                  <a:gd name="connsiteX14" fmla="*/ 37778 w 119385"/>
                  <a:gd name="connsiteY14" fmla="*/ 1449 h 116611"/>
                  <a:gd name="connsiteX15" fmla="*/ 59679 w 119385"/>
                  <a:gd name="connsiteY15" fmla="*/ 34806 h 116611"/>
                  <a:gd name="connsiteX16" fmla="*/ 80240 w 119385"/>
                  <a:gd name="connsiteY16" fmla="*/ 1463 h 116611"/>
                  <a:gd name="connsiteX17" fmla="*/ 83165 w 119385"/>
                  <a:gd name="connsiteY17" fmla="*/ 0 h 116611"/>
                  <a:gd name="connsiteX18" fmla="*/ 115333 w 119385"/>
                  <a:gd name="connsiteY18" fmla="*/ 0 h 116611"/>
                  <a:gd name="connsiteX19" fmla="*/ 117834 w 119385"/>
                  <a:gd name="connsiteY19" fmla="*/ 4334 h 116611"/>
                  <a:gd name="connsiteX20" fmla="*/ 82495 w 119385"/>
                  <a:gd name="connsiteY20" fmla="*/ 58306 h 116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19385" h="116611">
                    <a:moveTo>
                      <a:pt x="82523" y="58306"/>
                    </a:moveTo>
                    <a:lnTo>
                      <a:pt x="118887" y="112265"/>
                    </a:lnTo>
                    <a:cubicBezTo>
                      <a:pt x="120199" y="114124"/>
                      <a:pt x="118764" y="116612"/>
                      <a:pt x="116385" y="116612"/>
                    </a:cubicBezTo>
                    <a:lnTo>
                      <a:pt x="85831" y="116612"/>
                    </a:lnTo>
                    <a:cubicBezTo>
                      <a:pt x="83794" y="116612"/>
                      <a:pt x="81880" y="115600"/>
                      <a:pt x="80718" y="113919"/>
                    </a:cubicBezTo>
                    <a:lnTo>
                      <a:pt x="59693" y="81751"/>
                    </a:lnTo>
                    <a:lnTo>
                      <a:pt x="38667" y="113919"/>
                    </a:lnTo>
                    <a:cubicBezTo>
                      <a:pt x="37505" y="115600"/>
                      <a:pt x="35605" y="116612"/>
                      <a:pt x="33554" y="116612"/>
                    </a:cubicBezTo>
                    <a:lnTo>
                      <a:pt x="3000" y="116612"/>
                    </a:lnTo>
                    <a:cubicBezTo>
                      <a:pt x="621" y="116612"/>
                      <a:pt x="-814" y="114138"/>
                      <a:pt x="498" y="112265"/>
                    </a:cubicBezTo>
                    <a:lnTo>
                      <a:pt x="36753" y="58306"/>
                    </a:lnTo>
                    <a:lnTo>
                      <a:pt x="498" y="4347"/>
                    </a:lnTo>
                    <a:cubicBezTo>
                      <a:pt x="-814" y="2488"/>
                      <a:pt x="621" y="0"/>
                      <a:pt x="3000" y="0"/>
                    </a:cubicBezTo>
                    <a:lnTo>
                      <a:pt x="34853" y="0"/>
                    </a:lnTo>
                    <a:cubicBezTo>
                      <a:pt x="36042" y="0"/>
                      <a:pt x="37149" y="547"/>
                      <a:pt x="37778" y="1449"/>
                    </a:cubicBezTo>
                    <a:lnTo>
                      <a:pt x="59679" y="34806"/>
                    </a:lnTo>
                    <a:lnTo>
                      <a:pt x="80240" y="1463"/>
                    </a:lnTo>
                    <a:cubicBezTo>
                      <a:pt x="80855" y="561"/>
                      <a:pt x="81976" y="0"/>
                      <a:pt x="83165" y="0"/>
                    </a:cubicBezTo>
                    <a:lnTo>
                      <a:pt x="115333" y="0"/>
                    </a:lnTo>
                    <a:cubicBezTo>
                      <a:pt x="117711" y="0"/>
                      <a:pt x="119133" y="2474"/>
                      <a:pt x="117834" y="4334"/>
                    </a:cubicBezTo>
                    <a:lnTo>
                      <a:pt x="82495" y="58306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" name="Freeform: Shape 14">
                <a:extLst>
                  <a:ext uri="{FF2B5EF4-FFF2-40B4-BE49-F238E27FC236}">
                    <a16:creationId xmlns:a16="http://schemas.microsoft.com/office/drawing/2014/main" id="{7F73E894-F1A4-3F51-EE8C-DC4958AFD2D3}"/>
                  </a:ext>
                </a:extLst>
              </p:cNvPr>
              <p:cNvSpPr/>
              <p:nvPr/>
            </p:nvSpPr>
            <p:spPr>
              <a:xfrm>
                <a:off x="11284928" y="6472473"/>
                <a:ext cx="78825" cy="163762"/>
              </a:xfrm>
              <a:custGeom>
                <a:avLst/>
                <a:gdLst>
                  <a:gd name="connsiteX0" fmla="*/ 75722 w 78825"/>
                  <a:gd name="connsiteY0" fmla="*/ 14 h 163762"/>
                  <a:gd name="connsiteX1" fmla="*/ 50377 w 78825"/>
                  <a:gd name="connsiteY1" fmla="*/ 14 h 163762"/>
                  <a:gd name="connsiteX2" fmla="*/ 43801 w 78825"/>
                  <a:gd name="connsiteY2" fmla="*/ 2734 h 163762"/>
                  <a:gd name="connsiteX3" fmla="*/ 19987 w 78825"/>
                  <a:gd name="connsiteY3" fmla="*/ 26549 h 163762"/>
                  <a:gd name="connsiteX4" fmla="*/ 17266 w 78825"/>
                  <a:gd name="connsiteY4" fmla="*/ 33124 h 163762"/>
                  <a:gd name="connsiteX5" fmla="*/ 17266 w 78825"/>
                  <a:gd name="connsiteY5" fmla="*/ 51867 h 163762"/>
                  <a:gd name="connsiteX6" fmla="*/ 3049 w 78825"/>
                  <a:gd name="connsiteY6" fmla="*/ 51867 h 163762"/>
                  <a:gd name="connsiteX7" fmla="*/ 0 w 78825"/>
                  <a:gd name="connsiteY7" fmla="*/ 54916 h 163762"/>
                  <a:gd name="connsiteX8" fmla="*/ 0 w 78825"/>
                  <a:gd name="connsiteY8" fmla="*/ 75955 h 163762"/>
                  <a:gd name="connsiteX9" fmla="*/ 3049 w 78825"/>
                  <a:gd name="connsiteY9" fmla="*/ 79004 h 163762"/>
                  <a:gd name="connsiteX10" fmla="*/ 17266 w 78825"/>
                  <a:gd name="connsiteY10" fmla="*/ 79004 h 163762"/>
                  <a:gd name="connsiteX11" fmla="*/ 17266 w 78825"/>
                  <a:gd name="connsiteY11" fmla="*/ 160659 h 163762"/>
                  <a:gd name="connsiteX12" fmla="*/ 20369 w 78825"/>
                  <a:gd name="connsiteY12" fmla="*/ 163763 h 163762"/>
                  <a:gd name="connsiteX13" fmla="*/ 47109 w 78825"/>
                  <a:gd name="connsiteY13" fmla="*/ 163763 h 163762"/>
                  <a:gd name="connsiteX14" fmla="*/ 50213 w 78825"/>
                  <a:gd name="connsiteY14" fmla="*/ 160659 h 163762"/>
                  <a:gd name="connsiteX15" fmla="*/ 50213 w 78825"/>
                  <a:gd name="connsiteY15" fmla="*/ 78990 h 163762"/>
                  <a:gd name="connsiteX16" fmla="*/ 71443 w 78825"/>
                  <a:gd name="connsiteY16" fmla="*/ 78990 h 163762"/>
                  <a:gd name="connsiteX17" fmla="*/ 74492 w 78825"/>
                  <a:gd name="connsiteY17" fmla="*/ 75941 h 163762"/>
                  <a:gd name="connsiteX18" fmla="*/ 74492 w 78825"/>
                  <a:gd name="connsiteY18" fmla="*/ 54902 h 163762"/>
                  <a:gd name="connsiteX19" fmla="*/ 71443 w 78825"/>
                  <a:gd name="connsiteY19" fmla="*/ 51853 h 163762"/>
                  <a:gd name="connsiteX20" fmla="*/ 50213 w 78825"/>
                  <a:gd name="connsiteY20" fmla="*/ 51853 h 163762"/>
                  <a:gd name="connsiteX21" fmla="*/ 50213 w 78825"/>
                  <a:gd name="connsiteY21" fmla="*/ 38565 h 163762"/>
                  <a:gd name="connsiteX22" fmla="*/ 59509 w 78825"/>
                  <a:gd name="connsiteY22" fmla="*/ 29269 h 163762"/>
                  <a:gd name="connsiteX23" fmla="*/ 75722 w 78825"/>
                  <a:gd name="connsiteY23" fmla="*/ 29269 h 163762"/>
                  <a:gd name="connsiteX24" fmla="*/ 78826 w 78825"/>
                  <a:gd name="connsiteY24" fmla="*/ 26166 h 163762"/>
                  <a:gd name="connsiteX25" fmla="*/ 78826 w 78825"/>
                  <a:gd name="connsiteY25" fmla="*/ 3103 h 163762"/>
                  <a:gd name="connsiteX26" fmla="*/ 75722 w 78825"/>
                  <a:gd name="connsiteY26" fmla="*/ 0 h 163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78825" h="163762">
                    <a:moveTo>
                      <a:pt x="75722" y="14"/>
                    </a:moveTo>
                    <a:lnTo>
                      <a:pt x="50377" y="14"/>
                    </a:lnTo>
                    <a:cubicBezTo>
                      <a:pt x="47916" y="14"/>
                      <a:pt x="45551" y="998"/>
                      <a:pt x="43801" y="2734"/>
                    </a:cubicBezTo>
                    <a:lnTo>
                      <a:pt x="19987" y="26549"/>
                    </a:lnTo>
                    <a:cubicBezTo>
                      <a:pt x="18237" y="28299"/>
                      <a:pt x="17266" y="30664"/>
                      <a:pt x="17266" y="33124"/>
                    </a:cubicBezTo>
                    <a:lnTo>
                      <a:pt x="17266" y="51867"/>
                    </a:lnTo>
                    <a:lnTo>
                      <a:pt x="3049" y="51867"/>
                    </a:lnTo>
                    <a:cubicBezTo>
                      <a:pt x="1367" y="51867"/>
                      <a:pt x="0" y="53234"/>
                      <a:pt x="0" y="54916"/>
                    </a:cubicBezTo>
                    <a:lnTo>
                      <a:pt x="0" y="75955"/>
                    </a:lnTo>
                    <a:cubicBezTo>
                      <a:pt x="0" y="77636"/>
                      <a:pt x="1367" y="79004"/>
                      <a:pt x="3049" y="79004"/>
                    </a:cubicBezTo>
                    <a:lnTo>
                      <a:pt x="17266" y="79004"/>
                    </a:lnTo>
                    <a:lnTo>
                      <a:pt x="17266" y="160659"/>
                    </a:lnTo>
                    <a:cubicBezTo>
                      <a:pt x="17266" y="162368"/>
                      <a:pt x="18661" y="163763"/>
                      <a:pt x="20369" y="163763"/>
                    </a:cubicBezTo>
                    <a:lnTo>
                      <a:pt x="47109" y="163763"/>
                    </a:lnTo>
                    <a:cubicBezTo>
                      <a:pt x="48818" y="163763"/>
                      <a:pt x="50213" y="162368"/>
                      <a:pt x="50213" y="160659"/>
                    </a:cubicBezTo>
                    <a:lnTo>
                      <a:pt x="50213" y="78990"/>
                    </a:lnTo>
                    <a:lnTo>
                      <a:pt x="71443" y="78990"/>
                    </a:lnTo>
                    <a:cubicBezTo>
                      <a:pt x="73125" y="78990"/>
                      <a:pt x="74492" y="77623"/>
                      <a:pt x="74492" y="75941"/>
                    </a:cubicBezTo>
                    <a:lnTo>
                      <a:pt x="74492" y="54902"/>
                    </a:lnTo>
                    <a:cubicBezTo>
                      <a:pt x="74492" y="53220"/>
                      <a:pt x="73125" y="51853"/>
                      <a:pt x="71443" y="51853"/>
                    </a:cubicBezTo>
                    <a:lnTo>
                      <a:pt x="50213" y="51853"/>
                    </a:lnTo>
                    <a:lnTo>
                      <a:pt x="50213" y="38565"/>
                    </a:lnTo>
                    <a:cubicBezTo>
                      <a:pt x="50213" y="33425"/>
                      <a:pt x="54382" y="29269"/>
                      <a:pt x="59509" y="29269"/>
                    </a:cubicBezTo>
                    <a:lnTo>
                      <a:pt x="75722" y="29269"/>
                    </a:lnTo>
                    <a:cubicBezTo>
                      <a:pt x="77431" y="29269"/>
                      <a:pt x="78826" y="27875"/>
                      <a:pt x="78826" y="26166"/>
                    </a:cubicBezTo>
                    <a:lnTo>
                      <a:pt x="78826" y="3103"/>
                    </a:lnTo>
                    <a:cubicBezTo>
                      <a:pt x="78826" y="1394"/>
                      <a:pt x="77431" y="0"/>
                      <a:pt x="75722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" name="Freeform: Shape 15">
                <a:extLst>
                  <a:ext uri="{FF2B5EF4-FFF2-40B4-BE49-F238E27FC236}">
                    <a16:creationId xmlns:a16="http://schemas.microsoft.com/office/drawing/2014/main" id="{888086AE-D76B-1E43-EEE3-61847DCA8132}"/>
                  </a:ext>
                </a:extLst>
              </p:cNvPr>
              <p:cNvSpPr/>
              <p:nvPr/>
            </p:nvSpPr>
            <p:spPr>
              <a:xfrm>
                <a:off x="11896791" y="6612367"/>
                <a:ext cx="25659" cy="25660"/>
              </a:xfrm>
              <a:custGeom>
                <a:avLst/>
                <a:gdLst>
                  <a:gd name="connsiteX0" fmla="*/ 25660 w 25659"/>
                  <a:gd name="connsiteY0" fmla="*/ 12810 h 25660"/>
                  <a:gd name="connsiteX1" fmla="*/ 12782 w 25659"/>
                  <a:gd name="connsiteY1" fmla="*/ 25660 h 25660"/>
                  <a:gd name="connsiteX2" fmla="*/ 0 w 25659"/>
                  <a:gd name="connsiteY2" fmla="*/ 12810 h 25660"/>
                  <a:gd name="connsiteX3" fmla="*/ 12823 w 25659"/>
                  <a:gd name="connsiteY3" fmla="*/ 0 h 25660"/>
                  <a:gd name="connsiteX4" fmla="*/ 25646 w 25659"/>
                  <a:gd name="connsiteY4" fmla="*/ 12810 h 25660"/>
                  <a:gd name="connsiteX5" fmla="*/ 23691 w 25659"/>
                  <a:gd name="connsiteY5" fmla="*/ 12864 h 25660"/>
                  <a:gd name="connsiteX6" fmla="*/ 12837 w 25659"/>
                  <a:gd name="connsiteY6" fmla="*/ 1832 h 25660"/>
                  <a:gd name="connsiteX7" fmla="*/ 1982 w 25659"/>
                  <a:gd name="connsiteY7" fmla="*/ 12851 h 25660"/>
                  <a:gd name="connsiteX8" fmla="*/ 12782 w 25659"/>
                  <a:gd name="connsiteY8" fmla="*/ 23856 h 25660"/>
                  <a:gd name="connsiteX9" fmla="*/ 23691 w 25659"/>
                  <a:gd name="connsiteY9" fmla="*/ 12864 h 25660"/>
                  <a:gd name="connsiteX10" fmla="*/ 15585 w 25659"/>
                  <a:gd name="connsiteY10" fmla="*/ 14888 h 25660"/>
                  <a:gd name="connsiteX11" fmla="*/ 18811 w 25659"/>
                  <a:gd name="connsiteY11" fmla="*/ 19905 h 25660"/>
                  <a:gd name="connsiteX12" fmla="*/ 16678 w 25659"/>
                  <a:gd name="connsiteY12" fmla="*/ 19905 h 25660"/>
                  <a:gd name="connsiteX13" fmla="*/ 13097 w 25659"/>
                  <a:gd name="connsiteY13" fmla="*/ 14218 h 25660"/>
                  <a:gd name="connsiteX14" fmla="*/ 9829 w 25659"/>
                  <a:gd name="connsiteY14" fmla="*/ 14218 h 25660"/>
                  <a:gd name="connsiteX15" fmla="*/ 9829 w 25659"/>
                  <a:gd name="connsiteY15" fmla="*/ 19905 h 25660"/>
                  <a:gd name="connsiteX16" fmla="*/ 8038 w 25659"/>
                  <a:gd name="connsiteY16" fmla="*/ 19905 h 25660"/>
                  <a:gd name="connsiteX17" fmla="*/ 8038 w 25659"/>
                  <a:gd name="connsiteY17" fmla="*/ 5523 h 25660"/>
                  <a:gd name="connsiteX18" fmla="*/ 13616 w 25659"/>
                  <a:gd name="connsiteY18" fmla="*/ 5523 h 25660"/>
                  <a:gd name="connsiteX19" fmla="*/ 18155 w 25659"/>
                  <a:gd name="connsiteY19" fmla="*/ 9761 h 25660"/>
                  <a:gd name="connsiteX20" fmla="*/ 14887 w 25659"/>
                  <a:gd name="connsiteY20" fmla="*/ 13917 h 25660"/>
                  <a:gd name="connsiteX21" fmla="*/ 15585 w 25659"/>
                  <a:gd name="connsiteY21" fmla="*/ 14901 h 25660"/>
                  <a:gd name="connsiteX22" fmla="*/ 13015 w 25659"/>
                  <a:gd name="connsiteY22" fmla="*/ 12522 h 25660"/>
                  <a:gd name="connsiteX23" fmla="*/ 16282 w 25659"/>
                  <a:gd name="connsiteY23" fmla="*/ 9870 h 25660"/>
                  <a:gd name="connsiteX24" fmla="*/ 13657 w 25659"/>
                  <a:gd name="connsiteY24" fmla="*/ 7191 h 25660"/>
                  <a:gd name="connsiteX25" fmla="*/ 9816 w 25659"/>
                  <a:gd name="connsiteY25" fmla="*/ 7191 h 25660"/>
                  <a:gd name="connsiteX26" fmla="*/ 9816 w 25659"/>
                  <a:gd name="connsiteY26" fmla="*/ 12509 h 25660"/>
                  <a:gd name="connsiteX27" fmla="*/ 13015 w 25659"/>
                  <a:gd name="connsiteY27" fmla="*/ 12509 h 25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25659" h="25660">
                    <a:moveTo>
                      <a:pt x="25660" y="12810"/>
                    </a:moveTo>
                    <a:cubicBezTo>
                      <a:pt x="25660" y="19946"/>
                      <a:pt x="19946" y="25660"/>
                      <a:pt x="12782" y="25660"/>
                    </a:cubicBezTo>
                    <a:cubicBezTo>
                      <a:pt x="5619" y="25660"/>
                      <a:pt x="0" y="19891"/>
                      <a:pt x="0" y="12810"/>
                    </a:cubicBezTo>
                    <a:cubicBezTo>
                      <a:pt x="0" y="5728"/>
                      <a:pt x="5714" y="0"/>
                      <a:pt x="12823" y="0"/>
                    </a:cubicBezTo>
                    <a:cubicBezTo>
                      <a:pt x="19932" y="0"/>
                      <a:pt x="25646" y="5687"/>
                      <a:pt x="25646" y="12810"/>
                    </a:cubicBezTo>
                    <a:close/>
                    <a:moveTo>
                      <a:pt x="23691" y="12864"/>
                    </a:moveTo>
                    <a:cubicBezTo>
                      <a:pt x="23691" y="6712"/>
                      <a:pt x="18838" y="1832"/>
                      <a:pt x="12837" y="1832"/>
                    </a:cubicBezTo>
                    <a:cubicBezTo>
                      <a:pt x="6835" y="1832"/>
                      <a:pt x="1982" y="6658"/>
                      <a:pt x="1982" y="12851"/>
                    </a:cubicBezTo>
                    <a:cubicBezTo>
                      <a:pt x="1982" y="19043"/>
                      <a:pt x="6890" y="23856"/>
                      <a:pt x="12782" y="23856"/>
                    </a:cubicBezTo>
                    <a:cubicBezTo>
                      <a:pt x="18674" y="23856"/>
                      <a:pt x="23691" y="19002"/>
                      <a:pt x="23691" y="12864"/>
                    </a:cubicBezTo>
                    <a:close/>
                    <a:moveTo>
                      <a:pt x="15585" y="14888"/>
                    </a:moveTo>
                    <a:lnTo>
                      <a:pt x="18811" y="19905"/>
                    </a:lnTo>
                    <a:lnTo>
                      <a:pt x="16678" y="19905"/>
                    </a:lnTo>
                    <a:lnTo>
                      <a:pt x="13097" y="14218"/>
                    </a:lnTo>
                    <a:lnTo>
                      <a:pt x="9829" y="14218"/>
                    </a:lnTo>
                    <a:lnTo>
                      <a:pt x="9829" y="19905"/>
                    </a:lnTo>
                    <a:lnTo>
                      <a:pt x="8038" y="19905"/>
                    </a:lnTo>
                    <a:lnTo>
                      <a:pt x="8038" y="5523"/>
                    </a:lnTo>
                    <a:lnTo>
                      <a:pt x="13616" y="5523"/>
                    </a:lnTo>
                    <a:cubicBezTo>
                      <a:pt x="16364" y="5523"/>
                      <a:pt x="18155" y="6999"/>
                      <a:pt x="18155" y="9761"/>
                    </a:cubicBezTo>
                    <a:cubicBezTo>
                      <a:pt x="18155" y="11989"/>
                      <a:pt x="16801" y="13370"/>
                      <a:pt x="14887" y="13917"/>
                    </a:cubicBezTo>
                    <a:cubicBezTo>
                      <a:pt x="15147" y="14204"/>
                      <a:pt x="15407" y="14559"/>
                      <a:pt x="15585" y="14901"/>
                    </a:cubicBezTo>
                    <a:close/>
                    <a:moveTo>
                      <a:pt x="13015" y="12522"/>
                    </a:moveTo>
                    <a:cubicBezTo>
                      <a:pt x="15038" y="12522"/>
                      <a:pt x="16282" y="11565"/>
                      <a:pt x="16282" y="9870"/>
                    </a:cubicBezTo>
                    <a:cubicBezTo>
                      <a:pt x="16282" y="8175"/>
                      <a:pt x="15421" y="7191"/>
                      <a:pt x="13657" y="7191"/>
                    </a:cubicBezTo>
                    <a:lnTo>
                      <a:pt x="9816" y="7191"/>
                    </a:lnTo>
                    <a:lnTo>
                      <a:pt x="9816" y="12509"/>
                    </a:lnTo>
                    <a:lnTo>
                      <a:pt x="13015" y="12509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" name="Freeform: Shape 16">
                <a:extLst>
                  <a:ext uri="{FF2B5EF4-FFF2-40B4-BE49-F238E27FC236}">
                    <a16:creationId xmlns:a16="http://schemas.microsoft.com/office/drawing/2014/main" id="{EE6206B8-C47E-4965-8D85-A319EE210AD8}"/>
                  </a:ext>
                </a:extLst>
              </p:cNvPr>
              <p:cNvSpPr/>
              <p:nvPr/>
            </p:nvSpPr>
            <p:spPr>
              <a:xfrm>
                <a:off x="11620956" y="6472487"/>
                <a:ext cx="32932" cy="163721"/>
              </a:xfrm>
              <a:custGeom>
                <a:avLst/>
                <a:gdLst>
                  <a:gd name="connsiteX0" fmla="*/ 29830 w 32932"/>
                  <a:gd name="connsiteY0" fmla="*/ 0 h 163721"/>
                  <a:gd name="connsiteX1" fmla="*/ 32933 w 32932"/>
                  <a:gd name="connsiteY1" fmla="*/ 3103 h 163721"/>
                  <a:gd name="connsiteX2" fmla="*/ 32933 w 32932"/>
                  <a:gd name="connsiteY2" fmla="*/ 160618 h 163721"/>
                  <a:gd name="connsiteX3" fmla="*/ 29830 w 32932"/>
                  <a:gd name="connsiteY3" fmla="*/ 163722 h 163721"/>
                  <a:gd name="connsiteX4" fmla="*/ 3103 w 32932"/>
                  <a:gd name="connsiteY4" fmla="*/ 163722 h 163721"/>
                  <a:gd name="connsiteX5" fmla="*/ 0 w 32932"/>
                  <a:gd name="connsiteY5" fmla="*/ 160618 h 163721"/>
                  <a:gd name="connsiteX6" fmla="*/ 0 w 32932"/>
                  <a:gd name="connsiteY6" fmla="*/ 3103 h 163721"/>
                  <a:gd name="connsiteX7" fmla="*/ 3103 w 32932"/>
                  <a:gd name="connsiteY7" fmla="*/ 0 h 163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2932" h="163721">
                    <a:moveTo>
                      <a:pt x="29830" y="0"/>
                    </a:moveTo>
                    <a:cubicBezTo>
                      <a:pt x="31544" y="0"/>
                      <a:pt x="32933" y="1389"/>
                      <a:pt x="32933" y="3103"/>
                    </a:cubicBezTo>
                    <a:lnTo>
                      <a:pt x="32933" y="160618"/>
                    </a:lnTo>
                    <a:cubicBezTo>
                      <a:pt x="32933" y="162332"/>
                      <a:pt x="31543" y="163722"/>
                      <a:pt x="29830" y="163722"/>
                    </a:cubicBezTo>
                    <a:lnTo>
                      <a:pt x="3103" y="163722"/>
                    </a:lnTo>
                    <a:cubicBezTo>
                      <a:pt x="1389" y="163722"/>
                      <a:pt x="0" y="162332"/>
                      <a:pt x="0" y="160618"/>
                    </a:cubicBezTo>
                    <a:lnTo>
                      <a:pt x="0" y="3103"/>
                    </a:lnTo>
                    <a:cubicBezTo>
                      <a:pt x="0" y="1389"/>
                      <a:pt x="1389" y="0"/>
                      <a:pt x="3103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" name="Freeform: Shape 17">
                <a:extLst>
                  <a:ext uri="{FF2B5EF4-FFF2-40B4-BE49-F238E27FC236}">
                    <a16:creationId xmlns:a16="http://schemas.microsoft.com/office/drawing/2014/main" id="{66C25072-8BB8-02D4-5B28-5ADC8076A5EE}"/>
                  </a:ext>
                </a:extLst>
              </p:cNvPr>
              <p:cNvSpPr/>
              <p:nvPr/>
            </p:nvSpPr>
            <p:spPr>
              <a:xfrm>
                <a:off x="11488486" y="6472473"/>
                <a:ext cx="123638" cy="166086"/>
              </a:xfrm>
              <a:custGeom>
                <a:avLst/>
                <a:gdLst>
                  <a:gd name="connsiteX0" fmla="*/ 68737 w 123638"/>
                  <a:gd name="connsiteY0" fmla="*/ 44663 h 166086"/>
                  <a:gd name="connsiteX1" fmla="*/ 32947 w 123638"/>
                  <a:gd name="connsiteY1" fmla="*/ 62052 h 166086"/>
                  <a:gd name="connsiteX2" fmla="*/ 32947 w 123638"/>
                  <a:gd name="connsiteY2" fmla="*/ 3103 h 166086"/>
                  <a:gd name="connsiteX3" fmla="*/ 29843 w 123638"/>
                  <a:gd name="connsiteY3" fmla="*/ 0 h 166086"/>
                  <a:gd name="connsiteX4" fmla="*/ 3103 w 123638"/>
                  <a:gd name="connsiteY4" fmla="*/ 0 h 166086"/>
                  <a:gd name="connsiteX5" fmla="*/ 0 w 123638"/>
                  <a:gd name="connsiteY5" fmla="*/ 3103 h 166086"/>
                  <a:gd name="connsiteX6" fmla="*/ 0 w 123638"/>
                  <a:gd name="connsiteY6" fmla="*/ 160632 h 166086"/>
                  <a:gd name="connsiteX7" fmla="*/ 3103 w 123638"/>
                  <a:gd name="connsiteY7" fmla="*/ 163735 h 166086"/>
                  <a:gd name="connsiteX8" fmla="*/ 29843 w 123638"/>
                  <a:gd name="connsiteY8" fmla="*/ 163735 h 166086"/>
                  <a:gd name="connsiteX9" fmla="*/ 32947 w 123638"/>
                  <a:gd name="connsiteY9" fmla="*/ 160632 h 166086"/>
                  <a:gd name="connsiteX10" fmla="*/ 32947 w 123638"/>
                  <a:gd name="connsiteY10" fmla="*/ 149025 h 166086"/>
                  <a:gd name="connsiteX11" fmla="*/ 68983 w 123638"/>
                  <a:gd name="connsiteY11" fmla="*/ 166087 h 166086"/>
                  <a:gd name="connsiteX12" fmla="*/ 123638 w 123638"/>
                  <a:gd name="connsiteY12" fmla="*/ 105539 h 166086"/>
                  <a:gd name="connsiteX13" fmla="*/ 68750 w 123638"/>
                  <a:gd name="connsiteY13" fmla="*/ 44663 h 166086"/>
                  <a:gd name="connsiteX14" fmla="*/ 62188 w 123638"/>
                  <a:gd name="connsiteY14" fmla="*/ 135163 h 166086"/>
                  <a:gd name="connsiteX15" fmla="*/ 32947 w 123638"/>
                  <a:gd name="connsiteY15" fmla="*/ 105552 h 166086"/>
                  <a:gd name="connsiteX16" fmla="*/ 62188 w 123638"/>
                  <a:gd name="connsiteY16" fmla="*/ 76174 h 166086"/>
                  <a:gd name="connsiteX17" fmla="*/ 90965 w 123638"/>
                  <a:gd name="connsiteY17" fmla="*/ 105552 h 166086"/>
                  <a:gd name="connsiteX18" fmla="*/ 62188 w 123638"/>
                  <a:gd name="connsiteY18" fmla="*/ 135163 h 166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23638" h="166086">
                    <a:moveTo>
                      <a:pt x="68737" y="44663"/>
                    </a:moveTo>
                    <a:cubicBezTo>
                      <a:pt x="53535" y="44663"/>
                      <a:pt x="40889" y="51252"/>
                      <a:pt x="32947" y="62052"/>
                    </a:cubicBezTo>
                    <a:lnTo>
                      <a:pt x="32947" y="3103"/>
                    </a:lnTo>
                    <a:cubicBezTo>
                      <a:pt x="32947" y="1394"/>
                      <a:pt x="31552" y="0"/>
                      <a:pt x="29843" y="0"/>
                    </a:cubicBezTo>
                    <a:lnTo>
                      <a:pt x="3103" y="0"/>
                    </a:lnTo>
                    <a:cubicBezTo>
                      <a:pt x="1394" y="0"/>
                      <a:pt x="0" y="1394"/>
                      <a:pt x="0" y="3103"/>
                    </a:cubicBezTo>
                    <a:lnTo>
                      <a:pt x="0" y="160632"/>
                    </a:lnTo>
                    <a:cubicBezTo>
                      <a:pt x="0" y="162341"/>
                      <a:pt x="1394" y="163735"/>
                      <a:pt x="3103" y="163735"/>
                    </a:cubicBezTo>
                    <a:lnTo>
                      <a:pt x="29843" y="163735"/>
                    </a:lnTo>
                    <a:cubicBezTo>
                      <a:pt x="31552" y="163735"/>
                      <a:pt x="32947" y="162341"/>
                      <a:pt x="32947" y="160632"/>
                    </a:cubicBezTo>
                    <a:lnTo>
                      <a:pt x="32947" y="149025"/>
                    </a:lnTo>
                    <a:cubicBezTo>
                      <a:pt x="40903" y="159839"/>
                      <a:pt x="53535" y="166087"/>
                      <a:pt x="68983" y="166087"/>
                    </a:cubicBezTo>
                    <a:cubicBezTo>
                      <a:pt x="101505" y="166087"/>
                      <a:pt x="123638" y="139852"/>
                      <a:pt x="123638" y="105539"/>
                    </a:cubicBezTo>
                    <a:cubicBezTo>
                      <a:pt x="123638" y="71225"/>
                      <a:pt x="101505" y="44663"/>
                      <a:pt x="68750" y="44663"/>
                    </a:cubicBezTo>
                    <a:close/>
                    <a:moveTo>
                      <a:pt x="62188" y="135163"/>
                    </a:moveTo>
                    <a:cubicBezTo>
                      <a:pt x="45346" y="135163"/>
                      <a:pt x="32947" y="121533"/>
                      <a:pt x="32947" y="105552"/>
                    </a:cubicBezTo>
                    <a:cubicBezTo>
                      <a:pt x="32947" y="89571"/>
                      <a:pt x="45346" y="76174"/>
                      <a:pt x="62188" y="76174"/>
                    </a:cubicBezTo>
                    <a:cubicBezTo>
                      <a:pt x="79031" y="76174"/>
                      <a:pt x="90965" y="89571"/>
                      <a:pt x="90965" y="105552"/>
                    </a:cubicBezTo>
                    <a:cubicBezTo>
                      <a:pt x="90965" y="121533"/>
                      <a:pt x="78798" y="135163"/>
                      <a:pt x="62188" y="13516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" name="Freeform: Shape 18">
                <a:extLst>
                  <a:ext uri="{FF2B5EF4-FFF2-40B4-BE49-F238E27FC236}">
                    <a16:creationId xmlns:a16="http://schemas.microsoft.com/office/drawing/2014/main" id="{B526B3D0-B262-F593-06B1-A1344A959E7B}"/>
                  </a:ext>
                </a:extLst>
              </p:cNvPr>
              <p:cNvSpPr/>
              <p:nvPr/>
            </p:nvSpPr>
            <p:spPr>
              <a:xfrm>
                <a:off x="11359421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" name="Freeform: Shape 19">
                <a:extLst>
                  <a:ext uri="{FF2B5EF4-FFF2-40B4-BE49-F238E27FC236}">
                    <a16:creationId xmlns:a16="http://schemas.microsoft.com/office/drawing/2014/main" id="{54EEA4C1-75CA-C43A-C11D-99B2FF49FBE2}"/>
                  </a:ext>
                </a:extLst>
              </p:cNvPr>
              <p:cNvSpPr/>
              <p:nvPr/>
            </p:nvSpPr>
            <p:spPr>
              <a:xfrm>
                <a:off x="11662542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" name="Freeform: Shape 20">
                <a:extLst>
                  <a:ext uri="{FF2B5EF4-FFF2-40B4-BE49-F238E27FC236}">
                    <a16:creationId xmlns:a16="http://schemas.microsoft.com/office/drawing/2014/main" id="{F4645C1D-5A97-786E-E5B2-63CF3F1299C5}"/>
                  </a:ext>
                </a:extLst>
              </p:cNvPr>
              <p:cNvSpPr/>
              <p:nvPr/>
            </p:nvSpPr>
            <p:spPr>
              <a:xfrm>
                <a:off x="11122821" y="6519528"/>
                <a:ext cx="32932" cy="116680"/>
              </a:xfrm>
              <a:custGeom>
                <a:avLst/>
                <a:gdLst>
                  <a:gd name="connsiteX0" fmla="*/ 29843 w 32932"/>
                  <a:gd name="connsiteY0" fmla="*/ 116680 h 116680"/>
                  <a:gd name="connsiteX1" fmla="*/ 3103 w 32932"/>
                  <a:gd name="connsiteY1" fmla="*/ 116680 h 116680"/>
                  <a:gd name="connsiteX2" fmla="*/ 0 w 32932"/>
                  <a:gd name="connsiteY2" fmla="*/ 113577 h 116680"/>
                  <a:gd name="connsiteX3" fmla="*/ 0 w 32932"/>
                  <a:gd name="connsiteY3" fmla="*/ 30554 h 116680"/>
                  <a:gd name="connsiteX4" fmla="*/ 1859 w 32932"/>
                  <a:gd name="connsiteY4" fmla="*/ 26125 h 116680"/>
                  <a:gd name="connsiteX5" fmla="*/ 27670 w 32932"/>
                  <a:gd name="connsiteY5" fmla="*/ 888 h 116680"/>
                  <a:gd name="connsiteX6" fmla="*/ 32933 w 32932"/>
                  <a:gd name="connsiteY6" fmla="*/ 3103 h 116680"/>
                  <a:gd name="connsiteX7" fmla="*/ 32933 w 32932"/>
                  <a:gd name="connsiteY7" fmla="*/ 113577 h 116680"/>
                  <a:gd name="connsiteX8" fmla="*/ 29830 w 32932"/>
                  <a:gd name="connsiteY8" fmla="*/ 116680 h 116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932" h="116680">
                    <a:moveTo>
                      <a:pt x="29843" y="116680"/>
                    </a:moveTo>
                    <a:lnTo>
                      <a:pt x="3103" y="116680"/>
                    </a:lnTo>
                    <a:cubicBezTo>
                      <a:pt x="1394" y="116680"/>
                      <a:pt x="0" y="115286"/>
                      <a:pt x="0" y="113577"/>
                    </a:cubicBezTo>
                    <a:lnTo>
                      <a:pt x="0" y="30554"/>
                    </a:lnTo>
                    <a:cubicBezTo>
                      <a:pt x="0" y="28886"/>
                      <a:pt x="670" y="27287"/>
                      <a:pt x="1859" y="26125"/>
                    </a:cubicBezTo>
                    <a:lnTo>
                      <a:pt x="27670" y="888"/>
                    </a:lnTo>
                    <a:cubicBezTo>
                      <a:pt x="29638" y="-1026"/>
                      <a:pt x="32933" y="355"/>
                      <a:pt x="32933" y="3103"/>
                    </a:cubicBezTo>
                    <a:lnTo>
                      <a:pt x="32933" y="113577"/>
                    </a:lnTo>
                    <a:cubicBezTo>
                      <a:pt x="32933" y="115286"/>
                      <a:pt x="31538" y="116680"/>
                      <a:pt x="29830" y="11668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" name="Freeform: Shape 21">
                <a:extLst>
                  <a:ext uri="{FF2B5EF4-FFF2-40B4-BE49-F238E27FC236}">
                    <a16:creationId xmlns:a16="http://schemas.microsoft.com/office/drawing/2014/main" id="{66A2A4CD-AEEC-7517-6FCF-4F1293440B24}"/>
                  </a:ext>
                </a:extLst>
              </p:cNvPr>
              <p:cNvSpPr/>
              <p:nvPr/>
            </p:nvSpPr>
            <p:spPr>
              <a:xfrm>
                <a:off x="11173074" y="6517105"/>
                <a:ext cx="107493" cy="119116"/>
              </a:xfrm>
              <a:custGeom>
                <a:avLst/>
                <a:gdLst>
                  <a:gd name="connsiteX0" fmla="*/ 107480 w 107493"/>
                  <a:gd name="connsiteY0" fmla="*/ 41877 h 119116"/>
                  <a:gd name="connsiteX1" fmla="*/ 65237 w 107493"/>
                  <a:gd name="connsiteY1" fmla="*/ 3 h 119116"/>
                  <a:gd name="connsiteX2" fmla="*/ 32947 w 107493"/>
                  <a:gd name="connsiteY2" fmla="*/ 17474 h 119116"/>
                  <a:gd name="connsiteX3" fmla="*/ 32947 w 107493"/>
                  <a:gd name="connsiteY3" fmla="*/ 5581 h 119116"/>
                  <a:gd name="connsiteX4" fmla="*/ 29843 w 107493"/>
                  <a:gd name="connsiteY4" fmla="*/ 2478 h 119116"/>
                  <a:gd name="connsiteX5" fmla="*/ 3103 w 107493"/>
                  <a:gd name="connsiteY5" fmla="*/ 2478 h 119116"/>
                  <a:gd name="connsiteX6" fmla="*/ 0 w 107493"/>
                  <a:gd name="connsiteY6" fmla="*/ 5581 h 119116"/>
                  <a:gd name="connsiteX7" fmla="*/ 0 w 107493"/>
                  <a:gd name="connsiteY7" fmla="*/ 116000 h 119116"/>
                  <a:gd name="connsiteX8" fmla="*/ 3103 w 107493"/>
                  <a:gd name="connsiteY8" fmla="*/ 119103 h 119116"/>
                  <a:gd name="connsiteX9" fmla="*/ 29843 w 107493"/>
                  <a:gd name="connsiteY9" fmla="*/ 119103 h 119116"/>
                  <a:gd name="connsiteX10" fmla="*/ 32947 w 107493"/>
                  <a:gd name="connsiteY10" fmla="*/ 116000 h 119116"/>
                  <a:gd name="connsiteX11" fmla="*/ 32947 w 107493"/>
                  <a:gd name="connsiteY11" fmla="*/ 51788 h 119116"/>
                  <a:gd name="connsiteX12" fmla="*/ 53740 w 107493"/>
                  <a:gd name="connsiteY12" fmla="*/ 31747 h 119116"/>
                  <a:gd name="connsiteX13" fmla="*/ 74547 w 107493"/>
                  <a:gd name="connsiteY13" fmla="*/ 53210 h 119116"/>
                  <a:gd name="connsiteX14" fmla="*/ 74547 w 107493"/>
                  <a:gd name="connsiteY14" fmla="*/ 116014 h 119116"/>
                  <a:gd name="connsiteX15" fmla="*/ 77650 w 107493"/>
                  <a:gd name="connsiteY15" fmla="*/ 119117 h 119116"/>
                  <a:gd name="connsiteX16" fmla="*/ 104390 w 107493"/>
                  <a:gd name="connsiteY16" fmla="*/ 119117 h 119116"/>
                  <a:gd name="connsiteX17" fmla="*/ 107493 w 107493"/>
                  <a:gd name="connsiteY17" fmla="*/ 116014 h 119116"/>
                  <a:gd name="connsiteX18" fmla="*/ 107493 w 107493"/>
                  <a:gd name="connsiteY18" fmla="*/ 41890 h 119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7493" h="119116">
                    <a:moveTo>
                      <a:pt x="107480" y="41877"/>
                    </a:moveTo>
                    <a:cubicBezTo>
                      <a:pt x="107480" y="19252"/>
                      <a:pt x="88792" y="277"/>
                      <a:pt x="65237" y="3"/>
                    </a:cubicBezTo>
                    <a:cubicBezTo>
                      <a:pt x="49912" y="-175"/>
                      <a:pt x="39563" y="7331"/>
                      <a:pt x="32947" y="17474"/>
                    </a:cubicBezTo>
                    <a:lnTo>
                      <a:pt x="32947" y="5581"/>
                    </a:lnTo>
                    <a:cubicBezTo>
                      <a:pt x="32947" y="3872"/>
                      <a:pt x="31552" y="2478"/>
                      <a:pt x="29843" y="2478"/>
                    </a:cubicBezTo>
                    <a:lnTo>
                      <a:pt x="3103" y="2478"/>
                    </a:lnTo>
                    <a:cubicBezTo>
                      <a:pt x="1394" y="2478"/>
                      <a:pt x="0" y="3872"/>
                      <a:pt x="0" y="5581"/>
                    </a:cubicBezTo>
                    <a:lnTo>
                      <a:pt x="0" y="116000"/>
                    </a:lnTo>
                    <a:cubicBezTo>
                      <a:pt x="0" y="117709"/>
                      <a:pt x="1394" y="119103"/>
                      <a:pt x="3103" y="119103"/>
                    </a:cubicBezTo>
                    <a:lnTo>
                      <a:pt x="29843" y="119103"/>
                    </a:lnTo>
                    <a:cubicBezTo>
                      <a:pt x="31552" y="119103"/>
                      <a:pt x="32947" y="117709"/>
                      <a:pt x="32947" y="116000"/>
                    </a:cubicBezTo>
                    <a:lnTo>
                      <a:pt x="32947" y="51788"/>
                    </a:lnTo>
                    <a:cubicBezTo>
                      <a:pt x="33685" y="39430"/>
                      <a:pt x="41518" y="31747"/>
                      <a:pt x="53740" y="31747"/>
                    </a:cubicBezTo>
                    <a:cubicBezTo>
                      <a:pt x="65961" y="31747"/>
                      <a:pt x="74547" y="40373"/>
                      <a:pt x="74547" y="53210"/>
                    </a:cubicBezTo>
                    <a:lnTo>
                      <a:pt x="74547" y="116014"/>
                    </a:lnTo>
                    <a:cubicBezTo>
                      <a:pt x="74547" y="117722"/>
                      <a:pt x="75941" y="119117"/>
                      <a:pt x="77650" y="119117"/>
                    </a:cubicBezTo>
                    <a:lnTo>
                      <a:pt x="104390" y="119117"/>
                    </a:lnTo>
                    <a:cubicBezTo>
                      <a:pt x="106099" y="119117"/>
                      <a:pt x="107493" y="117722"/>
                      <a:pt x="107493" y="116014"/>
                    </a:cubicBezTo>
                    <a:lnTo>
                      <a:pt x="107493" y="41890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" name="Title 1">
            <a:extLst>
              <a:ext uri="{FF2B5EF4-FFF2-40B4-BE49-F238E27FC236}">
                <a16:creationId xmlns:a16="http://schemas.microsoft.com/office/drawing/2014/main" id="{6A33756D-6398-5F2E-41ED-7AF0D7E37C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978" y="297451"/>
            <a:ext cx="11118522" cy="630213"/>
          </a:xfrm>
          <a:prstGeom prst="rect">
            <a:avLst/>
          </a:prstGeom>
        </p:spPr>
        <p:txBody>
          <a:bodyPr/>
          <a:lstStyle>
            <a:lvl1pPr>
              <a:defRPr sz="3400" b="1" i="0" cap="all" baseline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r>
              <a:rPr lang="en-US"/>
              <a:t>title style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6C253B22-1244-D26B-089B-EFF6593898E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55199" y="1485952"/>
            <a:ext cx="2874083" cy="1351351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indent="0" algn="ctr">
              <a:spcBef>
                <a:spcPts val="600"/>
              </a:spcBef>
              <a:buClr>
                <a:srgbClr val="00BD4D"/>
              </a:buClr>
              <a:buFont typeface="Arial" panose="020B0604020202020204" pitchFamily="34" charset="0"/>
              <a:buNone/>
              <a:defRPr lang="en-US" sz="1600" b="0" i="0" dirty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US"/>
              <a:t>Click to edit Master text styles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D66AF6F-A6B2-2F31-60AC-37C242843CC7}"/>
              </a:ext>
            </a:extLst>
          </p:cNvPr>
          <p:cNvSpPr>
            <a:spLocks noGrp="1"/>
          </p:cNvSpPr>
          <p:nvPr>
            <p:ph type="body" sz="half" idx="10"/>
          </p:nvPr>
        </p:nvSpPr>
        <p:spPr>
          <a:xfrm>
            <a:off x="4652728" y="1485952"/>
            <a:ext cx="2874083" cy="1351351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indent="0" algn="ctr">
              <a:spcBef>
                <a:spcPts val="600"/>
              </a:spcBef>
              <a:buClr>
                <a:srgbClr val="00BD4D"/>
              </a:buClr>
              <a:buFont typeface="Arial" panose="020B0604020202020204" pitchFamily="34" charset="0"/>
              <a:buNone/>
              <a:defRPr lang="en-US" sz="1600" b="0" i="0" dirty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US"/>
              <a:t>Click to edit Master text styl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36EB3EF6-2827-436C-AE49-BEC7F4D3B737}"/>
              </a:ext>
            </a:extLst>
          </p:cNvPr>
          <p:cNvSpPr>
            <a:spLocks noGrp="1"/>
          </p:cNvSpPr>
          <p:nvPr>
            <p:ph type="body" sz="half" idx="11"/>
          </p:nvPr>
        </p:nvSpPr>
        <p:spPr>
          <a:xfrm>
            <a:off x="8450257" y="1485952"/>
            <a:ext cx="2874083" cy="1351351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indent="0" algn="ctr">
              <a:spcBef>
                <a:spcPts val="600"/>
              </a:spcBef>
              <a:buClr>
                <a:srgbClr val="00BD4D"/>
              </a:buClr>
              <a:buFont typeface="Arial" panose="020B0604020202020204" pitchFamily="34" charset="0"/>
              <a:buNone/>
              <a:defRPr lang="en-US" sz="1600" b="0" i="0" dirty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US"/>
              <a:t>Click to edit Master text style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684B7AD7-BFD8-CBCD-02A2-418B1CD83981}"/>
              </a:ext>
            </a:extLst>
          </p:cNvPr>
          <p:cNvSpPr>
            <a:spLocks noGrp="1"/>
          </p:cNvSpPr>
          <p:nvPr>
            <p:ph type="body" sz="half" idx="12"/>
          </p:nvPr>
        </p:nvSpPr>
        <p:spPr>
          <a:xfrm>
            <a:off x="2753964" y="4696372"/>
            <a:ext cx="2874083" cy="1351351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indent="0" algn="ctr">
              <a:spcBef>
                <a:spcPts val="600"/>
              </a:spcBef>
              <a:buClr>
                <a:srgbClr val="00BD4D"/>
              </a:buClr>
              <a:buFont typeface="Arial" panose="020B0604020202020204" pitchFamily="34" charset="0"/>
              <a:buNone/>
              <a:defRPr lang="en-US" sz="1600" b="0" i="0" dirty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US"/>
              <a:t>Click to edit Master text style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E892A1AC-8582-CCD4-DA59-488E2435BA99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6551493" y="4696372"/>
            <a:ext cx="2874083" cy="1351351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indent="0" algn="ctr">
              <a:spcBef>
                <a:spcPts val="600"/>
              </a:spcBef>
              <a:buClr>
                <a:srgbClr val="00BD4D"/>
              </a:buClr>
              <a:buFont typeface="Arial" panose="020B0604020202020204" pitchFamily="34" charset="0"/>
              <a:buNone/>
              <a:defRPr lang="en-US" sz="1600" b="0" i="0" dirty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18978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er Sto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4754632-71D8-E525-FA1B-47645C6AD2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52816" y="0"/>
            <a:ext cx="7150100" cy="3886200"/>
          </a:xfrm>
          <a:prstGeom prst="rect">
            <a:avLst/>
          </a:prstGeom>
        </p:spPr>
      </p:pic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245F5619-BE7E-C85F-EF79-A58E93AECCE2}"/>
              </a:ext>
            </a:extLst>
          </p:cNvPr>
          <p:cNvSpPr/>
          <p:nvPr userDrawn="1"/>
        </p:nvSpPr>
        <p:spPr>
          <a:xfrm>
            <a:off x="7137895" y="1103087"/>
            <a:ext cx="5689106" cy="1576643"/>
          </a:xfrm>
          <a:prstGeom prst="roundRect">
            <a:avLst>
              <a:gd name="adj" fmla="val 4152"/>
            </a:avLst>
          </a:prstGeom>
          <a:noFill/>
          <a:ln>
            <a:solidFill>
              <a:srgbClr val="00BD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F0BFE176-24F2-35B4-7209-D82733203016}"/>
              </a:ext>
            </a:extLst>
          </p:cNvPr>
          <p:cNvSpPr/>
          <p:nvPr userDrawn="1"/>
        </p:nvSpPr>
        <p:spPr>
          <a:xfrm>
            <a:off x="7137895" y="2883479"/>
            <a:ext cx="5689106" cy="1576643"/>
          </a:xfrm>
          <a:prstGeom prst="roundRect">
            <a:avLst>
              <a:gd name="adj" fmla="val 4152"/>
            </a:avLst>
          </a:prstGeom>
          <a:noFill/>
          <a:ln>
            <a:solidFill>
              <a:srgbClr val="00BD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0ECC751C-5A4E-0F76-950E-CA027C208043}"/>
              </a:ext>
            </a:extLst>
          </p:cNvPr>
          <p:cNvSpPr/>
          <p:nvPr userDrawn="1"/>
        </p:nvSpPr>
        <p:spPr>
          <a:xfrm>
            <a:off x="7137895" y="4663870"/>
            <a:ext cx="5689106" cy="1576643"/>
          </a:xfrm>
          <a:prstGeom prst="roundRect">
            <a:avLst>
              <a:gd name="adj" fmla="val 4152"/>
            </a:avLst>
          </a:prstGeom>
          <a:noFill/>
          <a:ln>
            <a:solidFill>
              <a:srgbClr val="00BD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D8D64587-B846-D17A-11D3-B833B185C0A9}"/>
              </a:ext>
            </a:extLst>
          </p:cNvPr>
          <p:cNvSpPr>
            <a:spLocks noGrp="1"/>
          </p:cNvSpPr>
          <p:nvPr userDrawn="1">
            <p:ph type="body" idx="10"/>
          </p:nvPr>
        </p:nvSpPr>
        <p:spPr>
          <a:xfrm>
            <a:off x="4673600" y="1957516"/>
            <a:ext cx="2262174" cy="348567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>
            <a:lvl1pPr marL="0" indent="0" algn="r">
              <a:buNone/>
              <a:defRPr kumimoji="0" lang="en-US" sz="2000" b="1" i="0" u="none" strike="noStrike" cap="all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Lato" panose="020F0502020204030203" pitchFamily="34" charset="77"/>
              </a:defRPr>
            </a:lvl1pPr>
          </a:lstStyle>
          <a:p>
            <a:pPr marL="228600" marR="0" lvl="0" indent="-22860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163230DA-4CDF-D0B0-A6F0-707B4F01401B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4673600" y="3798860"/>
            <a:ext cx="2262174" cy="348567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>
            <a:lvl1pPr marL="0" indent="0" algn="r">
              <a:buNone/>
              <a:defRPr kumimoji="0" lang="en-US" sz="2000" b="1" i="0" u="none" strike="noStrike" cap="all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Lato" panose="020F0502020204030203" pitchFamily="34" charset="77"/>
              </a:defRPr>
            </a:lvl1pPr>
          </a:lstStyle>
          <a:p>
            <a:pPr marL="228600" marR="0" lvl="0" indent="-22860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AE64CA30-2049-A971-3D4A-B9030E4E0252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4673600" y="5519566"/>
            <a:ext cx="2262174" cy="348567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>
            <a:lvl1pPr marL="0" indent="0" algn="r">
              <a:buNone/>
              <a:defRPr kumimoji="0" lang="en-US" sz="2000" b="1" i="0" u="none" strike="noStrike" cap="all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Lato" panose="020F0502020204030203" pitchFamily="34" charset="77"/>
              </a:defRPr>
            </a:lvl1pPr>
          </a:lstStyle>
          <a:p>
            <a:pPr marL="228600" marR="0" lvl="0" indent="-22860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54" name="Picture Placeholder 53">
            <a:extLst>
              <a:ext uri="{FF2B5EF4-FFF2-40B4-BE49-F238E27FC236}">
                <a16:creationId xmlns:a16="http://schemas.microsoft.com/office/drawing/2014/main" id="{57137FA4-02B8-7255-9D51-0EC64055B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110663" y="248206"/>
            <a:ext cx="2624138" cy="720169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None/>
              <a:defRPr sz="1800" b="0" i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8" name="Text Placeholder 3">
            <a:extLst>
              <a:ext uri="{FF2B5EF4-FFF2-40B4-BE49-F238E27FC236}">
                <a16:creationId xmlns:a16="http://schemas.microsoft.com/office/drawing/2014/main" id="{D5727BDC-CC35-ADF5-B9A6-4714E2FE20B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353301" y="1312608"/>
            <a:ext cx="4381500" cy="115760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180000" indent="-180000">
              <a:spcBef>
                <a:spcPts val="600"/>
              </a:spcBef>
              <a:buClr>
                <a:srgbClr val="00BD4D"/>
              </a:buClr>
              <a:buFont typeface="Arial" panose="020B0604020202020204" pitchFamily="34" charset="0"/>
              <a:buChar char="•"/>
              <a:defRPr lang="en-US" sz="1600" b="0" i="0" dirty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US"/>
              <a:t>Click to edit Master text styles</a:t>
            </a:r>
          </a:p>
        </p:txBody>
      </p:sp>
      <p:sp>
        <p:nvSpPr>
          <p:cNvPr id="59" name="Text Placeholder 3">
            <a:extLst>
              <a:ext uri="{FF2B5EF4-FFF2-40B4-BE49-F238E27FC236}">
                <a16:creationId xmlns:a16="http://schemas.microsoft.com/office/drawing/2014/main" id="{9840D914-DF6C-72D0-2AF1-3131C54AB135}"/>
              </a:ext>
            </a:extLst>
          </p:cNvPr>
          <p:cNvSpPr>
            <a:spLocks noGrp="1"/>
          </p:cNvSpPr>
          <p:nvPr>
            <p:ph type="body" sz="half" idx="15"/>
          </p:nvPr>
        </p:nvSpPr>
        <p:spPr>
          <a:xfrm>
            <a:off x="7353301" y="3093000"/>
            <a:ext cx="4381500" cy="115760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180000" indent="-180000">
              <a:spcBef>
                <a:spcPts val="600"/>
              </a:spcBef>
              <a:buClr>
                <a:srgbClr val="00BD4D"/>
              </a:buClr>
              <a:buFont typeface="Arial" panose="020B0604020202020204" pitchFamily="34" charset="0"/>
              <a:buChar char="•"/>
              <a:defRPr lang="en-US" sz="1600" b="0" i="0" dirty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US"/>
              <a:t>Click to edit Master text styles</a:t>
            </a:r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DD0DEE89-6099-F679-9F52-0B51633EDDF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7353301" y="4873391"/>
            <a:ext cx="4381500" cy="115760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180000" indent="-180000">
              <a:spcBef>
                <a:spcPts val="600"/>
              </a:spcBef>
              <a:buClr>
                <a:srgbClr val="00BD4D"/>
              </a:buClr>
              <a:buFont typeface="Arial" panose="020B0604020202020204" pitchFamily="34" charset="0"/>
              <a:buChar char="•"/>
              <a:defRPr lang="en-US" sz="1600" b="0" i="0" dirty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US"/>
              <a:t>Click to edit Master text styl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39C904A-283B-EDE5-FC96-12F575F1FDBD}"/>
              </a:ext>
            </a:extLst>
          </p:cNvPr>
          <p:cNvGrpSpPr/>
          <p:nvPr userDrawn="1"/>
        </p:nvGrpSpPr>
        <p:grpSpPr>
          <a:xfrm>
            <a:off x="11122821" y="6472473"/>
            <a:ext cx="799629" cy="166100"/>
            <a:chOff x="11122821" y="6472473"/>
            <a:chExt cx="799629" cy="166100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1544A489-3D03-3CA6-2F49-56F7C98739AF}"/>
                </a:ext>
              </a:extLst>
            </p:cNvPr>
            <p:cNvSpPr/>
            <p:nvPr/>
          </p:nvSpPr>
          <p:spPr>
            <a:xfrm rot="18900000">
              <a:off x="11134957" y="6473485"/>
              <a:ext cx="35147" cy="35147"/>
            </a:xfrm>
            <a:custGeom>
              <a:avLst/>
              <a:gdLst>
                <a:gd name="connsiteX0" fmla="*/ 32044 w 35147"/>
                <a:gd name="connsiteY0" fmla="*/ 0 h 35147"/>
                <a:gd name="connsiteX1" fmla="*/ 35148 w 35147"/>
                <a:gd name="connsiteY1" fmla="*/ 3103 h 35147"/>
                <a:gd name="connsiteX2" fmla="*/ 35148 w 35147"/>
                <a:gd name="connsiteY2" fmla="*/ 32044 h 35147"/>
                <a:gd name="connsiteX3" fmla="*/ 32044 w 35147"/>
                <a:gd name="connsiteY3" fmla="*/ 35148 h 35147"/>
                <a:gd name="connsiteX4" fmla="*/ 3103 w 35147"/>
                <a:gd name="connsiteY4" fmla="*/ 35148 h 35147"/>
                <a:gd name="connsiteX5" fmla="*/ 0 w 35147"/>
                <a:gd name="connsiteY5" fmla="*/ 32044 h 35147"/>
                <a:gd name="connsiteX6" fmla="*/ 0 w 35147"/>
                <a:gd name="connsiteY6" fmla="*/ 3103 h 35147"/>
                <a:gd name="connsiteX7" fmla="*/ 3103 w 35147"/>
                <a:gd name="connsiteY7" fmla="*/ 0 h 35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147" h="35147">
                  <a:moveTo>
                    <a:pt x="32044" y="0"/>
                  </a:moveTo>
                  <a:cubicBezTo>
                    <a:pt x="33758" y="0"/>
                    <a:pt x="35148" y="1389"/>
                    <a:pt x="35148" y="3103"/>
                  </a:cubicBezTo>
                  <a:lnTo>
                    <a:pt x="35148" y="32044"/>
                  </a:lnTo>
                  <a:cubicBezTo>
                    <a:pt x="35148" y="33758"/>
                    <a:pt x="33758" y="35148"/>
                    <a:pt x="32044" y="35148"/>
                  </a:cubicBezTo>
                  <a:lnTo>
                    <a:pt x="3103" y="35148"/>
                  </a:lnTo>
                  <a:cubicBezTo>
                    <a:pt x="1389" y="35148"/>
                    <a:pt x="0" y="33758"/>
                    <a:pt x="0" y="32044"/>
                  </a:cubicBezTo>
                  <a:lnTo>
                    <a:pt x="0" y="3103"/>
                  </a:lnTo>
                  <a:cubicBezTo>
                    <a:pt x="0" y="1389"/>
                    <a:pt x="1389" y="0"/>
                    <a:pt x="3103" y="0"/>
                  </a:cubicBezTo>
                  <a:close/>
                </a:path>
              </a:pathLst>
            </a:custGeom>
            <a:solidFill>
              <a:srgbClr val="00BD4D"/>
            </a:solidFill>
            <a:ln w="135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6050814C-5F1A-B9F7-6B79-F598A84F4F4D}"/>
                </a:ext>
              </a:extLst>
            </p:cNvPr>
            <p:cNvGrpSpPr/>
            <p:nvPr/>
          </p:nvGrpSpPr>
          <p:grpSpPr>
            <a:xfrm>
              <a:off x="11122821" y="6472473"/>
              <a:ext cx="799629" cy="166100"/>
              <a:chOff x="11122821" y="6472473"/>
              <a:chExt cx="799629" cy="166100"/>
            </a:xfrm>
            <a:solidFill>
              <a:schemeClr val="bg1"/>
            </a:solidFill>
          </p:grpSpPr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6C703D04-6EC0-9A7A-83C2-BD6D70D2BED1}"/>
                  </a:ext>
                </a:extLst>
              </p:cNvPr>
              <p:cNvSpPr/>
              <p:nvPr/>
            </p:nvSpPr>
            <p:spPr>
              <a:xfrm>
                <a:off x="11774281" y="6519597"/>
                <a:ext cx="119385" cy="116611"/>
              </a:xfrm>
              <a:custGeom>
                <a:avLst/>
                <a:gdLst>
                  <a:gd name="connsiteX0" fmla="*/ 82523 w 119385"/>
                  <a:gd name="connsiteY0" fmla="*/ 58306 h 116611"/>
                  <a:gd name="connsiteX1" fmla="*/ 118887 w 119385"/>
                  <a:gd name="connsiteY1" fmla="*/ 112265 h 116611"/>
                  <a:gd name="connsiteX2" fmla="*/ 116385 w 119385"/>
                  <a:gd name="connsiteY2" fmla="*/ 116612 h 116611"/>
                  <a:gd name="connsiteX3" fmla="*/ 85831 w 119385"/>
                  <a:gd name="connsiteY3" fmla="*/ 116612 h 116611"/>
                  <a:gd name="connsiteX4" fmla="*/ 80718 w 119385"/>
                  <a:gd name="connsiteY4" fmla="*/ 113919 h 116611"/>
                  <a:gd name="connsiteX5" fmla="*/ 59693 w 119385"/>
                  <a:gd name="connsiteY5" fmla="*/ 81751 h 116611"/>
                  <a:gd name="connsiteX6" fmla="*/ 38667 w 119385"/>
                  <a:gd name="connsiteY6" fmla="*/ 113919 h 116611"/>
                  <a:gd name="connsiteX7" fmla="*/ 33554 w 119385"/>
                  <a:gd name="connsiteY7" fmla="*/ 116612 h 116611"/>
                  <a:gd name="connsiteX8" fmla="*/ 3000 w 119385"/>
                  <a:gd name="connsiteY8" fmla="*/ 116612 h 116611"/>
                  <a:gd name="connsiteX9" fmla="*/ 498 w 119385"/>
                  <a:gd name="connsiteY9" fmla="*/ 112265 h 116611"/>
                  <a:gd name="connsiteX10" fmla="*/ 36753 w 119385"/>
                  <a:gd name="connsiteY10" fmla="*/ 58306 h 116611"/>
                  <a:gd name="connsiteX11" fmla="*/ 498 w 119385"/>
                  <a:gd name="connsiteY11" fmla="*/ 4347 h 116611"/>
                  <a:gd name="connsiteX12" fmla="*/ 3000 w 119385"/>
                  <a:gd name="connsiteY12" fmla="*/ 0 h 116611"/>
                  <a:gd name="connsiteX13" fmla="*/ 34853 w 119385"/>
                  <a:gd name="connsiteY13" fmla="*/ 0 h 116611"/>
                  <a:gd name="connsiteX14" fmla="*/ 37778 w 119385"/>
                  <a:gd name="connsiteY14" fmla="*/ 1449 h 116611"/>
                  <a:gd name="connsiteX15" fmla="*/ 59679 w 119385"/>
                  <a:gd name="connsiteY15" fmla="*/ 34806 h 116611"/>
                  <a:gd name="connsiteX16" fmla="*/ 80240 w 119385"/>
                  <a:gd name="connsiteY16" fmla="*/ 1463 h 116611"/>
                  <a:gd name="connsiteX17" fmla="*/ 83165 w 119385"/>
                  <a:gd name="connsiteY17" fmla="*/ 0 h 116611"/>
                  <a:gd name="connsiteX18" fmla="*/ 115333 w 119385"/>
                  <a:gd name="connsiteY18" fmla="*/ 0 h 116611"/>
                  <a:gd name="connsiteX19" fmla="*/ 117834 w 119385"/>
                  <a:gd name="connsiteY19" fmla="*/ 4334 h 116611"/>
                  <a:gd name="connsiteX20" fmla="*/ 82495 w 119385"/>
                  <a:gd name="connsiteY20" fmla="*/ 58306 h 116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19385" h="116611">
                    <a:moveTo>
                      <a:pt x="82523" y="58306"/>
                    </a:moveTo>
                    <a:lnTo>
                      <a:pt x="118887" y="112265"/>
                    </a:lnTo>
                    <a:cubicBezTo>
                      <a:pt x="120199" y="114124"/>
                      <a:pt x="118764" y="116612"/>
                      <a:pt x="116385" y="116612"/>
                    </a:cubicBezTo>
                    <a:lnTo>
                      <a:pt x="85831" y="116612"/>
                    </a:lnTo>
                    <a:cubicBezTo>
                      <a:pt x="83794" y="116612"/>
                      <a:pt x="81880" y="115600"/>
                      <a:pt x="80718" y="113919"/>
                    </a:cubicBezTo>
                    <a:lnTo>
                      <a:pt x="59693" y="81751"/>
                    </a:lnTo>
                    <a:lnTo>
                      <a:pt x="38667" y="113919"/>
                    </a:lnTo>
                    <a:cubicBezTo>
                      <a:pt x="37505" y="115600"/>
                      <a:pt x="35605" y="116612"/>
                      <a:pt x="33554" y="116612"/>
                    </a:cubicBezTo>
                    <a:lnTo>
                      <a:pt x="3000" y="116612"/>
                    </a:lnTo>
                    <a:cubicBezTo>
                      <a:pt x="621" y="116612"/>
                      <a:pt x="-814" y="114138"/>
                      <a:pt x="498" y="112265"/>
                    </a:cubicBezTo>
                    <a:lnTo>
                      <a:pt x="36753" y="58306"/>
                    </a:lnTo>
                    <a:lnTo>
                      <a:pt x="498" y="4347"/>
                    </a:lnTo>
                    <a:cubicBezTo>
                      <a:pt x="-814" y="2488"/>
                      <a:pt x="621" y="0"/>
                      <a:pt x="3000" y="0"/>
                    </a:cubicBezTo>
                    <a:lnTo>
                      <a:pt x="34853" y="0"/>
                    </a:lnTo>
                    <a:cubicBezTo>
                      <a:pt x="36042" y="0"/>
                      <a:pt x="37149" y="547"/>
                      <a:pt x="37778" y="1449"/>
                    </a:cubicBezTo>
                    <a:lnTo>
                      <a:pt x="59679" y="34806"/>
                    </a:lnTo>
                    <a:lnTo>
                      <a:pt x="80240" y="1463"/>
                    </a:lnTo>
                    <a:cubicBezTo>
                      <a:pt x="80855" y="561"/>
                      <a:pt x="81976" y="0"/>
                      <a:pt x="83165" y="0"/>
                    </a:cubicBezTo>
                    <a:lnTo>
                      <a:pt x="115333" y="0"/>
                    </a:lnTo>
                    <a:cubicBezTo>
                      <a:pt x="117711" y="0"/>
                      <a:pt x="119133" y="2474"/>
                      <a:pt x="117834" y="4334"/>
                    </a:cubicBezTo>
                    <a:lnTo>
                      <a:pt x="82495" y="58306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C7ACC658-B097-AA6D-4F1A-64812E11AACF}"/>
                  </a:ext>
                </a:extLst>
              </p:cNvPr>
              <p:cNvSpPr/>
              <p:nvPr/>
            </p:nvSpPr>
            <p:spPr>
              <a:xfrm>
                <a:off x="11284928" y="6472473"/>
                <a:ext cx="78825" cy="163762"/>
              </a:xfrm>
              <a:custGeom>
                <a:avLst/>
                <a:gdLst>
                  <a:gd name="connsiteX0" fmla="*/ 75722 w 78825"/>
                  <a:gd name="connsiteY0" fmla="*/ 14 h 163762"/>
                  <a:gd name="connsiteX1" fmla="*/ 50377 w 78825"/>
                  <a:gd name="connsiteY1" fmla="*/ 14 h 163762"/>
                  <a:gd name="connsiteX2" fmla="*/ 43801 w 78825"/>
                  <a:gd name="connsiteY2" fmla="*/ 2734 h 163762"/>
                  <a:gd name="connsiteX3" fmla="*/ 19987 w 78825"/>
                  <a:gd name="connsiteY3" fmla="*/ 26549 h 163762"/>
                  <a:gd name="connsiteX4" fmla="*/ 17266 w 78825"/>
                  <a:gd name="connsiteY4" fmla="*/ 33124 h 163762"/>
                  <a:gd name="connsiteX5" fmla="*/ 17266 w 78825"/>
                  <a:gd name="connsiteY5" fmla="*/ 51867 h 163762"/>
                  <a:gd name="connsiteX6" fmla="*/ 3049 w 78825"/>
                  <a:gd name="connsiteY6" fmla="*/ 51867 h 163762"/>
                  <a:gd name="connsiteX7" fmla="*/ 0 w 78825"/>
                  <a:gd name="connsiteY7" fmla="*/ 54916 h 163762"/>
                  <a:gd name="connsiteX8" fmla="*/ 0 w 78825"/>
                  <a:gd name="connsiteY8" fmla="*/ 75955 h 163762"/>
                  <a:gd name="connsiteX9" fmla="*/ 3049 w 78825"/>
                  <a:gd name="connsiteY9" fmla="*/ 79004 h 163762"/>
                  <a:gd name="connsiteX10" fmla="*/ 17266 w 78825"/>
                  <a:gd name="connsiteY10" fmla="*/ 79004 h 163762"/>
                  <a:gd name="connsiteX11" fmla="*/ 17266 w 78825"/>
                  <a:gd name="connsiteY11" fmla="*/ 160659 h 163762"/>
                  <a:gd name="connsiteX12" fmla="*/ 20369 w 78825"/>
                  <a:gd name="connsiteY12" fmla="*/ 163763 h 163762"/>
                  <a:gd name="connsiteX13" fmla="*/ 47109 w 78825"/>
                  <a:gd name="connsiteY13" fmla="*/ 163763 h 163762"/>
                  <a:gd name="connsiteX14" fmla="*/ 50213 w 78825"/>
                  <a:gd name="connsiteY14" fmla="*/ 160659 h 163762"/>
                  <a:gd name="connsiteX15" fmla="*/ 50213 w 78825"/>
                  <a:gd name="connsiteY15" fmla="*/ 78990 h 163762"/>
                  <a:gd name="connsiteX16" fmla="*/ 71443 w 78825"/>
                  <a:gd name="connsiteY16" fmla="*/ 78990 h 163762"/>
                  <a:gd name="connsiteX17" fmla="*/ 74492 w 78825"/>
                  <a:gd name="connsiteY17" fmla="*/ 75941 h 163762"/>
                  <a:gd name="connsiteX18" fmla="*/ 74492 w 78825"/>
                  <a:gd name="connsiteY18" fmla="*/ 54902 h 163762"/>
                  <a:gd name="connsiteX19" fmla="*/ 71443 w 78825"/>
                  <a:gd name="connsiteY19" fmla="*/ 51853 h 163762"/>
                  <a:gd name="connsiteX20" fmla="*/ 50213 w 78825"/>
                  <a:gd name="connsiteY20" fmla="*/ 51853 h 163762"/>
                  <a:gd name="connsiteX21" fmla="*/ 50213 w 78825"/>
                  <a:gd name="connsiteY21" fmla="*/ 38565 h 163762"/>
                  <a:gd name="connsiteX22" fmla="*/ 59509 w 78825"/>
                  <a:gd name="connsiteY22" fmla="*/ 29269 h 163762"/>
                  <a:gd name="connsiteX23" fmla="*/ 75722 w 78825"/>
                  <a:gd name="connsiteY23" fmla="*/ 29269 h 163762"/>
                  <a:gd name="connsiteX24" fmla="*/ 78826 w 78825"/>
                  <a:gd name="connsiteY24" fmla="*/ 26166 h 163762"/>
                  <a:gd name="connsiteX25" fmla="*/ 78826 w 78825"/>
                  <a:gd name="connsiteY25" fmla="*/ 3103 h 163762"/>
                  <a:gd name="connsiteX26" fmla="*/ 75722 w 78825"/>
                  <a:gd name="connsiteY26" fmla="*/ 0 h 163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78825" h="163762">
                    <a:moveTo>
                      <a:pt x="75722" y="14"/>
                    </a:moveTo>
                    <a:lnTo>
                      <a:pt x="50377" y="14"/>
                    </a:lnTo>
                    <a:cubicBezTo>
                      <a:pt x="47916" y="14"/>
                      <a:pt x="45551" y="998"/>
                      <a:pt x="43801" y="2734"/>
                    </a:cubicBezTo>
                    <a:lnTo>
                      <a:pt x="19987" y="26549"/>
                    </a:lnTo>
                    <a:cubicBezTo>
                      <a:pt x="18237" y="28299"/>
                      <a:pt x="17266" y="30664"/>
                      <a:pt x="17266" y="33124"/>
                    </a:cubicBezTo>
                    <a:lnTo>
                      <a:pt x="17266" y="51867"/>
                    </a:lnTo>
                    <a:lnTo>
                      <a:pt x="3049" y="51867"/>
                    </a:lnTo>
                    <a:cubicBezTo>
                      <a:pt x="1367" y="51867"/>
                      <a:pt x="0" y="53234"/>
                      <a:pt x="0" y="54916"/>
                    </a:cubicBezTo>
                    <a:lnTo>
                      <a:pt x="0" y="75955"/>
                    </a:lnTo>
                    <a:cubicBezTo>
                      <a:pt x="0" y="77636"/>
                      <a:pt x="1367" y="79004"/>
                      <a:pt x="3049" y="79004"/>
                    </a:cubicBezTo>
                    <a:lnTo>
                      <a:pt x="17266" y="79004"/>
                    </a:lnTo>
                    <a:lnTo>
                      <a:pt x="17266" y="160659"/>
                    </a:lnTo>
                    <a:cubicBezTo>
                      <a:pt x="17266" y="162368"/>
                      <a:pt x="18661" y="163763"/>
                      <a:pt x="20369" y="163763"/>
                    </a:cubicBezTo>
                    <a:lnTo>
                      <a:pt x="47109" y="163763"/>
                    </a:lnTo>
                    <a:cubicBezTo>
                      <a:pt x="48818" y="163763"/>
                      <a:pt x="50213" y="162368"/>
                      <a:pt x="50213" y="160659"/>
                    </a:cubicBezTo>
                    <a:lnTo>
                      <a:pt x="50213" y="78990"/>
                    </a:lnTo>
                    <a:lnTo>
                      <a:pt x="71443" y="78990"/>
                    </a:lnTo>
                    <a:cubicBezTo>
                      <a:pt x="73125" y="78990"/>
                      <a:pt x="74492" y="77623"/>
                      <a:pt x="74492" y="75941"/>
                    </a:cubicBezTo>
                    <a:lnTo>
                      <a:pt x="74492" y="54902"/>
                    </a:lnTo>
                    <a:cubicBezTo>
                      <a:pt x="74492" y="53220"/>
                      <a:pt x="73125" y="51853"/>
                      <a:pt x="71443" y="51853"/>
                    </a:cubicBezTo>
                    <a:lnTo>
                      <a:pt x="50213" y="51853"/>
                    </a:lnTo>
                    <a:lnTo>
                      <a:pt x="50213" y="38565"/>
                    </a:lnTo>
                    <a:cubicBezTo>
                      <a:pt x="50213" y="33425"/>
                      <a:pt x="54382" y="29269"/>
                      <a:pt x="59509" y="29269"/>
                    </a:cubicBezTo>
                    <a:lnTo>
                      <a:pt x="75722" y="29269"/>
                    </a:lnTo>
                    <a:cubicBezTo>
                      <a:pt x="77431" y="29269"/>
                      <a:pt x="78826" y="27875"/>
                      <a:pt x="78826" y="26166"/>
                    </a:cubicBezTo>
                    <a:lnTo>
                      <a:pt x="78826" y="3103"/>
                    </a:lnTo>
                    <a:cubicBezTo>
                      <a:pt x="78826" y="1394"/>
                      <a:pt x="77431" y="0"/>
                      <a:pt x="75722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91415306-87DB-DA17-B1BD-9535E06C3A31}"/>
                  </a:ext>
                </a:extLst>
              </p:cNvPr>
              <p:cNvSpPr/>
              <p:nvPr/>
            </p:nvSpPr>
            <p:spPr>
              <a:xfrm>
                <a:off x="11896791" y="6612367"/>
                <a:ext cx="25659" cy="25660"/>
              </a:xfrm>
              <a:custGeom>
                <a:avLst/>
                <a:gdLst>
                  <a:gd name="connsiteX0" fmla="*/ 25660 w 25659"/>
                  <a:gd name="connsiteY0" fmla="*/ 12810 h 25660"/>
                  <a:gd name="connsiteX1" fmla="*/ 12782 w 25659"/>
                  <a:gd name="connsiteY1" fmla="*/ 25660 h 25660"/>
                  <a:gd name="connsiteX2" fmla="*/ 0 w 25659"/>
                  <a:gd name="connsiteY2" fmla="*/ 12810 h 25660"/>
                  <a:gd name="connsiteX3" fmla="*/ 12823 w 25659"/>
                  <a:gd name="connsiteY3" fmla="*/ 0 h 25660"/>
                  <a:gd name="connsiteX4" fmla="*/ 25646 w 25659"/>
                  <a:gd name="connsiteY4" fmla="*/ 12810 h 25660"/>
                  <a:gd name="connsiteX5" fmla="*/ 23691 w 25659"/>
                  <a:gd name="connsiteY5" fmla="*/ 12864 h 25660"/>
                  <a:gd name="connsiteX6" fmla="*/ 12837 w 25659"/>
                  <a:gd name="connsiteY6" fmla="*/ 1832 h 25660"/>
                  <a:gd name="connsiteX7" fmla="*/ 1982 w 25659"/>
                  <a:gd name="connsiteY7" fmla="*/ 12851 h 25660"/>
                  <a:gd name="connsiteX8" fmla="*/ 12782 w 25659"/>
                  <a:gd name="connsiteY8" fmla="*/ 23856 h 25660"/>
                  <a:gd name="connsiteX9" fmla="*/ 23691 w 25659"/>
                  <a:gd name="connsiteY9" fmla="*/ 12864 h 25660"/>
                  <a:gd name="connsiteX10" fmla="*/ 15585 w 25659"/>
                  <a:gd name="connsiteY10" fmla="*/ 14888 h 25660"/>
                  <a:gd name="connsiteX11" fmla="*/ 18811 w 25659"/>
                  <a:gd name="connsiteY11" fmla="*/ 19905 h 25660"/>
                  <a:gd name="connsiteX12" fmla="*/ 16678 w 25659"/>
                  <a:gd name="connsiteY12" fmla="*/ 19905 h 25660"/>
                  <a:gd name="connsiteX13" fmla="*/ 13097 w 25659"/>
                  <a:gd name="connsiteY13" fmla="*/ 14218 h 25660"/>
                  <a:gd name="connsiteX14" fmla="*/ 9829 w 25659"/>
                  <a:gd name="connsiteY14" fmla="*/ 14218 h 25660"/>
                  <a:gd name="connsiteX15" fmla="*/ 9829 w 25659"/>
                  <a:gd name="connsiteY15" fmla="*/ 19905 h 25660"/>
                  <a:gd name="connsiteX16" fmla="*/ 8038 w 25659"/>
                  <a:gd name="connsiteY16" fmla="*/ 19905 h 25660"/>
                  <a:gd name="connsiteX17" fmla="*/ 8038 w 25659"/>
                  <a:gd name="connsiteY17" fmla="*/ 5523 h 25660"/>
                  <a:gd name="connsiteX18" fmla="*/ 13616 w 25659"/>
                  <a:gd name="connsiteY18" fmla="*/ 5523 h 25660"/>
                  <a:gd name="connsiteX19" fmla="*/ 18155 w 25659"/>
                  <a:gd name="connsiteY19" fmla="*/ 9761 h 25660"/>
                  <a:gd name="connsiteX20" fmla="*/ 14887 w 25659"/>
                  <a:gd name="connsiteY20" fmla="*/ 13917 h 25660"/>
                  <a:gd name="connsiteX21" fmla="*/ 15585 w 25659"/>
                  <a:gd name="connsiteY21" fmla="*/ 14901 h 25660"/>
                  <a:gd name="connsiteX22" fmla="*/ 13015 w 25659"/>
                  <a:gd name="connsiteY22" fmla="*/ 12522 h 25660"/>
                  <a:gd name="connsiteX23" fmla="*/ 16282 w 25659"/>
                  <a:gd name="connsiteY23" fmla="*/ 9870 h 25660"/>
                  <a:gd name="connsiteX24" fmla="*/ 13657 w 25659"/>
                  <a:gd name="connsiteY24" fmla="*/ 7191 h 25660"/>
                  <a:gd name="connsiteX25" fmla="*/ 9816 w 25659"/>
                  <a:gd name="connsiteY25" fmla="*/ 7191 h 25660"/>
                  <a:gd name="connsiteX26" fmla="*/ 9816 w 25659"/>
                  <a:gd name="connsiteY26" fmla="*/ 12509 h 25660"/>
                  <a:gd name="connsiteX27" fmla="*/ 13015 w 25659"/>
                  <a:gd name="connsiteY27" fmla="*/ 12509 h 25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25659" h="25660">
                    <a:moveTo>
                      <a:pt x="25660" y="12810"/>
                    </a:moveTo>
                    <a:cubicBezTo>
                      <a:pt x="25660" y="19946"/>
                      <a:pt x="19946" y="25660"/>
                      <a:pt x="12782" y="25660"/>
                    </a:cubicBezTo>
                    <a:cubicBezTo>
                      <a:pt x="5619" y="25660"/>
                      <a:pt x="0" y="19891"/>
                      <a:pt x="0" y="12810"/>
                    </a:cubicBezTo>
                    <a:cubicBezTo>
                      <a:pt x="0" y="5728"/>
                      <a:pt x="5714" y="0"/>
                      <a:pt x="12823" y="0"/>
                    </a:cubicBezTo>
                    <a:cubicBezTo>
                      <a:pt x="19932" y="0"/>
                      <a:pt x="25646" y="5687"/>
                      <a:pt x="25646" y="12810"/>
                    </a:cubicBezTo>
                    <a:close/>
                    <a:moveTo>
                      <a:pt x="23691" y="12864"/>
                    </a:moveTo>
                    <a:cubicBezTo>
                      <a:pt x="23691" y="6712"/>
                      <a:pt x="18838" y="1832"/>
                      <a:pt x="12837" y="1832"/>
                    </a:cubicBezTo>
                    <a:cubicBezTo>
                      <a:pt x="6835" y="1832"/>
                      <a:pt x="1982" y="6658"/>
                      <a:pt x="1982" y="12851"/>
                    </a:cubicBezTo>
                    <a:cubicBezTo>
                      <a:pt x="1982" y="19043"/>
                      <a:pt x="6890" y="23856"/>
                      <a:pt x="12782" y="23856"/>
                    </a:cubicBezTo>
                    <a:cubicBezTo>
                      <a:pt x="18674" y="23856"/>
                      <a:pt x="23691" y="19002"/>
                      <a:pt x="23691" y="12864"/>
                    </a:cubicBezTo>
                    <a:close/>
                    <a:moveTo>
                      <a:pt x="15585" y="14888"/>
                    </a:moveTo>
                    <a:lnTo>
                      <a:pt x="18811" y="19905"/>
                    </a:lnTo>
                    <a:lnTo>
                      <a:pt x="16678" y="19905"/>
                    </a:lnTo>
                    <a:lnTo>
                      <a:pt x="13097" y="14218"/>
                    </a:lnTo>
                    <a:lnTo>
                      <a:pt x="9829" y="14218"/>
                    </a:lnTo>
                    <a:lnTo>
                      <a:pt x="9829" y="19905"/>
                    </a:lnTo>
                    <a:lnTo>
                      <a:pt x="8038" y="19905"/>
                    </a:lnTo>
                    <a:lnTo>
                      <a:pt x="8038" y="5523"/>
                    </a:lnTo>
                    <a:lnTo>
                      <a:pt x="13616" y="5523"/>
                    </a:lnTo>
                    <a:cubicBezTo>
                      <a:pt x="16364" y="5523"/>
                      <a:pt x="18155" y="6999"/>
                      <a:pt x="18155" y="9761"/>
                    </a:cubicBezTo>
                    <a:cubicBezTo>
                      <a:pt x="18155" y="11989"/>
                      <a:pt x="16801" y="13370"/>
                      <a:pt x="14887" y="13917"/>
                    </a:cubicBezTo>
                    <a:cubicBezTo>
                      <a:pt x="15147" y="14204"/>
                      <a:pt x="15407" y="14559"/>
                      <a:pt x="15585" y="14901"/>
                    </a:cubicBezTo>
                    <a:close/>
                    <a:moveTo>
                      <a:pt x="13015" y="12522"/>
                    </a:moveTo>
                    <a:cubicBezTo>
                      <a:pt x="15038" y="12522"/>
                      <a:pt x="16282" y="11565"/>
                      <a:pt x="16282" y="9870"/>
                    </a:cubicBezTo>
                    <a:cubicBezTo>
                      <a:pt x="16282" y="8175"/>
                      <a:pt x="15421" y="7191"/>
                      <a:pt x="13657" y="7191"/>
                    </a:cubicBezTo>
                    <a:lnTo>
                      <a:pt x="9816" y="7191"/>
                    </a:lnTo>
                    <a:lnTo>
                      <a:pt x="9816" y="12509"/>
                    </a:lnTo>
                    <a:lnTo>
                      <a:pt x="13015" y="12509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249AEAE6-B4FC-FF4F-8C26-FC7287015219}"/>
                  </a:ext>
                </a:extLst>
              </p:cNvPr>
              <p:cNvSpPr/>
              <p:nvPr/>
            </p:nvSpPr>
            <p:spPr>
              <a:xfrm>
                <a:off x="11620956" y="6472487"/>
                <a:ext cx="32932" cy="163721"/>
              </a:xfrm>
              <a:custGeom>
                <a:avLst/>
                <a:gdLst>
                  <a:gd name="connsiteX0" fmla="*/ 29830 w 32932"/>
                  <a:gd name="connsiteY0" fmla="*/ 0 h 163721"/>
                  <a:gd name="connsiteX1" fmla="*/ 32933 w 32932"/>
                  <a:gd name="connsiteY1" fmla="*/ 3103 h 163721"/>
                  <a:gd name="connsiteX2" fmla="*/ 32933 w 32932"/>
                  <a:gd name="connsiteY2" fmla="*/ 160618 h 163721"/>
                  <a:gd name="connsiteX3" fmla="*/ 29830 w 32932"/>
                  <a:gd name="connsiteY3" fmla="*/ 163722 h 163721"/>
                  <a:gd name="connsiteX4" fmla="*/ 3103 w 32932"/>
                  <a:gd name="connsiteY4" fmla="*/ 163722 h 163721"/>
                  <a:gd name="connsiteX5" fmla="*/ 0 w 32932"/>
                  <a:gd name="connsiteY5" fmla="*/ 160618 h 163721"/>
                  <a:gd name="connsiteX6" fmla="*/ 0 w 32932"/>
                  <a:gd name="connsiteY6" fmla="*/ 3103 h 163721"/>
                  <a:gd name="connsiteX7" fmla="*/ 3103 w 32932"/>
                  <a:gd name="connsiteY7" fmla="*/ 0 h 163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2932" h="163721">
                    <a:moveTo>
                      <a:pt x="29830" y="0"/>
                    </a:moveTo>
                    <a:cubicBezTo>
                      <a:pt x="31544" y="0"/>
                      <a:pt x="32933" y="1389"/>
                      <a:pt x="32933" y="3103"/>
                    </a:cubicBezTo>
                    <a:lnTo>
                      <a:pt x="32933" y="160618"/>
                    </a:lnTo>
                    <a:cubicBezTo>
                      <a:pt x="32933" y="162332"/>
                      <a:pt x="31543" y="163722"/>
                      <a:pt x="29830" y="163722"/>
                    </a:cubicBezTo>
                    <a:lnTo>
                      <a:pt x="3103" y="163722"/>
                    </a:lnTo>
                    <a:cubicBezTo>
                      <a:pt x="1389" y="163722"/>
                      <a:pt x="0" y="162332"/>
                      <a:pt x="0" y="160618"/>
                    </a:cubicBezTo>
                    <a:lnTo>
                      <a:pt x="0" y="3103"/>
                    </a:lnTo>
                    <a:cubicBezTo>
                      <a:pt x="0" y="1389"/>
                      <a:pt x="1389" y="0"/>
                      <a:pt x="3103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868A3C53-5E33-0D03-D4D8-C6C988D89A11}"/>
                  </a:ext>
                </a:extLst>
              </p:cNvPr>
              <p:cNvSpPr/>
              <p:nvPr/>
            </p:nvSpPr>
            <p:spPr>
              <a:xfrm>
                <a:off x="11488486" y="6472473"/>
                <a:ext cx="123638" cy="166086"/>
              </a:xfrm>
              <a:custGeom>
                <a:avLst/>
                <a:gdLst>
                  <a:gd name="connsiteX0" fmla="*/ 68737 w 123638"/>
                  <a:gd name="connsiteY0" fmla="*/ 44663 h 166086"/>
                  <a:gd name="connsiteX1" fmla="*/ 32947 w 123638"/>
                  <a:gd name="connsiteY1" fmla="*/ 62052 h 166086"/>
                  <a:gd name="connsiteX2" fmla="*/ 32947 w 123638"/>
                  <a:gd name="connsiteY2" fmla="*/ 3103 h 166086"/>
                  <a:gd name="connsiteX3" fmla="*/ 29843 w 123638"/>
                  <a:gd name="connsiteY3" fmla="*/ 0 h 166086"/>
                  <a:gd name="connsiteX4" fmla="*/ 3103 w 123638"/>
                  <a:gd name="connsiteY4" fmla="*/ 0 h 166086"/>
                  <a:gd name="connsiteX5" fmla="*/ 0 w 123638"/>
                  <a:gd name="connsiteY5" fmla="*/ 3103 h 166086"/>
                  <a:gd name="connsiteX6" fmla="*/ 0 w 123638"/>
                  <a:gd name="connsiteY6" fmla="*/ 160632 h 166086"/>
                  <a:gd name="connsiteX7" fmla="*/ 3103 w 123638"/>
                  <a:gd name="connsiteY7" fmla="*/ 163735 h 166086"/>
                  <a:gd name="connsiteX8" fmla="*/ 29843 w 123638"/>
                  <a:gd name="connsiteY8" fmla="*/ 163735 h 166086"/>
                  <a:gd name="connsiteX9" fmla="*/ 32947 w 123638"/>
                  <a:gd name="connsiteY9" fmla="*/ 160632 h 166086"/>
                  <a:gd name="connsiteX10" fmla="*/ 32947 w 123638"/>
                  <a:gd name="connsiteY10" fmla="*/ 149025 h 166086"/>
                  <a:gd name="connsiteX11" fmla="*/ 68983 w 123638"/>
                  <a:gd name="connsiteY11" fmla="*/ 166087 h 166086"/>
                  <a:gd name="connsiteX12" fmla="*/ 123638 w 123638"/>
                  <a:gd name="connsiteY12" fmla="*/ 105539 h 166086"/>
                  <a:gd name="connsiteX13" fmla="*/ 68750 w 123638"/>
                  <a:gd name="connsiteY13" fmla="*/ 44663 h 166086"/>
                  <a:gd name="connsiteX14" fmla="*/ 62188 w 123638"/>
                  <a:gd name="connsiteY14" fmla="*/ 135163 h 166086"/>
                  <a:gd name="connsiteX15" fmla="*/ 32947 w 123638"/>
                  <a:gd name="connsiteY15" fmla="*/ 105552 h 166086"/>
                  <a:gd name="connsiteX16" fmla="*/ 62188 w 123638"/>
                  <a:gd name="connsiteY16" fmla="*/ 76174 h 166086"/>
                  <a:gd name="connsiteX17" fmla="*/ 90965 w 123638"/>
                  <a:gd name="connsiteY17" fmla="*/ 105552 h 166086"/>
                  <a:gd name="connsiteX18" fmla="*/ 62188 w 123638"/>
                  <a:gd name="connsiteY18" fmla="*/ 135163 h 166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23638" h="166086">
                    <a:moveTo>
                      <a:pt x="68737" y="44663"/>
                    </a:moveTo>
                    <a:cubicBezTo>
                      <a:pt x="53535" y="44663"/>
                      <a:pt x="40889" y="51252"/>
                      <a:pt x="32947" y="62052"/>
                    </a:cubicBezTo>
                    <a:lnTo>
                      <a:pt x="32947" y="3103"/>
                    </a:lnTo>
                    <a:cubicBezTo>
                      <a:pt x="32947" y="1394"/>
                      <a:pt x="31552" y="0"/>
                      <a:pt x="29843" y="0"/>
                    </a:cubicBezTo>
                    <a:lnTo>
                      <a:pt x="3103" y="0"/>
                    </a:lnTo>
                    <a:cubicBezTo>
                      <a:pt x="1394" y="0"/>
                      <a:pt x="0" y="1394"/>
                      <a:pt x="0" y="3103"/>
                    </a:cubicBezTo>
                    <a:lnTo>
                      <a:pt x="0" y="160632"/>
                    </a:lnTo>
                    <a:cubicBezTo>
                      <a:pt x="0" y="162341"/>
                      <a:pt x="1394" y="163735"/>
                      <a:pt x="3103" y="163735"/>
                    </a:cubicBezTo>
                    <a:lnTo>
                      <a:pt x="29843" y="163735"/>
                    </a:lnTo>
                    <a:cubicBezTo>
                      <a:pt x="31552" y="163735"/>
                      <a:pt x="32947" y="162341"/>
                      <a:pt x="32947" y="160632"/>
                    </a:cubicBezTo>
                    <a:lnTo>
                      <a:pt x="32947" y="149025"/>
                    </a:lnTo>
                    <a:cubicBezTo>
                      <a:pt x="40903" y="159839"/>
                      <a:pt x="53535" y="166087"/>
                      <a:pt x="68983" y="166087"/>
                    </a:cubicBezTo>
                    <a:cubicBezTo>
                      <a:pt x="101505" y="166087"/>
                      <a:pt x="123638" y="139852"/>
                      <a:pt x="123638" y="105539"/>
                    </a:cubicBezTo>
                    <a:cubicBezTo>
                      <a:pt x="123638" y="71225"/>
                      <a:pt x="101505" y="44663"/>
                      <a:pt x="68750" y="44663"/>
                    </a:cubicBezTo>
                    <a:close/>
                    <a:moveTo>
                      <a:pt x="62188" y="135163"/>
                    </a:moveTo>
                    <a:cubicBezTo>
                      <a:pt x="45346" y="135163"/>
                      <a:pt x="32947" y="121533"/>
                      <a:pt x="32947" y="105552"/>
                    </a:cubicBezTo>
                    <a:cubicBezTo>
                      <a:pt x="32947" y="89571"/>
                      <a:pt x="45346" y="76174"/>
                      <a:pt x="62188" y="76174"/>
                    </a:cubicBezTo>
                    <a:cubicBezTo>
                      <a:pt x="79031" y="76174"/>
                      <a:pt x="90965" y="89571"/>
                      <a:pt x="90965" y="105552"/>
                    </a:cubicBezTo>
                    <a:cubicBezTo>
                      <a:pt x="90965" y="121533"/>
                      <a:pt x="78798" y="135163"/>
                      <a:pt x="62188" y="13516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41E8888F-69AD-AEFC-6FAA-C48528C1CFF8}"/>
                  </a:ext>
                </a:extLst>
              </p:cNvPr>
              <p:cNvSpPr/>
              <p:nvPr/>
            </p:nvSpPr>
            <p:spPr>
              <a:xfrm>
                <a:off x="11359421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2E854F28-C5CC-4AF6-E193-B2D086732BBF}"/>
                  </a:ext>
                </a:extLst>
              </p:cNvPr>
              <p:cNvSpPr/>
              <p:nvPr/>
            </p:nvSpPr>
            <p:spPr>
              <a:xfrm>
                <a:off x="11662542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F849658F-E8E3-1601-D3D3-1A32E7FC7256}"/>
                  </a:ext>
                </a:extLst>
              </p:cNvPr>
              <p:cNvSpPr/>
              <p:nvPr/>
            </p:nvSpPr>
            <p:spPr>
              <a:xfrm>
                <a:off x="11122821" y="6519528"/>
                <a:ext cx="32932" cy="116680"/>
              </a:xfrm>
              <a:custGeom>
                <a:avLst/>
                <a:gdLst>
                  <a:gd name="connsiteX0" fmla="*/ 29843 w 32932"/>
                  <a:gd name="connsiteY0" fmla="*/ 116680 h 116680"/>
                  <a:gd name="connsiteX1" fmla="*/ 3103 w 32932"/>
                  <a:gd name="connsiteY1" fmla="*/ 116680 h 116680"/>
                  <a:gd name="connsiteX2" fmla="*/ 0 w 32932"/>
                  <a:gd name="connsiteY2" fmla="*/ 113577 h 116680"/>
                  <a:gd name="connsiteX3" fmla="*/ 0 w 32932"/>
                  <a:gd name="connsiteY3" fmla="*/ 30554 h 116680"/>
                  <a:gd name="connsiteX4" fmla="*/ 1859 w 32932"/>
                  <a:gd name="connsiteY4" fmla="*/ 26125 h 116680"/>
                  <a:gd name="connsiteX5" fmla="*/ 27670 w 32932"/>
                  <a:gd name="connsiteY5" fmla="*/ 888 h 116680"/>
                  <a:gd name="connsiteX6" fmla="*/ 32933 w 32932"/>
                  <a:gd name="connsiteY6" fmla="*/ 3103 h 116680"/>
                  <a:gd name="connsiteX7" fmla="*/ 32933 w 32932"/>
                  <a:gd name="connsiteY7" fmla="*/ 113577 h 116680"/>
                  <a:gd name="connsiteX8" fmla="*/ 29830 w 32932"/>
                  <a:gd name="connsiteY8" fmla="*/ 116680 h 116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932" h="116680">
                    <a:moveTo>
                      <a:pt x="29843" y="116680"/>
                    </a:moveTo>
                    <a:lnTo>
                      <a:pt x="3103" y="116680"/>
                    </a:lnTo>
                    <a:cubicBezTo>
                      <a:pt x="1394" y="116680"/>
                      <a:pt x="0" y="115286"/>
                      <a:pt x="0" y="113577"/>
                    </a:cubicBezTo>
                    <a:lnTo>
                      <a:pt x="0" y="30554"/>
                    </a:lnTo>
                    <a:cubicBezTo>
                      <a:pt x="0" y="28886"/>
                      <a:pt x="670" y="27287"/>
                      <a:pt x="1859" y="26125"/>
                    </a:cubicBezTo>
                    <a:lnTo>
                      <a:pt x="27670" y="888"/>
                    </a:lnTo>
                    <a:cubicBezTo>
                      <a:pt x="29638" y="-1026"/>
                      <a:pt x="32933" y="355"/>
                      <a:pt x="32933" y="3103"/>
                    </a:cubicBezTo>
                    <a:lnTo>
                      <a:pt x="32933" y="113577"/>
                    </a:lnTo>
                    <a:cubicBezTo>
                      <a:pt x="32933" y="115286"/>
                      <a:pt x="31538" y="116680"/>
                      <a:pt x="29830" y="11668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C6750F3C-FC96-7DC5-68E4-F7588B8D58FB}"/>
                  </a:ext>
                </a:extLst>
              </p:cNvPr>
              <p:cNvSpPr/>
              <p:nvPr/>
            </p:nvSpPr>
            <p:spPr>
              <a:xfrm>
                <a:off x="11173074" y="6517105"/>
                <a:ext cx="107493" cy="119116"/>
              </a:xfrm>
              <a:custGeom>
                <a:avLst/>
                <a:gdLst>
                  <a:gd name="connsiteX0" fmla="*/ 107480 w 107493"/>
                  <a:gd name="connsiteY0" fmla="*/ 41877 h 119116"/>
                  <a:gd name="connsiteX1" fmla="*/ 65237 w 107493"/>
                  <a:gd name="connsiteY1" fmla="*/ 3 h 119116"/>
                  <a:gd name="connsiteX2" fmla="*/ 32947 w 107493"/>
                  <a:gd name="connsiteY2" fmla="*/ 17474 h 119116"/>
                  <a:gd name="connsiteX3" fmla="*/ 32947 w 107493"/>
                  <a:gd name="connsiteY3" fmla="*/ 5581 h 119116"/>
                  <a:gd name="connsiteX4" fmla="*/ 29843 w 107493"/>
                  <a:gd name="connsiteY4" fmla="*/ 2478 h 119116"/>
                  <a:gd name="connsiteX5" fmla="*/ 3103 w 107493"/>
                  <a:gd name="connsiteY5" fmla="*/ 2478 h 119116"/>
                  <a:gd name="connsiteX6" fmla="*/ 0 w 107493"/>
                  <a:gd name="connsiteY6" fmla="*/ 5581 h 119116"/>
                  <a:gd name="connsiteX7" fmla="*/ 0 w 107493"/>
                  <a:gd name="connsiteY7" fmla="*/ 116000 h 119116"/>
                  <a:gd name="connsiteX8" fmla="*/ 3103 w 107493"/>
                  <a:gd name="connsiteY8" fmla="*/ 119103 h 119116"/>
                  <a:gd name="connsiteX9" fmla="*/ 29843 w 107493"/>
                  <a:gd name="connsiteY9" fmla="*/ 119103 h 119116"/>
                  <a:gd name="connsiteX10" fmla="*/ 32947 w 107493"/>
                  <a:gd name="connsiteY10" fmla="*/ 116000 h 119116"/>
                  <a:gd name="connsiteX11" fmla="*/ 32947 w 107493"/>
                  <a:gd name="connsiteY11" fmla="*/ 51788 h 119116"/>
                  <a:gd name="connsiteX12" fmla="*/ 53740 w 107493"/>
                  <a:gd name="connsiteY12" fmla="*/ 31747 h 119116"/>
                  <a:gd name="connsiteX13" fmla="*/ 74547 w 107493"/>
                  <a:gd name="connsiteY13" fmla="*/ 53210 h 119116"/>
                  <a:gd name="connsiteX14" fmla="*/ 74547 w 107493"/>
                  <a:gd name="connsiteY14" fmla="*/ 116014 h 119116"/>
                  <a:gd name="connsiteX15" fmla="*/ 77650 w 107493"/>
                  <a:gd name="connsiteY15" fmla="*/ 119117 h 119116"/>
                  <a:gd name="connsiteX16" fmla="*/ 104390 w 107493"/>
                  <a:gd name="connsiteY16" fmla="*/ 119117 h 119116"/>
                  <a:gd name="connsiteX17" fmla="*/ 107493 w 107493"/>
                  <a:gd name="connsiteY17" fmla="*/ 116014 h 119116"/>
                  <a:gd name="connsiteX18" fmla="*/ 107493 w 107493"/>
                  <a:gd name="connsiteY18" fmla="*/ 41890 h 119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7493" h="119116">
                    <a:moveTo>
                      <a:pt x="107480" y="41877"/>
                    </a:moveTo>
                    <a:cubicBezTo>
                      <a:pt x="107480" y="19252"/>
                      <a:pt x="88792" y="277"/>
                      <a:pt x="65237" y="3"/>
                    </a:cubicBezTo>
                    <a:cubicBezTo>
                      <a:pt x="49912" y="-175"/>
                      <a:pt x="39563" y="7331"/>
                      <a:pt x="32947" y="17474"/>
                    </a:cubicBezTo>
                    <a:lnTo>
                      <a:pt x="32947" y="5581"/>
                    </a:lnTo>
                    <a:cubicBezTo>
                      <a:pt x="32947" y="3872"/>
                      <a:pt x="31552" y="2478"/>
                      <a:pt x="29843" y="2478"/>
                    </a:cubicBezTo>
                    <a:lnTo>
                      <a:pt x="3103" y="2478"/>
                    </a:lnTo>
                    <a:cubicBezTo>
                      <a:pt x="1394" y="2478"/>
                      <a:pt x="0" y="3872"/>
                      <a:pt x="0" y="5581"/>
                    </a:cubicBezTo>
                    <a:lnTo>
                      <a:pt x="0" y="116000"/>
                    </a:lnTo>
                    <a:cubicBezTo>
                      <a:pt x="0" y="117709"/>
                      <a:pt x="1394" y="119103"/>
                      <a:pt x="3103" y="119103"/>
                    </a:cubicBezTo>
                    <a:lnTo>
                      <a:pt x="29843" y="119103"/>
                    </a:lnTo>
                    <a:cubicBezTo>
                      <a:pt x="31552" y="119103"/>
                      <a:pt x="32947" y="117709"/>
                      <a:pt x="32947" y="116000"/>
                    </a:cubicBezTo>
                    <a:lnTo>
                      <a:pt x="32947" y="51788"/>
                    </a:lnTo>
                    <a:cubicBezTo>
                      <a:pt x="33685" y="39430"/>
                      <a:pt x="41518" y="31747"/>
                      <a:pt x="53740" y="31747"/>
                    </a:cubicBezTo>
                    <a:cubicBezTo>
                      <a:pt x="65961" y="31747"/>
                      <a:pt x="74547" y="40373"/>
                      <a:pt x="74547" y="53210"/>
                    </a:cubicBezTo>
                    <a:lnTo>
                      <a:pt x="74547" y="116014"/>
                    </a:lnTo>
                    <a:cubicBezTo>
                      <a:pt x="74547" y="117722"/>
                      <a:pt x="75941" y="119117"/>
                      <a:pt x="77650" y="119117"/>
                    </a:cubicBezTo>
                    <a:lnTo>
                      <a:pt x="104390" y="119117"/>
                    </a:lnTo>
                    <a:cubicBezTo>
                      <a:pt x="106099" y="119117"/>
                      <a:pt x="107493" y="117722"/>
                      <a:pt x="107493" y="116014"/>
                    </a:cubicBezTo>
                    <a:lnTo>
                      <a:pt x="107493" y="41890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9" name="Graphic 3">
            <a:extLst>
              <a:ext uri="{FF2B5EF4-FFF2-40B4-BE49-F238E27FC236}">
                <a16:creationId xmlns:a16="http://schemas.microsoft.com/office/drawing/2014/main" id="{E252B85E-B094-444A-841A-4658BEE32075}"/>
              </a:ext>
            </a:extLst>
          </p:cNvPr>
          <p:cNvSpPr/>
          <p:nvPr userDrawn="1"/>
        </p:nvSpPr>
        <p:spPr>
          <a:xfrm rot="10800000" flipH="1" flipV="1">
            <a:off x="-2241125" y="639297"/>
            <a:ext cx="7295231" cy="7382142"/>
          </a:xfrm>
          <a:custGeom>
            <a:avLst/>
            <a:gdLst>
              <a:gd name="connsiteX0" fmla="*/ 3985217 w 4062497"/>
              <a:gd name="connsiteY0" fmla="*/ 1844654 h 4062497"/>
              <a:gd name="connsiteX1" fmla="*/ 2217844 w 4062497"/>
              <a:gd name="connsiteY1" fmla="*/ 77281 h 4062497"/>
              <a:gd name="connsiteX2" fmla="*/ 1844654 w 4062497"/>
              <a:gd name="connsiteY2" fmla="*/ 77281 h 4062497"/>
              <a:gd name="connsiteX3" fmla="*/ 77281 w 4062497"/>
              <a:gd name="connsiteY3" fmla="*/ 1844654 h 4062497"/>
              <a:gd name="connsiteX4" fmla="*/ 77281 w 4062497"/>
              <a:gd name="connsiteY4" fmla="*/ 2217844 h 4062497"/>
              <a:gd name="connsiteX5" fmla="*/ 1844654 w 4062497"/>
              <a:gd name="connsiteY5" fmla="*/ 3985217 h 4062497"/>
              <a:gd name="connsiteX6" fmla="*/ 2217844 w 4062497"/>
              <a:gd name="connsiteY6" fmla="*/ 3985217 h 4062497"/>
              <a:gd name="connsiteX7" fmla="*/ 3985217 w 4062497"/>
              <a:gd name="connsiteY7" fmla="*/ 2217844 h 4062497"/>
              <a:gd name="connsiteX8" fmla="*/ 3985217 w 4062497"/>
              <a:gd name="connsiteY8" fmla="*/ 1844654 h 4062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2497" h="4062497">
                <a:moveTo>
                  <a:pt x="3985217" y="1844654"/>
                </a:moveTo>
                <a:lnTo>
                  <a:pt x="2217844" y="77281"/>
                </a:lnTo>
                <a:cubicBezTo>
                  <a:pt x="2114803" y="-25760"/>
                  <a:pt x="1947695" y="-25760"/>
                  <a:pt x="1844654" y="77281"/>
                </a:cubicBezTo>
                <a:lnTo>
                  <a:pt x="77281" y="1844654"/>
                </a:lnTo>
                <a:cubicBezTo>
                  <a:pt x="-25760" y="1947695"/>
                  <a:pt x="-25760" y="2114803"/>
                  <a:pt x="77281" y="2217844"/>
                </a:cubicBezTo>
                <a:lnTo>
                  <a:pt x="1844654" y="3985217"/>
                </a:lnTo>
                <a:cubicBezTo>
                  <a:pt x="1947695" y="4088258"/>
                  <a:pt x="2114803" y="4088258"/>
                  <a:pt x="2217844" y="3985217"/>
                </a:cubicBezTo>
                <a:lnTo>
                  <a:pt x="3985217" y="2217844"/>
                </a:lnTo>
                <a:cubicBezTo>
                  <a:pt x="4088258" y="2114803"/>
                  <a:pt x="4088258" y="1947695"/>
                  <a:pt x="3985217" y="1844654"/>
                </a:cubicBezTo>
                <a:close/>
              </a:path>
            </a:pathLst>
          </a:custGeom>
          <a:gradFill>
            <a:gsLst>
              <a:gs pos="12000">
                <a:srgbClr val="D9E1E2">
                  <a:alpha val="8000"/>
                </a:srgbClr>
              </a:gs>
              <a:gs pos="74000">
                <a:srgbClr val="D9E1E2">
                  <a:alpha val="0"/>
                </a:srgbClr>
              </a:gs>
            </a:gsLst>
            <a:lin ang="8100000" scaled="1"/>
          </a:gradFill>
          <a:ln w="685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9BA0E7FD-5B84-FC88-E25C-90F454D317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341" y="2720140"/>
            <a:ext cx="3978275" cy="121930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>
              <a:defRPr lang="en-US" sz="3400" b="1" i="0" cap="all" baseline="0">
                <a:solidFill>
                  <a:schemeClr val="bg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</a:lstStyle>
          <a:p>
            <a:pPr marL="0" lvl="0"/>
            <a:r>
              <a:rPr lang="en-US"/>
              <a:t>title style</a:t>
            </a:r>
          </a:p>
        </p:txBody>
      </p:sp>
    </p:spTree>
    <p:extLst>
      <p:ext uri="{BB962C8B-B14F-4D97-AF65-F5344CB8AC3E}">
        <p14:creationId xmlns:p14="http://schemas.microsoft.com/office/powerpoint/2010/main" val="2731762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bg>
      <p:bgPr>
        <a:solidFill>
          <a:srgbClr val="D9E1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8CD8E0-C4FA-BEDC-5938-36BDD273715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0758" y="2215814"/>
            <a:ext cx="6005789" cy="1248751"/>
          </a:xfrm>
          <a:prstGeom prst="rect">
            <a:avLst/>
          </a:prstGeom>
        </p:spPr>
        <p:txBody>
          <a:bodyPr anchor="b" anchorCtr="0"/>
          <a:lstStyle>
            <a:lvl1pPr algn="l">
              <a:defRPr sz="3800" b="1" i="0" cap="all" baseline="0">
                <a:solidFill>
                  <a:schemeClr val="tx1"/>
                </a:solidFill>
                <a:latin typeface="Lato" panose="020F0502020204030203" pitchFamily="34" charset="77"/>
              </a:defRPr>
            </a:lvl1pPr>
          </a:lstStyle>
          <a:p>
            <a:r>
              <a:rPr lang="en-US" dirty="0"/>
              <a:t>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F514931-92B9-1384-0FE7-44734F85020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5139" y="3584256"/>
            <a:ext cx="5361442" cy="1406620"/>
          </a:xfrm>
          <a:prstGeom prst="rect">
            <a:avLst/>
          </a:prstGeom>
        </p:spPr>
        <p:txBody>
          <a:bodyPr anchor="t" anchorCtr="0"/>
          <a:lstStyle>
            <a:lvl1pPr marL="0" indent="0" algn="l">
              <a:buNone/>
              <a:defRPr sz="2200" b="0" i="0" cap="all" baseline="0">
                <a:solidFill>
                  <a:schemeClr val="tx1"/>
                </a:solidFill>
                <a:latin typeface="Lato" panose="020F0502020204030203" pitchFamily="34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A2FA817-9D84-1A99-23CC-CBCFE5D1536E}"/>
              </a:ext>
            </a:extLst>
          </p:cNvPr>
          <p:cNvGrpSpPr/>
          <p:nvPr userDrawn="1"/>
        </p:nvGrpSpPr>
        <p:grpSpPr>
          <a:xfrm>
            <a:off x="733434" y="542252"/>
            <a:ext cx="2455606" cy="510077"/>
            <a:chOff x="733434" y="876300"/>
            <a:chExt cx="2455606" cy="510077"/>
          </a:xfrm>
        </p:grpSpPr>
        <p:sp>
          <p:nvSpPr>
            <p:cNvPr id="6" name="Freeform: Shape 8">
              <a:extLst>
                <a:ext uri="{FF2B5EF4-FFF2-40B4-BE49-F238E27FC236}">
                  <a16:creationId xmlns:a16="http://schemas.microsoft.com/office/drawing/2014/main" id="{AB1F9E73-82D0-DC33-BDC9-C706D3B35182}"/>
                </a:ext>
              </a:extLst>
            </p:cNvPr>
            <p:cNvSpPr/>
            <p:nvPr/>
          </p:nvSpPr>
          <p:spPr>
            <a:xfrm rot="18900000">
              <a:off x="770705" y="879406"/>
              <a:ext cx="107935" cy="107935"/>
            </a:xfrm>
            <a:custGeom>
              <a:avLst/>
              <a:gdLst>
                <a:gd name="connsiteX0" fmla="*/ 67007 w 73496"/>
                <a:gd name="connsiteY0" fmla="*/ 0 h 73496"/>
                <a:gd name="connsiteX1" fmla="*/ 73497 w 73496"/>
                <a:gd name="connsiteY1" fmla="*/ 6489 h 73496"/>
                <a:gd name="connsiteX2" fmla="*/ 73497 w 73496"/>
                <a:gd name="connsiteY2" fmla="*/ 67007 h 73496"/>
                <a:gd name="connsiteX3" fmla="*/ 67007 w 73496"/>
                <a:gd name="connsiteY3" fmla="*/ 73496 h 73496"/>
                <a:gd name="connsiteX4" fmla="*/ 6489 w 73496"/>
                <a:gd name="connsiteY4" fmla="*/ 73496 h 73496"/>
                <a:gd name="connsiteX5" fmla="*/ 0 w 73496"/>
                <a:gd name="connsiteY5" fmla="*/ 67007 h 73496"/>
                <a:gd name="connsiteX6" fmla="*/ 0 w 73496"/>
                <a:gd name="connsiteY6" fmla="*/ 6489 h 73496"/>
                <a:gd name="connsiteX7" fmla="*/ 6489 w 73496"/>
                <a:gd name="connsiteY7" fmla="*/ 0 h 73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496" h="73496">
                  <a:moveTo>
                    <a:pt x="67007" y="0"/>
                  </a:moveTo>
                  <a:cubicBezTo>
                    <a:pt x="70591" y="0"/>
                    <a:pt x="73497" y="2905"/>
                    <a:pt x="73497" y="6489"/>
                  </a:cubicBezTo>
                  <a:lnTo>
                    <a:pt x="73497" y="67007"/>
                  </a:lnTo>
                  <a:cubicBezTo>
                    <a:pt x="73497" y="70591"/>
                    <a:pt x="70591" y="73496"/>
                    <a:pt x="67007" y="73496"/>
                  </a:cubicBezTo>
                  <a:lnTo>
                    <a:pt x="6489" y="73496"/>
                  </a:lnTo>
                  <a:cubicBezTo>
                    <a:pt x="2905" y="73496"/>
                    <a:pt x="0" y="70591"/>
                    <a:pt x="0" y="67007"/>
                  </a:cubicBezTo>
                  <a:lnTo>
                    <a:pt x="0" y="6489"/>
                  </a:lnTo>
                  <a:cubicBezTo>
                    <a:pt x="0" y="2905"/>
                    <a:pt x="2905" y="0"/>
                    <a:pt x="6489" y="0"/>
                  </a:cubicBezTo>
                  <a:close/>
                </a:path>
              </a:pathLst>
            </a:custGeom>
            <a:solidFill>
              <a:srgbClr val="00BD4D"/>
            </a:solidFill>
            <a:ln w="284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="0" i="0" dirty="0">
                <a:latin typeface="Lato" panose="020F0502020204030203" pitchFamily="34" charset="77"/>
              </a:endParaRP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4A3671CF-780B-CE96-C8ED-7B11C0CCDEB6}"/>
                </a:ext>
              </a:extLst>
            </p:cNvPr>
            <p:cNvGrpSpPr/>
            <p:nvPr/>
          </p:nvGrpSpPr>
          <p:grpSpPr>
            <a:xfrm>
              <a:off x="733434" y="876300"/>
              <a:ext cx="2455606" cy="510077"/>
              <a:chOff x="9242171" y="3011696"/>
              <a:chExt cx="1672097" cy="347327"/>
            </a:xfrm>
            <a:solidFill>
              <a:schemeClr val="tx1"/>
            </a:solidFill>
          </p:grpSpPr>
          <p:sp>
            <p:nvSpPr>
              <p:cNvPr id="8" name="Freeform: Shape 10">
                <a:extLst>
                  <a:ext uri="{FF2B5EF4-FFF2-40B4-BE49-F238E27FC236}">
                    <a16:creationId xmlns:a16="http://schemas.microsoft.com/office/drawing/2014/main" id="{6EE866AA-77CF-705E-3ABC-1A2D7484E778}"/>
                  </a:ext>
                </a:extLst>
              </p:cNvPr>
              <p:cNvSpPr/>
              <p:nvPr/>
            </p:nvSpPr>
            <p:spPr>
              <a:xfrm>
                <a:off x="10604432" y="3110234"/>
                <a:ext cx="249644" cy="243844"/>
              </a:xfrm>
              <a:custGeom>
                <a:avLst/>
                <a:gdLst>
                  <a:gd name="connsiteX0" fmla="*/ 172562 w 249644"/>
                  <a:gd name="connsiteY0" fmla="*/ 121922 h 243844"/>
                  <a:gd name="connsiteX1" fmla="*/ 248603 w 249644"/>
                  <a:gd name="connsiteY1" fmla="*/ 234754 h 243844"/>
                  <a:gd name="connsiteX2" fmla="*/ 243372 w 249644"/>
                  <a:gd name="connsiteY2" fmla="*/ 243845 h 243844"/>
                  <a:gd name="connsiteX3" fmla="*/ 179480 w 249644"/>
                  <a:gd name="connsiteY3" fmla="*/ 243845 h 243844"/>
                  <a:gd name="connsiteX4" fmla="*/ 168789 w 249644"/>
                  <a:gd name="connsiteY4" fmla="*/ 238213 h 243844"/>
                  <a:gd name="connsiteX5" fmla="*/ 124822 w 249644"/>
                  <a:gd name="connsiteY5" fmla="*/ 170949 h 243844"/>
                  <a:gd name="connsiteX6" fmla="*/ 80856 w 249644"/>
                  <a:gd name="connsiteY6" fmla="*/ 238213 h 243844"/>
                  <a:gd name="connsiteX7" fmla="*/ 70164 w 249644"/>
                  <a:gd name="connsiteY7" fmla="*/ 243845 h 243844"/>
                  <a:gd name="connsiteX8" fmla="*/ 6273 w 249644"/>
                  <a:gd name="connsiteY8" fmla="*/ 243845 h 243844"/>
                  <a:gd name="connsiteX9" fmla="*/ 1042 w 249644"/>
                  <a:gd name="connsiteY9" fmla="*/ 234754 h 243844"/>
                  <a:gd name="connsiteX10" fmla="*/ 76854 w 249644"/>
                  <a:gd name="connsiteY10" fmla="*/ 121922 h 243844"/>
                  <a:gd name="connsiteX11" fmla="*/ 1042 w 249644"/>
                  <a:gd name="connsiteY11" fmla="*/ 9091 h 243844"/>
                  <a:gd name="connsiteX12" fmla="*/ 6273 w 249644"/>
                  <a:gd name="connsiteY12" fmla="*/ 0 h 243844"/>
                  <a:gd name="connsiteX13" fmla="*/ 72880 w 249644"/>
                  <a:gd name="connsiteY13" fmla="*/ 0 h 243844"/>
                  <a:gd name="connsiteX14" fmla="*/ 78998 w 249644"/>
                  <a:gd name="connsiteY14" fmla="*/ 3030 h 243844"/>
                  <a:gd name="connsiteX15" fmla="*/ 124794 w 249644"/>
                  <a:gd name="connsiteY15" fmla="*/ 72782 h 243844"/>
                  <a:gd name="connsiteX16" fmla="*/ 167788 w 249644"/>
                  <a:gd name="connsiteY16" fmla="*/ 3059 h 243844"/>
                  <a:gd name="connsiteX17" fmla="*/ 173906 w 249644"/>
                  <a:gd name="connsiteY17" fmla="*/ 0 h 243844"/>
                  <a:gd name="connsiteX18" fmla="*/ 241171 w 249644"/>
                  <a:gd name="connsiteY18" fmla="*/ 0 h 243844"/>
                  <a:gd name="connsiteX19" fmla="*/ 246402 w 249644"/>
                  <a:gd name="connsiteY19" fmla="*/ 9062 h 243844"/>
                  <a:gd name="connsiteX20" fmla="*/ 172505 w 249644"/>
                  <a:gd name="connsiteY20" fmla="*/ 121922 h 243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49644" h="243844">
                    <a:moveTo>
                      <a:pt x="172562" y="121922"/>
                    </a:moveTo>
                    <a:lnTo>
                      <a:pt x="248603" y="234754"/>
                    </a:lnTo>
                    <a:cubicBezTo>
                      <a:pt x="251347" y="238642"/>
                      <a:pt x="248346" y="243845"/>
                      <a:pt x="243372" y="243845"/>
                    </a:cubicBezTo>
                    <a:lnTo>
                      <a:pt x="179480" y="243845"/>
                    </a:lnTo>
                    <a:cubicBezTo>
                      <a:pt x="175221" y="243845"/>
                      <a:pt x="171219" y="241729"/>
                      <a:pt x="168789" y="238213"/>
                    </a:cubicBezTo>
                    <a:lnTo>
                      <a:pt x="124822" y="170949"/>
                    </a:lnTo>
                    <a:lnTo>
                      <a:pt x="80856" y="238213"/>
                    </a:lnTo>
                    <a:cubicBezTo>
                      <a:pt x="78426" y="241729"/>
                      <a:pt x="74452" y="243845"/>
                      <a:pt x="70164" y="243845"/>
                    </a:cubicBezTo>
                    <a:lnTo>
                      <a:pt x="6273" y="243845"/>
                    </a:lnTo>
                    <a:cubicBezTo>
                      <a:pt x="1299" y="243845"/>
                      <a:pt x="-1703" y="238671"/>
                      <a:pt x="1042" y="234754"/>
                    </a:cubicBezTo>
                    <a:lnTo>
                      <a:pt x="76854" y="121922"/>
                    </a:lnTo>
                    <a:lnTo>
                      <a:pt x="1042" y="9091"/>
                    </a:lnTo>
                    <a:cubicBezTo>
                      <a:pt x="-1703" y="5203"/>
                      <a:pt x="1299" y="0"/>
                      <a:pt x="6273" y="0"/>
                    </a:cubicBezTo>
                    <a:lnTo>
                      <a:pt x="72880" y="0"/>
                    </a:lnTo>
                    <a:cubicBezTo>
                      <a:pt x="75367" y="0"/>
                      <a:pt x="77683" y="1143"/>
                      <a:pt x="78998" y="3030"/>
                    </a:cubicBezTo>
                    <a:lnTo>
                      <a:pt x="124794" y="72782"/>
                    </a:lnTo>
                    <a:lnTo>
                      <a:pt x="167788" y="3059"/>
                    </a:lnTo>
                    <a:cubicBezTo>
                      <a:pt x="169075" y="1172"/>
                      <a:pt x="171419" y="0"/>
                      <a:pt x="173906" y="0"/>
                    </a:cubicBezTo>
                    <a:lnTo>
                      <a:pt x="241171" y="0"/>
                    </a:lnTo>
                    <a:cubicBezTo>
                      <a:pt x="246145" y="0"/>
                      <a:pt x="249118" y="5174"/>
                      <a:pt x="246402" y="9062"/>
                    </a:cubicBezTo>
                    <a:lnTo>
                      <a:pt x="172505" y="121922"/>
                    </a:ln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9" name="Freeform: Shape 11">
                <a:extLst>
                  <a:ext uri="{FF2B5EF4-FFF2-40B4-BE49-F238E27FC236}">
                    <a16:creationId xmlns:a16="http://schemas.microsoft.com/office/drawing/2014/main" id="{A32E3006-639A-B2A0-AAD1-4813716BC0F3}"/>
                  </a:ext>
                </a:extLst>
              </p:cNvPr>
              <p:cNvSpPr/>
              <p:nvPr/>
            </p:nvSpPr>
            <p:spPr>
              <a:xfrm>
                <a:off x="9581152" y="3011696"/>
                <a:ext cx="164831" cy="342440"/>
              </a:xfrm>
              <a:custGeom>
                <a:avLst/>
                <a:gdLst>
                  <a:gd name="connsiteX0" fmla="*/ 158342 w 164831"/>
                  <a:gd name="connsiteY0" fmla="*/ 29 h 342440"/>
                  <a:gd name="connsiteX1" fmla="*/ 105342 w 164831"/>
                  <a:gd name="connsiteY1" fmla="*/ 29 h 342440"/>
                  <a:gd name="connsiteX2" fmla="*/ 91592 w 164831"/>
                  <a:gd name="connsiteY2" fmla="*/ 5717 h 342440"/>
                  <a:gd name="connsiteX3" fmla="*/ 41794 w 164831"/>
                  <a:gd name="connsiteY3" fmla="*/ 55515 h 342440"/>
                  <a:gd name="connsiteX4" fmla="*/ 36105 w 164831"/>
                  <a:gd name="connsiteY4" fmla="*/ 69266 h 342440"/>
                  <a:gd name="connsiteX5" fmla="*/ 36105 w 164831"/>
                  <a:gd name="connsiteY5" fmla="*/ 108458 h 342440"/>
                  <a:gd name="connsiteX6" fmla="*/ 6375 w 164831"/>
                  <a:gd name="connsiteY6" fmla="*/ 108458 h 342440"/>
                  <a:gd name="connsiteX7" fmla="*/ 0 w 164831"/>
                  <a:gd name="connsiteY7" fmla="*/ 114833 h 342440"/>
                  <a:gd name="connsiteX8" fmla="*/ 0 w 164831"/>
                  <a:gd name="connsiteY8" fmla="*/ 158828 h 342440"/>
                  <a:gd name="connsiteX9" fmla="*/ 6375 w 164831"/>
                  <a:gd name="connsiteY9" fmla="*/ 165203 h 342440"/>
                  <a:gd name="connsiteX10" fmla="*/ 36105 w 164831"/>
                  <a:gd name="connsiteY10" fmla="*/ 165203 h 342440"/>
                  <a:gd name="connsiteX11" fmla="*/ 36105 w 164831"/>
                  <a:gd name="connsiteY11" fmla="*/ 335951 h 342440"/>
                  <a:gd name="connsiteX12" fmla="*/ 42594 w 164831"/>
                  <a:gd name="connsiteY12" fmla="*/ 342440 h 342440"/>
                  <a:gd name="connsiteX13" fmla="*/ 98510 w 164831"/>
                  <a:gd name="connsiteY13" fmla="*/ 342440 h 342440"/>
                  <a:gd name="connsiteX14" fmla="*/ 104999 w 164831"/>
                  <a:gd name="connsiteY14" fmla="*/ 335951 h 342440"/>
                  <a:gd name="connsiteX15" fmla="*/ 104999 w 164831"/>
                  <a:gd name="connsiteY15" fmla="*/ 165174 h 342440"/>
                  <a:gd name="connsiteX16" fmla="*/ 149394 w 164831"/>
                  <a:gd name="connsiteY16" fmla="*/ 165174 h 342440"/>
                  <a:gd name="connsiteX17" fmla="*/ 155769 w 164831"/>
                  <a:gd name="connsiteY17" fmla="*/ 158799 h 342440"/>
                  <a:gd name="connsiteX18" fmla="*/ 155769 w 164831"/>
                  <a:gd name="connsiteY18" fmla="*/ 114804 h 342440"/>
                  <a:gd name="connsiteX19" fmla="*/ 149394 w 164831"/>
                  <a:gd name="connsiteY19" fmla="*/ 108429 h 342440"/>
                  <a:gd name="connsiteX20" fmla="*/ 104999 w 164831"/>
                  <a:gd name="connsiteY20" fmla="*/ 108429 h 342440"/>
                  <a:gd name="connsiteX21" fmla="*/ 104999 w 164831"/>
                  <a:gd name="connsiteY21" fmla="*/ 80643 h 342440"/>
                  <a:gd name="connsiteX22" fmla="*/ 124438 w 164831"/>
                  <a:gd name="connsiteY22" fmla="*/ 61204 h 342440"/>
                  <a:gd name="connsiteX23" fmla="*/ 158342 w 164831"/>
                  <a:gd name="connsiteY23" fmla="*/ 61204 h 342440"/>
                  <a:gd name="connsiteX24" fmla="*/ 164831 w 164831"/>
                  <a:gd name="connsiteY24" fmla="*/ 54715 h 342440"/>
                  <a:gd name="connsiteX25" fmla="*/ 164831 w 164831"/>
                  <a:gd name="connsiteY25" fmla="*/ 6489 h 342440"/>
                  <a:gd name="connsiteX26" fmla="*/ 158342 w 164831"/>
                  <a:gd name="connsiteY26" fmla="*/ 0 h 342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64831" h="342440">
                    <a:moveTo>
                      <a:pt x="158342" y="29"/>
                    </a:moveTo>
                    <a:lnTo>
                      <a:pt x="105342" y="29"/>
                    </a:lnTo>
                    <a:cubicBezTo>
                      <a:pt x="100197" y="29"/>
                      <a:pt x="95251" y="2087"/>
                      <a:pt x="91592" y="5717"/>
                    </a:cubicBezTo>
                    <a:lnTo>
                      <a:pt x="41794" y="55515"/>
                    </a:lnTo>
                    <a:cubicBezTo>
                      <a:pt x="38135" y="59175"/>
                      <a:pt x="36105" y="64120"/>
                      <a:pt x="36105" y="69266"/>
                    </a:cubicBezTo>
                    <a:lnTo>
                      <a:pt x="36105" y="108458"/>
                    </a:lnTo>
                    <a:lnTo>
                      <a:pt x="6375" y="108458"/>
                    </a:lnTo>
                    <a:cubicBezTo>
                      <a:pt x="2859" y="108458"/>
                      <a:pt x="0" y="111317"/>
                      <a:pt x="0" y="114833"/>
                    </a:cubicBezTo>
                    <a:lnTo>
                      <a:pt x="0" y="158828"/>
                    </a:lnTo>
                    <a:cubicBezTo>
                      <a:pt x="0" y="162344"/>
                      <a:pt x="2859" y="165203"/>
                      <a:pt x="6375" y="165203"/>
                    </a:cubicBezTo>
                    <a:lnTo>
                      <a:pt x="36105" y="165203"/>
                    </a:lnTo>
                    <a:lnTo>
                      <a:pt x="36105" y="335951"/>
                    </a:lnTo>
                    <a:cubicBezTo>
                      <a:pt x="36105" y="339524"/>
                      <a:pt x="39021" y="342440"/>
                      <a:pt x="42594" y="342440"/>
                    </a:cubicBezTo>
                    <a:lnTo>
                      <a:pt x="98510" y="342440"/>
                    </a:lnTo>
                    <a:cubicBezTo>
                      <a:pt x="102083" y="342440"/>
                      <a:pt x="104999" y="339524"/>
                      <a:pt x="104999" y="335951"/>
                    </a:cubicBezTo>
                    <a:lnTo>
                      <a:pt x="104999" y="165174"/>
                    </a:lnTo>
                    <a:lnTo>
                      <a:pt x="149394" y="165174"/>
                    </a:lnTo>
                    <a:cubicBezTo>
                      <a:pt x="152911" y="165174"/>
                      <a:pt x="155769" y="162315"/>
                      <a:pt x="155769" y="158799"/>
                    </a:cubicBezTo>
                    <a:lnTo>
                      <a:pt x="155769" y="114804"/>
                    </a:lnTo>
                    <a:cubicBezTo>
                      <a:pt x="155769" y="111288"/>
                      <a:pt x="152911" y="108429"/>
                      <a:pt x="149394" y="108429"/>
                    </a:cubicBezTo>
                    <a:lnTo>
                      <a:pt x="104999" y="108429"/>
                    </a:lnTo>
                    <a:lnTo>
                      <a:pt x="104999" y="80643"/>
                    </a:lnTo>
                    <a:cubicBezTo>
                      <a:pt x="104999" y="69895"/>
                      <a:pt x="113718" y="61204"/>
                      <a:pt x="124438" y="61204"/>
                    </a:cubicBezTo>
                    <a:lnTo>
                      <a:pt x="158342" y="61204"/>
                    </a:lnTo>
                    <a:cubicBezTo>
                      <a:pt x="161915" y="61204"/>
                      <a:pt x="164831" y="58288"/>
                      <a:pt x="164831" y="54715"/>
                    </a:cubicBezTo>
                    <a:lnTo>
                      <a:pt x="164831" y="6489"/>
                    </a:lnTo>
                    <a:cubicBezTo>
                      <a:pt x="164831" y="2916"/>
                      <a:pt x="161915" y="0"/>
                      <a:pt x="158342" y="0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10" name="Freeform: Shape 12">
                <a:extLst>
                  <a:ext uri="{FF2B5EF4-FFF2-40B4-BE49-F238E27FC236}">
                    <a16:creationId xmlns:a16="http://schemas.microsoft.com/office/drawing/2014/main" id="{03F994C2-54A7-8E21-D667-22363CF9EC9A}"/>
                  </a:ext>
                </a:extLst>
              </p:cNvPr>
              <p:cNvSpPr/>
              <p:nvPr/>
            </p:nvSpPr>
            <p:spPr>
              <a:xfrm>
                <a:off x="10860611" y="3304224"/>
                <a:ext cx="53657" cy="53657"/>
              </a:xfrm>
              <a:custGeom>
                <a:avLst/>
                <a:gdLst>
                  <a:gd name="connsiteX0" fmla="*/ 53657 w 53657"/>
                  <a:gd name="connsiteY0" fmla="*/ 26786 h 53657"/>
                  <a:gd name="connsiteX1" fmla="*/ 26729 w 53657"/>
                  <a:gd name="connsiteY1" fmla="*/ 53657 h 53657"/>
                  <a:gd name="connsiteX2" fmla="*/ 0 w 53657"/>
                  <a:gd name="connsiteY2" fmla="*/ 26786 h 53657"/>
                  <a:gd name="connsiteX3" fmla="*/ 26814 w 53657"/>
                  <a:gd name="connsiteY3" fmla="*/ 0 h 53657"/>
                  <a:gd name="connsiteX4" fmla="*/ 53629 w 53657"/>
                  <a:gd name="connsiteY4" fmla="*/ 26786 h 53657"/>
                  <a:gd name="connsiteX5" fmla="*/ 49541 w 53657"/>
                  <a:gd name="connsiteY5" fmla="*/ 26900 h 53657"/>
                  <a:gd name="connsiteX6" fmla="*/ 26843 w 53657"/>
                  <a:gd name="connsiteY6" fmla="*/ 3831 h 53657"/>
                  <a:gd name="connsiteX7" fmla="*/ 4145 w 53657"/>
                  <a:gd name="connsiteY7" fmla="*/ 26872 h 53657"/>
                  <a:gd name="connsiteX8" fmla="*/ 26729 w 53657"/>
                  <a:gd name="connsiteY8" fmla="*/ 49884 h 53657"/>
                  <a:gd name="connsiteX9" fmla="*/ 49541 w 53657"/>
                  <a:gd name="connsiteY9" fmla="*/ 26900 h 53657"/>
                  <a:gd name="connsiteX10" fmla="*/ 32589 w 53657"/>
                  <a:gd name="connsiteY10" fmla="*/ 31131 h 53657"/>
                  <a:gd name="connsiteX11" fmla="*/ 39335 w 53657"/>
                  <a:gd name="connsiteY11" fmla="*/ 41622 h 53657"/>
                  <a:gd name="connsiteX12" fmla="*/ 34876 w 53657"/>
                  <a:gd name="connsiteY12" fmla="*/ 41622 h 53657"/>
                  <a:gd name="connsiteX13" fmla="*/ 27386 w 53657"/>
                  <a:gd name="connsiteY13" fmla="*/ 29730 h 53657"/>
                  <a:gd name="connsiteX14" fmla="*/ 20554 w 53657"/>
                  <a:gd name="connsiteY14" fmla="*/ 29730 h 53657"/>
                  <a:gd name="connsiteX15" fmla="*/ 20554 w 53657"/>
                  <a:gd name="connsiteY15" fmla="*/ 41622 h 53657"/>
                  <a:gd name="connsiteX16" fmla="*/ 16809 w 53657"/>
                  <a:gd name="connsiteY16" fmla="*/ 41622 h 53657"/>
                  <a:gd name="connsiteX17" fmla="*/ 16809 w 53657"/>
                  <a:gd name="connsiteY17" fmla="*/ 11549 h 53657"/>
                  <a:gd name="connsiteX18" fmla="*/ 28472 w 53657"/>
                  <a:gd name="connsiteY18" fmla="*/ 11549 h 53657"/>
                  <a:gd name="connsiteX19" fmla="*/ 37963 w 53657"/>
                  <a:gd name="connsiteY19" fmla="*/ 20411 h 53657"/>
                  <a:gd name="connsiteX20" fmla="*/ 31131 w 53657"/>
                  <a:gd name="connsiteY20" fmla="*/ 29101 h 53657"/>
                  <a:gd name="connsiteX21" fmla="*/ 32589 w 53657"/>
                  <a:gd name="connsiteY21" fmla="*/ 31160 h 53657"/>
                  <a:gd name="connsiteX22" fmla="*/ 27214 w 53657"/>
                  <a:gd name="connsiteY22" fmla="*/ 26185 h 53657"/>
                  <a:gd name="connsiteX23" fmla="*/ 34047 w 53657"/>
                  <a:gd name="connsiteY23" fmla="*/ 20640 h 53657"/>
                  <a:gd name="connsiteX24" fmla="*/ 28558 w 53657"/>
                  <a:gd name="connsiteY24" fmla="*/ 15037 h 53657"/>
                  <a:gd name="connsiteX25" fmla="*/ 20525 w 53657"/>
                  <a:gd name="connsiteY25" fmla="*/ 15037 h 53657"/>
                  <a:gd name="connsiteX26" fmla="*/ 20525 w 53657"/>
                  <a:gd name="connsiteY26" fmla="*/ 26157 h 53657"/>
                  <a:gd name="connsiteX27" fmla="*/ 27214 w 53657"/>
                  <a:gd name="connsiteY27" fmla="*/ 26157 h 53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53657" h="53657">
                    <a:moveTo>
                      <a:pt x="53657" y="26786"/>
                    </a:moveTo>
                    <a:cubicBezTo>
                      <a:pt x="53657" y="41708"/>
                      <a:pt x="41708" y="53657"/>
                      <a:pt x="26729" y="53657"/>
                    </a:cubicBezTo>
                    <a:cubicBezTo>
                      <a:pt x="11749" y="53657"/>
                      <a:pt x="0" y="41594"/>
                      <a:pt x="0" y="26786"/>
                    </a:cubicBezTo>
                    <a:cubicBezTo>
                      <a:pt x="0" y="11978"/>
                      <a:pt x="11949" y="0"/>
                      <a:pt x="26814" y="0"/>
                    </a:cubicBezTo>
                    <a:cubicBezTo>
                      <a:pt x="41679" y="0"/>
                      <a:pt x="53629" y="11892"/>
                      <a:pt x="53629" y="26786"/>
                    </a:cubicBezTo>
                    <a:close/>
                    <a:moveTo>
                      <a:pt x="49541" y="26900"/>
                    </a:moveTo>
                    <a:cubicBezTo>
                      <a:pt x="49541" y="14036"/>
                      <a:pt x="39392" y="3831"/>
                      <a:pt x="26843" y="3831"/>
                    </a:cubicBezTo>
                    <a:cubicBezTo>
                      <a:pt x="14293" y="3831"/>
                      <a:pt x="4145" y="13922"/>
                      <a:pt x="4145" y="26872"/>
                    </a:cubicBezTo>
                    <a:cubicBezTo>
                      <a:pt x="4145" y="39821"/>
                      <a:pt x="14408" y="49884"/>
                      <a:pt x="26729" y="49884"/>
                    </a:cubicBezTo>
                    <a:cubicBezTo>
                      <a:pt x="39049" y="49884"/>
                      <a:pt x="49541" y="39736"/>
                      <a:pt x="49541" y="26900"/>
                    </a:cubicBezTo>
                    <a:close/>
                    <a:moveTo>
                      <a:pt x="32589" y="31131"/>
                    </a:moveTo>
                    <a:lnTo>
                      <a:pt x="39335" y="41622"/>
                    </a:lnTo>
                    <a:lnTo>
                      <a:pt x="34876" y="41622"/>
                    </a:lnTo>
                    <a:lnTo>
                      <a:pt x="27386" y="29730"/>
                    </a:lnTo>
                    <a:lnTo>
                      <a:pt x="20554" y="29730"/>
                    </a:lnTo>
                    <a:lnTo>
                      <a:pt x="20554" y="41622"/>
                    </a:lnTo>
                    <a:lnTo>
                      <a:pt x="16809" y="41622"/>
                    </a:lnTo>
                    <a:lnTo>
                      <a:pt x="16809" y="11549"/>
                    </a:lnTo>
                    <a:lnTo>
                      <a:pt x="28472" y="11549"/>
                    </a:lnTo>
                    <a:cubicBezTo>
                      <a:pt x="34218" y="11549"/>
                      <a:pt x="37963" y="14636"/>
                      <a:pt x="37963" y="20411"/>
                    </a:cubicBezTo>
                    <a:cubicBezTo>
                      <a:pt x="37963" y="25071"/>
                      <a:pt x="35133" y="27958"/>
                      <a:pt x="31131" y="29101"/>
                    </a:cubicBezTo>
                    <a:cubicBezTo>
                      <a:pt x="31674" y="29702"/>
                      <a:pt x="32217" y="30445"/>
                      <a:pt x="32589" y="31160"/>
                    </a:cubicBezTo>
                    <a:close/>
                    <a:moveTo>
                      <a:pt x="27214" y="26185"/>
                    </a:moveTo>
                    <a:cubicBezTo>
                      <a:pt x="31445" y="26185"/>
                      <a:pt x="34047" y="24184"/>
                      <a:pt x="34047" y="20640"/>
                    </a:cubicBezTo>
                    <a:cubicBezTo>
                      <a:pt x="34047" y="17095"/>
                      <a:pt x="32246" y="15037"/>
                      <a:pt x="28558" y="15037"/>
                    </a:cubicBezTo>
                    <a:lnTo>
                      <a:pt x="20525" y="15037"/>
                    </a:lnTo>
                    <a:lnTo>
                      <a:pt x="20525" y="26157"/>
                    </a:lnTo>
                    <a:lnTo>
                      <a:pt x="27214" y="26157"/>
                    </a:ln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11" name="Freeform: Shape 13">
                <a:extLst>
                  <a:ext uri="{FF2B5EF4-FFF2-40B4-BE49-F238E27FC236}">
                    <a16:creationId xmlns:a16="http://schemas.microsoft.com/office/drawing/2014/main" id="{790D2529-B37A-87B0-875D-CBA685093DF2}"/>
                  </a:ext>
                </a:extLst>
              </p:cNvPr>
              <p:cNvSpPr/>
              <p:nvPr/>
            </p:nvSpPr>
            <p:spPr>
              <a:xfrm>
                <a:off x="10283815" y="3011724"/>
                <a:ext cx="68865" cy="342354"/>
              </a:xfrm>
              <a:custGeom>
                <a:avLst/>
                <a:gdLst>
                  <a:gd name="connsiteX0" fmla="*/ 62376 w 68865"/>
                  <a:gd name="connsiteY0" fmla="*/ 0 h 342354"/>
                  <a:gd name="connsiteX1" fmla="*/ 68866 w 68865"/>
                  <a:gd name="connsiteY1" fmla="*/ 6489 h 342354"/>
                  <a:gd name="connsiteX2" fmla="*/ 68866 w 68865"/>
                  <a:gd name="connsiteY2" fmla="*/ 335865 h 342354"/>
                  <a:gd name="connsiteX3" fmla="*/ 62376 w 68865"/>
                  <a:gd name="connsiteY3" fmla="*/ 342355 h 342354"/>
                  <a:gd name="connsiteX4" fmla="*/ 6489 w 68865"/>
                  <a:gd name="connsiteY4" fmla="*/ 342355 h 342354"/>
                  <a:gd name="connsiteX5" fmla="*/ 0 w 68865"/>
                  <a:gd name="connsiteY5" fmla="*/ 335865 h 342354"/>
                  <a:gd name="connsiteX6" fmla="*/ 0 w 68865"/>
                  <a:gd name="connsiteY6" fmla="*/ 6489 h 342354"/>
                  <a:gd name="connsiteX7" fmla="*/ 6489 w 68865"/>
                  <a:gd name="connsiteY7" fmla="*/ 0 h 3423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8865" h="342354">
                    <a:moveTo>
                      <a:pt x="62376" y="0"/>
                    </a:moveTo>
                    <a:cubicBezTo>
                      <a:pt x="65960" y="0"/>
                      <a:pt x="68866" y="2905"/>
                      <a:pt x="68866" y="6489"/>
                    </a:cubicBezTo>
                    <a:lnTo>
                      <a:pt x="68866" y="335865"/>
                    </a:lnTo>
                    <a:cubicBezTo>
                      <a:pt x="68866" y="339449"/>
                      <a:pt x="65960" y="342355"/>
                      <a:pt x="62376" y="342355"/>
                    </a:cubicBezTo>
                    <a:lnTo>
                      <a:pt x="6489" y="342355"/>
                    </a:lnTo>
                    <a:cubicBezTo>
                      <a:pt x="2905" y="342355"/>
                      <a:pt x="0" y="339449"/>
                      <a:pt x="0" y="335865"/>
                    </a:cubicBezTo>
                    <a:lnTo>
                      <a:pt x="0" y="6489"/>
                    </a:lnTo>
                    <a:cubicBezTo>
                      <a:pt x="0" y="2905"/>
                      <a:pt x="2905" y="0"/>
                      <a:pt x="6489" y="0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12" name="Freeform: Shape 14">
                <a:extLst>
                  <a:ext uri="{FF2B5EF4-FFF2-40B4-BE49-F238E27FC236}">
                    <a16:creationId xmlns:a16="http://schemas.microsoft.com/office/drawing/2014/main" id="{0A562DE4-7A24-6EBF-D0C2-67D6381AF712}"/>
                  </a:ext>
                </a:extLst>
              </p:cNvPr>
              <p:cNvSpPr/>
              <p:nvPr/>
            </p:nvSpPr>
            <p:spPr>
              <a:xfrm>
                <a:off x="10006809" y="3011696"/>
                <a:ext cx="258538" cy="347300"/>
              </a:xfrm>
              <a:custGeom>
                <a:avLst/>
                <a:gdLst>
                  <a:gd name="connsiteX0" fmla="*/ 143734 w 258538"/>
                  <a:gd name="connsiteY0" fmla="*/ 93393 h 347300"/>
                  <a:gd name="connsiteX1" fmla="*/ 68894 w 258538"/>
                  <a:gd name="connsiteY1" fmla="*/ 129755 h 347300"/>
                  <a:gd name="connsiteX2" fmla="*/ 68894 w 258538"/>
                  <a:gd name="connsiteY2" fmla="*/ 6489 h 347300"/>
                  <a:gd name="connsiteX3" fmla="*/ 62405 w 258538"/>
                  <a:gd name="connsiteY3" fmla="*/ 0 h 347300"/>
                  <a:gd name="connsiteX4" fmla="*/ 6489 w 258538"/>
                  <a:gd name="connsiteY4" fmla="*/ 0 h 347300"/>
                  <a:gd name="connsiteX5" fmla="*/ 0 w 258538"/>
                  <a:gd name="connsiteY5" fmla="*/ 6489 h 347300"/>
                  <a:gd name="connsiteX6" fmla="*/ 0 w 258538"/>
                  <a:gd name="connsiteY6" fmla="*/ 335894 h 347300"/>
                  <a:gd name="connsiteX7" fmla="*/ 6489 w 258538"/>
                  <a:gd name="connsiteY7" fmla="*/ 342383 h 347300"/>
                  <a:gd name="connsiteX8" fmla="*/ 62405 w 258538"/>
                  <a:gd name="connsiteY8" fmla="*/ 342383 h 347300"/>
                  <a:gd name="connsiteX9" fmla="*/ 68894 w 258538"/>
                  <a:gd name="connsiteY9" fmla="*/ 335894 h 347300"/>
                  <a:gd name="connsiteX10" fmla="*/ 68894 w 258538"/>
                  <a:gd name="connsiteY10" fmla="*/ 311624 h 347300"/>
                  <a:gd name="connsiteX11" fmla="*/ 144249 w 258538"/>
                  <a:gd name="connsiteY11" fmla="*/ 347300 h 347300"/>
                  <a:gd name="connsiteX12" fmla="*/ 258539 w 258538"/>
                  <a:gd name="connsiteY12" fmla="*/ 220689 h 347300"/>
                  <a:gd name="connsiteX13" fmla="*/ 143763 w 258538"/>
                  <a:gd name="connsiteY13" fmla="*/ 93393 h 347300"/>
                  <a:gd name="connsiteX14" fmla="*/ 130041 w 258538"/>
                  <a:gd name="connsiteY14" fmla="*/ 282637 h 347300"/>
                  <a:gd name="connsiteX15" fmla="*/ 68894 w 258538"/>
                  <a:gd name="connsiteY15" fmla="*/ 220718 h 347300"/>
                  <a:gd name="connsiteX16" fmla="*/ 130041 w 258538"/>
                  <a:gd name="connsiteY16" fmla="*/ 159285 h 347300"/>
                  <a:gd name="connsiteX17" fmla="*/ 190216 w 258538"/>
                  <a:gd name="connsiteY17" fmla="*/ 220718 h 347300"/>
                  <a:gd name="connsiteX18" fmla="*/ 130041 w 258538"/>
                  <a:gd name="connsiteY18" fmla="*/ 282637 h 347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8538" h="347300">
                    <a:moveTo>
                      <a:pt x="143734" y="93393"/>
                    </a:moveTo>
                    <a:cubicBezTo>
                      <a:pt x="111946" y="93393"/>
                      <a:pt x="85503" y="107172"/>
                      <a:pt x="68894" y="129755"/>
                    </a:cubicBezTo>
                    <a:lnTo>
                      <a:pt x="68894" y="6489"/>
                    </a:lnTo>
                    <a:cubicBezTo>
                      <a:pt x="68894" y="2916"/>
                      <a:pt x="65978" y="0"/>
                      <a:pt x="62405" y="0"/>
                    </a:cubicBezTo>
                    <a:lnTo>
                      <a:pt x="6489" y="0"/>
                    </a:lnTo>
                    <a:cubicBezTo>
                      <a:pt x="2916" y="0"/>
                      <a:pt x="0" y="2916"/>
                      <a:pt x="0" y="6489"/>
                    </a:cubicBezTo>
                    <a:lnTo>
                      <a:pt x="0" y="335894"/>
                    </a:lnTo>
                    <a:cubicBezTo>
                      <a:pt x="0" y="339467"/>
                      <a:pt x="2916" y="342383"/>
                      <a:pt x="6489" y="342383"/>
                    </a:cubicBezTo>
                    <a:lnTo>
                      <a:pt x="62405" y="342383"/>
                    </a:lnTo>
                    <a:cubicBezTo>
                      <a:pt x="65978" y="342383"/>
                      <a:pt x="68894" y="339467"/>
                      <a:pt x="68894" y="335894"/>
                    </a:cubicBezTo>
                    <a:lnTo>
                      <a:pt x="68894" y="311624"/>
                    </a:lnTo>
                    <a:cubicBezTo>
                      <a:pt x="85532" y="334236"/>
                      <a:pt x="111946" y="347300"/>
                      <a:pt x="144249" y="347300"/>
                    </a:cubicBezTo>
                    <a:cubicBezTo>
                      <a:pt x="212257" y="347300"/>
                      <a:pt x="258539" y="292442"/>
                      <a:pt x="258539" y="220689"/>
                    </a:cubicBezTo>
                    <a:cubicBezTo>
                      <a:pt x="258539" y="148937"/>
                      <a:pt x="212257" y="93393"/>
                      <a:pt x="143763" y="93393"/>
                    </a:cubicBezTo>
                    <a:close/>
                    <a:moveTo>
                      <a:pt x="130041" y="282637"/>
                    </a:moveTo>
                    <a:cubicBezTo>
                      <a:pt x="94822" y="282637"/>
                      <a:pt x="68894" y="254136"/>
                      <a:pt x="68894" y="220718"/>
                    </a:cubicBezTo>
                    <a:cubicBezTo>
                      <a:pt x="68894" y="187300"/>
                      <a:pt x="94822" y="159285"/>
                      <a:pt x="130041" y="159285"/>
                    </a:cubicBezTo>
                    <a:cubicBezTo>
                      <a:pt x="165260" y="159285"/>
                      <a:pt x="190216" y="187300"/>
                      <a:pt x="190216" y="220718"/>
                    </a:cubicBezTo>
                    <a:cubicBezTo>
                      <a:pt x="190216" y="254136"/>
                      <a:pt x="164774" y="282637"/>
                      <a:pt x="130041" y="282637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13" name="Freeform: Shape 15">
                <a:extLst>
                  <a:ext uri="{FF2B5EF4-FFF2-40B4-BE49-F238E27FC236}">
                    <a16:creationId xmlns:a16="http://schemas.microsoft.com/office/drawing/2014/main" id="{609CC692-98B7-74A9-A869-8E9C0A29C14B}"/>
                  </a:ext>
                </a:extLst>
              </p:cNvPr>
              <p:cNvSpPr/>
              <p:nvPr/>
            </p:nvSpPr>
            <p:spPr>
              <a:xfrm>
                <a:off x="9736922" y="3105088"/>
                <a:ext cx="251792" cy="253935"/>
              </a:xfrm>
              <a:custGeom>
                <a:avLst/>
                <a:gdLst>
                  <a:gd name="connsiteX0" fmla="*/ 125896 w 251792"/>
                  <a:gd name="connsiteY0" fmla="*/ 0 h 253935"/>
                  <a:gd name="connsiteX1" fmla="*/ 0 w 251792"/>
                  <a:gd name="connsiteY1" fmla="*/ 126725 h 253935"/>
                  <a:gd name="connsiteX2" fmla="*/ 125896 w 251792"/>
                  <a:gd name="connsiteY2" fmla="*/ 253936 h 253935"/>
                  <a:gd name="connsiteX3" fmla="*/ 251792 w 251792"/>
                  <a:gd name="connsiteY3" fmla="*/ 126725 h 253935"/>
                  <a:gd name="connsiteX4" fmla="*/ 125896 w 251792"/>
                  <a:gd name="connsiteY4" fmla="*/ 0 h 253935"/>
                  <a:gd name="connsiteX5" fmla="*/ 126153 w 251792"/>
                  <a:gd name="connsiteY5" fmla="*/ 188558 h 253935"/>
                  <a:gd name="connsiteX6" fmla="*/ 65378 w 251792"/>
                  <a:gd name="connsiteY6" fmla="*/ 126725 h 253935"/>
                  <a:gd name="connsiteX7" fmla="*/ 126153 w 251792"/>
                  <a:gd name="connsiteY7" fmla="*/ 65378 h 253935"/>
                  <a:gd name="connsiteX8" fmla="*/ 186443 w 251792"/>
                  <a:gd name="connsiteY8" fmla="*/ 126725 h 253935"/>
                  <a:gd name="connsiteX9" fmla="*/ 126153 w 251792"/>
                  <a:gd name="connsiteY9" fmla="*/ 188558 h 253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1792" h="253935">
                    <a:moveTo>
                      <a:pt x="125896" y="0"/>
                    </a:moveTo>
                    <a:cubicBezTo>
                      <a:pt x="54944" y="0"/>
                      <a:pt x="0" y="55287"/>
                      <a:pt x="0" y="126725"/>
                    </a:cubicBezTo>
                    <a:cubicBezTo>
                      <a:pt x="0" y="198163"/>
                      <a:pt x="54915" y="253936"/>
                      <a:pt x="125896" y="253936"/>
                    </a:cubicBezTo>
                    <a:cubicBezTo>
                      <a:pt x="196877" y="253936"/>
                      <a:pt x="251792" y="198163"/>
                      <a:pt x="251792" y="126725"/>
                    </a:cubicBezTo>
                    <a:cubicBezTo>
                      <a:pt x="251792" y="55287"/>
                      <a:pt x="196877" y="0"/>
                      <a:pt x="125896" y="0"/>
                    </a:cubicBezTo>
                    <a:close/>
                    <a:moveTo>
                      <a:pt x="126153" y="188558"/>
                    </a:moveTo>
                    <a:cubicBezTo>
                      <a:pt x="91506" y="188558"/>
                      <a:pt x="65378" y="160314"/>
                      <a:pt x="65378" y="126725"/>
                    </a:cubicBezTo>
                    <a:cubicBezTo>
                      <a:pt x="65378" y="93136"/>
                      <a:pt x="91506" y="65378"/>
                      <a:pt x="126153" y="65378"/>
                    </a:cubicBezTo>
                    <a:cubicBezTo>
                      <a:pt x="160801" y="65378"/>
                      <a:pt x="186443" y="93136"/>
                      <a:pt x="186443" y="126725"/>
                    </a:cubicBezTo>
                    <a:cubicBezTo>
                      <a:pt x="186443" y="160314"/>
                      <a:pt x="161315" y="188558"/>
                      <a:pt x="126153" y="188558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14" name="Freeform: Shape 16">
                <a:extLst>
                  <a:ext uri="{FF2B5EF4-FFF2-40B4-BE49-F238E27FC236}">
                    <a16:creationId xmlns:a16="http://schemas.microsoft.com/office/drawing/2014/main" id="{203812B4-1271-3FED-3E88-3F4A45454726}"/>
                  </a:ext>
                </a:extLst>
              </p:cNvPr>
              <p:cNvSpPr/>
              <p:nvPr/>
            </p:nvSpPr>
            <p:spPr>
              <a:xfrm>
                <a:off x="10370776" y="3105088"/>
                <a:ext cx="251792" cy="253935"/>
              </a:xfrm>
              <a:custGeom>
                <a:avLst/>
                <a:gdLst>
                  <a:gd name="connsiteX0" fmla="*/ 125896 w 251792"/>
                  <a:gd name="connsiteY0" fmla="*/ 0 h 253935"/>
                  <a:gd name="connsiteX1" fmla="*/ 0 w 251792"/>
                  <a:gd name="connsiteY1" fmla="*/ 126725 h 253935"/>
                  <a:gd name="connsiteX2" fmla="*/ 125896 w 251792"/>
                  <a:gd name="connsiteY2" fmla="*/ 253936 h 253935"/>
                  <a:gd name="connsiteX3" fmla="*/ 251792 w 251792"/>
                  <a:gd name="connsiteY3" fmla="*/ 126725 h 253935"/>
                  <a:gd name="connsiteX4" fmla="*/ 125896 w 251792"/>
                  <a:gd name="connsiteY4" fmla="*/ 0 h 253935"/>
                  <a:gd name="connsiteX5" fmla="*/ 126153 w 251792"/>
                  <a:gd name="connsiteY5" fmla="*/ 188558 h 253935"/>
                  <a:gd name="connsiteX6" fmla="*/ 65378 w 251792"/>
                  <a:gd name="connsiteY6" fmla="*/ 126725 h 253935"/>
                  <a:gd name="connsiteX7" fmla="*/ 126153 w 251792"/>
                  <a:gd name="connsiteY7" fmla="*/ 65378 h 253935"/>
                  <a:gd name="connsiteX8" fmla="*/ 186443 w 251792"/>
                  <a:gd name="connsiteY8" fmla="*/ 126725 h 253935"/>
                  <a:gd name="connsiteX9" fmla="*/ 126153 w 251792"/>
                  <a:gd name="connsiteY9" fmla="*/ 188558 h 253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1792" h="253935">
                    <a:moveTo>
                      <a:pt x="125896" y="0"/>
                    </a:moveTo>
                    <a:cubicBezTo>
                      <a:pt x="54944" y="0"/>
                      <a:pt x="0" y="55287"/>
                      <a:pt x="0" y="126725"/>
                    </a:cubicBezTo>
                    <a:cubicBezTo>
                      <a:pt x="0" y="198163"/>
                      <a:pt x="54915" y="253936"/>
                      <a:pt x="125896" y="253936"/>
                    </a:cubicBezTo>
                    <a:cubicBezTo>
                      <a:pt x="196877" y="253936"/>
                      <a:pt x="251792" y="198163"/>
                      <a:pt x="251792" y="126725"/>
                    </a:cubicBezTo>
                    <a:cubicBezTo>
                      <a:pt x="251792" y="55287"/>
                      <a:pt x="196877" y="0"/>
                      <a:pt x="125896" y="0"/>
                    </a:cubicBezTo>
                    <a:close/>
                    <a:moveTo>
                      <a:pt x="126153" y="188558"/>
                    </a:moveTo>
                    <a:cubicBezTo>
                      <a:pt x="91506" y="188558"/>
                      <a:pt x="65378" y="160314"/>
                      <a:pt x="65378" y="126725"/>
                    </a:cubicBezTo>
                    <a:cubicBezTo>
                      <a:pt x="65378" y="93136"/>
                      <a:pt x="91506" y="65378"/>
                      <a:pt x="126153" y="65378"/>
                    </a:cubicBezTo>
                    <a:cubicBezTo>
                      <a:pt x="160801" y="65378"/>
                      <a:pt x="186443" y="93136"/>
                      <a:pt x="186443" y="126725"/>
                    </a:cubicBezTo>
                    <a:cubicBezTo>
                      <a:pt x="186443" y="160314"/>
                      <a:pt x="161315" y="188558"/>
                      <a:pt x="126153" y="188558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15" name="Freeform: Shape 17">
                <a:extLst>
                  <a:ext uri="{FF2B5EF4-FFF2-40B4-BE49-F238E27FC236}">
                    <a16:creationId xmlns:a16="http://schemas.microsoft.com/office/drawing/2014/main" id="{C7FDB80C-5CC9-9475-27DB-ADA7741BDEFC}"/>
                  </a:ext>
                </a:extLst>
              </p:cNvPr>
              <p:cNvSpPr/>
              <p:nvPr/>
            </p:nvSpPr>
            <p:spPr>
              <a:xfrm>
                <a:off x="9242171" y="3110092"/>
                <a:ext cx="68865" cy="243987"/>
              </a:xfrm>
              <a:custGeom>
                <a:avLst/>
                <a:gdLst>
                  <a:gd name="connsiteX0" fmla="*/ 62405 w 68865"/>
                  <a:gd name="connsiteY0" fmla="*/ 243987 h 243987"/>
                  <a:gd name="connsiteX1" fmla="*/ 6489 w 68865"/>
                  <a:gd name="connsiteY1" fmla="*/ 243987 h 243987"/>
                  <a:gd name="connsiteX2" fmla="*/ 0 w 68865"/>
                  <a:gd name="connsiteY2" fmla="*/ 237498 h 243987"/>
                  <a:gd name="connsiteX3" fmla="*/ 0 w 68865"/>
                  <a:gd name="connsiteY3" fmla="*/ 63891 h 243987"/>
                  <a:gd name="connsiteX4" fmla="*/ 3888 w 68865"/>
                  <a:gd name="connsiteY4" fmla="*/ 54629 h 243987"/>
                  <a:gd name="connsiteX5" fmla="*/ 57860 w 68865"/>
                  <a:gd name="connsiteY5" fmla="*/ 1858 h 243987"/>
                  <a:gd name="connsiteX6" fmla="*/ 68866 w 68865"/>
                  <a:gd name="connsiteY6" fmla="*/ 6489 h 243987"/>
                  <a:gd name="connsiteX7" fmla="*/ 68866 w 68865"/>
                  <a:gd name="connsiteY7" fmla="*/ 237498 h 243987"/>
                  <a:gd name="connsiteX8" fmla="*/ 62376 w 68865"/>
                  <a:gd name="connsiteY8" fmla="*/ 243987 h 243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8865" h="243987">
                    <a:moveTo>
                      <a:pt x="62405" y="243987"/>
                    </a:moveTo>
                    <a:lnTo>
                      <a:pt x="6489" y="243987"/>
                    </a:lnTo>
                    <a:cubicBezTo>
                      <a:pt x="2916" y="243987"/>
                      <a:pt x="0" y="241071"/>
                      <a:pt x="0" y="237498"/>
                    </a:cubicBezTo>
                    <a:lnTo>
                      <a:pt x="0" y="63891"/>
                    </a:lnTo>
                    <a:cubicBezTo>
                      <a:pt x="0" y="60403"/>
                      <a:pt x="1401" y="57059"/>
                      <a:pt x="3888" y="54629"/>
                    </a:cubicBezTo>
                    <a:lnTo>
                      <a:pt x="57860" y="1858"/>
                    </a:lnTo>
                    <a:cubicBezTo>
                      <a:pt x="61976" y="-2144"/>
                      <a:pt x="68866" y="743"/>
                      <a:pt x="68866" y="6489"/>
                    </a:cubicBezTo>
                    <a:lnTo>
                      <a:pt x="68866" y="237498"/>
                    </a:lnTo>
                    <a:cubicBezTo>
                      <a:pt x="68866" y="241071"/>
                      <a:pt x="65950" y="243987"/>
                      <a:pt x="62376" y="243987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16" name="Freeform: Shape 18">
                <a:extLst>
                  <a:ext uri="{FF2B5EF4-FFF2-40B4-BE49-F238E27FC236}">
                    <a16:creationId xmlns:a16="http://schemas.microsoft.com/office/drawing/2014/main" id="{F415F7F5-FBF3-228A-4063-88C05061E75C}"/>
                  </a:ext>
                </a:extLst>
              </p:cNvPr>
              <p:cNvSpPr/>
              <p:nvPr/>
            </p:nvSpPr>
            <p:spPr>
              <a:xfrm>
                <a:off x="9347255" y="3105025"/>
                <a:ext cx="224777" cy="249082"/>
              </a:xfrm>
              <a:custGeom>
                <a:avLst/>
                <a:gdLst>
                  <a:gd name="connsiteX0" fmla="*/ 224749 w 224777"/>
                  <a:gd name="connsiteY0" fmla="*/ 87568 h 249082"/>
                  <a:gd name="connsiteX1" fmla="*/ 136416 w 224777"/>
                  <a:gd name="connsiteY1" fmla="*/ 6 h 249082"/>
                  <a:gd name="connsiteX2" fmla="*/ 68894 w 224777"/>
                  <a:gd name="connsiteY2" fmla="*/ 36540 h 249082"/>
                  <a:gd name="connsiteX3" fmla="*/ 68894 w 224777"/>
                  <a:gd name="connsiteY3" fmla="*/ 11670 h 249082"/>
                  <a:gd name="connsiteX4" fmla="*/ 62405 w 224777"/>
                  <a:gd name="connsiteY4" fmla="*/ 5181 h 249082"/>
                  <a:gd name="connsiteX5" fmla="*/ 6489 w 224777"/>
                  <a:gd name="connsiteY5" fmla="*/ 5181 h 249082"/>
                  <a:gd name="connsiteX6" fmla="*/ 0 w 224777"/>
                  <a:gd name="connsiteY6" fmla="*/ 11670 h 249082"/>
                  <a:gd name="connsiteX7" fmla="*/ 0 w 224777"/>
                  <a:gd name="connsiteY7" fmla="*/ 242565 h 249082"/>
                  <a:gd name="connsiteX8" fmla="*/ 6489 w 224777"/>
                  <a:gd name="connsiteY8" fmla="*/ 249054 h 249082"/>
                  <a:gd name="connsiteX9" fmla="*/ 62405 w 224777"/>
                  <a:gd name="connsiteY9" fmla="*/ 249054 h 249082"/>
                  <a:gd name="connsiteX10" fmla="*/ 68894 w 224777"/>
                  <a:gd name="connsiteY10" fmla="*/ 242565 h 249082"/>
                  <a:gd name="connsiteX11" fmla="*/ 68894 w 224777"/>
                  <a:gd name="connsiteY11" fmla="*/ 108293 h 249082"/>
                  <a:gd name="connsiteX12" fmla="*/ 112375 w 224777"/>
                  <a:gd name="connsiteY12" fmla="*/ 66385 h 249082"/>
                  <a:gd name="connsiteX13" fmla="*/ 155884 w 224777"/>
                  <a:gd name="connsiteY13" fmla="*/ 111266 h 249082"/>
                  <a:gd name="connsiteX14" fmla="*/ 155884 w 224777"/>
                  <a:gd name="connsiteY14" fmla="*/ 242593 h 249082"/>
                  <a:gd name="connsiteX15" fmla="*/ 162373 w 224777"/>
                  <a:gd name="connsiteY15" fmla="*/ 249083 h 249082"/>
                  <a:gd name="connsiteX16" fmla="*/ 218289 w 224777"/>
                  <a:gd name="connsiteY16" fmla="*/ 249083 h 249082"/>
                  <a:gd name="connsiteX17" fmla="*/ 224778 w 224777"/>
                  <a:gd name="connsiteY17" fmla="*/ 242593 h 249082"/>
                  <a:gd name="connsiteX18" fmla="*/ 224778 w 224777"/>
                  <a:gd name="connsiteY18" fmla="*/ 87596 h 249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4777" h="249082">
                    <a:moveTo>
                      <a:pt x="224749" y="87568"/>
                    </a:moveTo>
                    <a:cubicBezTo>
                      <a:pt x="224749" y="40257"/>
                      <a:pt x="185671" y="578"/>
                      <a:pt x="136416" y="6"/>
                    </a:cubicBezTo>
                    <a:cubicBezTo>
                      <a:pt x="104370" y="-365"/>
                      <a:pt x="82730" y="15329"/>
                      <a:pt x="68894" y="36540"/>
                    </a:cubicBezTo>
                    <a:lnTo>
                      <a:pt x="68894" y="11670"/>
                    </a:lnTo>
                    <a:cubicBezTo>
                      <a:pt x="68894" y="8097"/>
                      <a:pt x="65978" y="5181"/>
                      <a:pt x="62405" y="5181"/>
                    </a:cubicBezTo>
                    <a:lnTo>
                      <a:pt x="6489" y="5181"/>
                    </a:lnTo>
                    <a:cubicBezTo>
                      <a:pt x="2916" y="5181"/>
                      <a:pt x="0" y="8097"/>
                      <a:pt x="0" y="11670"/>
                    </a:cubicBezTo>
                    <a:lnTo>
                      <a:pt x="0" y="242565"/>
                    </a:lnTo>
                    <a:cubicBezTo>
                      <a:pt x="0" y="246138"/>
                      <a:pt x="2916" y="249054"/>
                      <a:pt x="6489" y="249054"/>
                    </a:cubicBezTo>
                    <a:lnTo>
                      <a:pt x="62405" y="249054"/>
                    </a:lnTo>
                    <a:cubicBezTo>
                      <a:pt x="65978" y="249054"/>
                      <a:pt x="68894" y="246138"/>
                      <a:pt x="68894" y="242565"/>
                    </a:cubicBezTo>
                    <a:lnTo>
                      <a:pt x="68894" y="108293"/>
                    </a:lnTo>
                    <a:cubicBezTo>
                      <a:pt x="70438" y="82451"/>
                      <a:pt x="86818" y="66385"/>
                      <a:pt x="112375" y="66385"/>
                    </a:cubicBezTo>
                    <a:cubicBezTo>
                      <a:pt x="137931" y="66385"/>
                      <a:pt x="155884" y="84423"/>
                      <a:pt x="155884" y="111266"/>
                    </a:cubicBezTo>
                    <a:lnTo>
                      <a:pt x="155884" y="242593"/>
                    </a:lnTo>
                    <a:cubicBezTo>
                      <a:pt x="155884" y="246167"/>
                      <a:pt x="158800" y="249083"/>
                      <a:pt x="162373" y="249083"/>
                    </a:cubicBezTo>
                    <a:lnTo>
                      <a:pt x="218289" y="249083"/>
                    </a:lnTo>
                    <a:cubicBezTo>
                      <a:pt x="221862" y="249083"/>
                      <a:pt x="224778" y="246167"/>
                      <a:pt x="224778" y="242593"/>
                    </a:cubicBezTo>
                    <a:lnTo>
                      <a:pt x="224778" y="87596"/>
                    </a:ln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</p:grp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7A75492A-5386-97A4-C270-3DDCFF9EDA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0791" r="16873"/>
          <a:stretch/>
        </p:blipFill>
        <p:spPr>
          <a:xfrm>
            <a:off x="6192479" y="0"/>
            <a:ext cx="5999522" cy="4994979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C02E7138-D36E-B5E0-95E7-2D18474B3997}"/>
              </a:ext>
            </a:extLst>
          </p:cNvPr>
          <p:cNvSpPr/>
          <p:nvPr userDrawn="1"/>
        </p:nvSpPr>
        <p:spPr>
          <a:xfrm>
            <a:off x="42929" y="6364224"/>
            <a:ext cx="493776" cy="493776"/>
          </a:xfrm>
          <a:prstGeom prst="ellipse">
            <a:avLst/>
          </a:prstGeom>
          <a:solidFill>
            <a:srgbClr val="D9E1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rgbClr val="10182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1332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: Shape 1">
            <a:extLst>
              <a:ext uri="{FF2B5EF4-FFF2-40B4-BE49-F238E27FC236}">
                <a16:creationId xmlns:a16="http://schemas.microsoft.com/office/drawing/2014/main" id="{7DF29992-39A7-7995-F698-4CD59C47BF20}"/>
              </a:ext>
            </a:extLst>
          </p:cNvPr>
          <p:cNvSpPr/>
          <p:nvPr userDrawn="1"/>
        </p:nvSpPr>
        <p:spPr>
          <a:xfrm>
            <a:off x="5410200" y="0"/>
            <a:ext cx="6781800" cy="6858000"/>
          </a:xfrm>
          <a:custGeom>
            <a:avLst/>
            <a:gdLst>
              <a:gd name="connsiteX0" fmla="*/ 4085881 w 6781800"/>
              <a:gd name="connsiteY0" fmla="*/ 0 h 6858000"/>
              <a:gd name="connsiteX1" fmla="*/ 5248622 w 6781800"/>
              <a:gd name="connsiteY1" fmla="*/ 0 h 6858000"/>
              <a:gd name="connsiteX2" fmla="*/ 6781800 w 6781800"/>
              <a:gd name="connsiteY2" fmla="*/ 1533177 h 6858000"/>
              <a:gd name="connsiteX3" fmla="*/ 6781800 w 6781800"/>
              <a:gd name="connsiteY3" fmla="*/ 6858000 h 6858000"/>
              <a:gd name="connsiteX4" fmla="*/ 2269777 w 6781800"/>
              <a:gd name="connsiteY4" fmla="*/ 6858000 h 6858000"/>
              <a:gd name="connsiteX5" fmla="*/ 177571 w 6781800"/>
              <a:gd name="connsiteY5" fmla="*/ 4765795 h 6858000"/>
              <a:gd name="connsiteX6" fmla="*/ 177571 w 6781800"/>
              <a:gd name="connsiteY6" fmla="*/ 390830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81800" h="6858000">
                <a:moveTo>
                  <a:pt x="4085881" y="0"/>
                </a:moveTo>
                <a:lnTo>
                  <a:pt x="5248622" y="0"/>
                </a:lnTo>
                <a:lnTo>
                  <a:pt x="6781800" y="1533177"/>
                </a:lnTo>
                <a:lnTo>
                  <a:pt x="6781800" y="6858000"/>
                </a:lnTo>
                <a:lnTo>
                  <a:pt x="2269777" y="6858000"/>
                </a:lnTo>
                <a:lnTo>
                  <a:pt x="177571" y="4765795"/>
                </a:lnTo>
                <a:cubicBezTo>
                  <a:pt x="-59191" y="4529034"/>
                  <a:pt x="-59191" y="4145068"/>
                  <a:pt x="177571" y="3908308"/>
                </a:cubicBezTo>
                <a:close/>
              </a:path>
            </a:pathLst>
          </a:custGeom>
          <a:gradFill>
            <a:gsLst>
              <a:gs pos="12000">
                <a:srgbClr val="D9E1E2">
                  <a:alpha val="30000"/>
                </a:srgbClr>
              </a:gs>
              <a:gs pos="74000">
                <a:srgbClr val="D9E1E2">
                  <a:alpha val="0"/>
                </a:srgbClr>
              </a:gs>
            </a:gsLst>
            <a:lin ang="0" scaled="0"/>
          </a:gradFill>
          <a:ln w="685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35" name="Rectangle: Top Corners Rounded 34">
            <a:extLst>
              <a:ext uri="{FF2B5EF4-FFF2-40B4-BE49-F238E27FC236}">
                <a16:creationId xmlns:a16="http://schemas.microsoft.com/office/drawing/2014/main" id="{C48C1EB8-3B85-5A27-4113-E6E84B6360FE}"/>
              </a:ext>
            </a:extLst>
          </p:cNvPr>
          <p:cNvSpPr/>
          <p:nvPr userDrawn="1"/>
        </p:nvSpPr>
        <p:spPr>
          <a:xfrm rot="16200000">
            <a:off x="6705600" y="450850"/>
            <a:ext cx="5016499" cy="5956300"/>
          </a:xfrm>
          <a:prstGeom prst="round2SameRect">
            <a:avLst>
              <a:gd name="adj1" fmla="val 2743"/>
              <a:gd name="adj2" fmla="val 0"/>
            </a:avLst>
          </a:prstGeom>
          <a:solidFill>
            <a:schemeClr val="bg1"/>
          </a:solidFill>
          <a:ln>
            <a:noFill/>
          </a:ln>
          <a:effectLst>
            <a:outerShdw blurRad="330200" dist="152400" dir="8100000" algn="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b="0" i="0" err="1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D503847C-9003-E040-935D-DE31526E6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6766" y="991583"/>
            <a:ext cx="4573884" cy="1066985"/>
          </a:xfrm>
          <a:prstGeom prst="rect">
            <a:avLst/>
          </a:prstGeom>
        </p:spPr>
        <p:txBody>
          <a:bodyPr/>
          <a:lstStyle>
            <a:lvl1pPr>
              <a:defRPr sz="3400" b="1" i="0" cap="all" baseline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r>
              <a:rPr lang="en-US"/>
              <a:t>title styl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127512C2-B557-56E8-E630-799A43D4E4D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6766" y="2138128"/>
            <a:ext cx="4427833" cy="5834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200" b="0" i="0" cap="all" baseline="0">
                <a:solidFill>
                  <a:schemeClr val="bg1"/>
                </a:solidFill>
                <a:latin typeface="Lato" panose="020F0502020204030203" pitchFamily="34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2D0CD0BE-B4D4-419E-70D3-54CCB7FAF67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6766" y="3374371"/>
            <a:ext cx="4427832" cy="299504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indent="0">
              <a:buNone/>
              <a:defRPr lang="en-US" sz="1800" b="0" i="0" dirty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US"/>
              <a:t>Click to edit Master text styles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5BF3C9B-26AB-0E88-C7AF-11013072F9C5}"/>
              </a:ext>
            </a:extLst>
          </p:cNvPr>
          <p:cNvGrpSpPr/>
          <p:nvPr userDrawn="1"/>
        </p:nvGrpSpPr>
        <p:grpSpPr>
          <a:xfrm>
            <a:off x="11122821" y="6472473"/>
            <a:ext cx="799629" cy="166100"/>
            <a:chOff x="11122821" y="6472473"/>
            <a:chExt cx="799629" cy="166100"/>
          </a:xfrm>
          <a:solidFill>
            <a:schemeClr val="bg1"/>
          </a:solidFill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2C744282-86E8-EE8B-ADCF-A5EA4AE2A122}"/>
                </a:ext>
              </a:extLst>
            </p:cNvPr>
            <p:cNvSpPr/>
            <p:nvPr/>
          </p:nvSpPr>
          <p:spPr>
            <a:xfrm rot="18900000">
              <a:off x="11134957" y="6473485"/>
              <a:ext cx="35147" cy="35147"/>
            </a:xfrm>
            <a:custGeom>
              <a:avLst/>
              <a:gdLst>
                <a:gd name="connsiteX0" fmla="*/ 32044 w 35147"/>
                <a:gd name="connsiteY0" fmla="*/ 0 h 35147"/>
                <a:gd name="connsiteX1" fmla="*/ 35148 w 35147"/>
                <a:gd name="connsiteY1" fmla="*/ 3103 h 35147"/>
                <a:gd name="connsiteX2" fmla="*/ 35148 w 35147"/>
                <a:gd name="connsiteY2" fmla="*/ 32044 h 35147"/>
                <a:gd name="connsiteX3" fmla="*/ 32044 w 35147"/>
                <a:gd name="connsiteY3" fmla="*/ 35148 h 35147"/>
                <a:gd name="connsiteX4" fmla="*/ 3103 w 35147"/>
                <a:gd name="connsiteY4" fmla="*/ 35148 h 35147"/>
                <a:gd name="connsiteX5" fmla="*/ 0 w 35147"/>
                <a:gd name="connsiteY5" fmla="*/ 32044 h 35147"/>
                <a:gd name="connsiteX6" fmla="*/ 0 w 35147"/>
                <a:gd name="connsiteY6" fmla="*/ 3103 h 35147"/>
                <a:gd name="connsiteX7" fmla="*/ 3103 w 35147"/>
                <a:gd name="connsiteY7" fmla="*/ 0 h 35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147" h="35147">
                  <a:moveTo>
                    <a:pt x="32044" y="0"/>
                  </a:moveTo>
                  <a:cubicBezTo>
                    <a:pt x="33758" y="0"/>
                    <a:pt x="35148" y="1389"/>
                    <a:pt x="35148" y="3103"/>
                  </a:cubicBezTo>
                  <a:lnTo>
                    <a:pt x="35148" y="32044"/>
                  </a:lnTo>
                  <a:cubicBezTo>
                    <a:pt x="35148" y="33758"/>
                    <a:pt x="33758" y="35148"/>
                    <a:pt x="32044" y="35148"/>
                  </a:cubicBezTo>
                  <a:lnTo>
                    <a:pt x="3103" y="35148"/>
                  </a:lnTo>
                  <a:cubicBezTo>
                    <a:pt x="1389" y="35148"/>
                    <a:pt x="0" y="33758"/>
                    <a:pt x="0" y="32044"/>
                  </a:cubicBezTo>
                  <a:lnTo>
                    <a:pt x="0" y="3103"/>
                  </a:lnTo>
                  <a:cubicBezTo>
                    <a:pt x="0" y="1389"/>
                    <a:pt x="1389" y="0"/>
                    <a:pt x="3103" y="0"/>
                  </a:cubicBezTo>
                  <a:close/>
                </a:path>
              </a:pathLst>
            </a:custGeom>
            <a:grpFill/>
            <a:ln w="135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F0FAC7EC-644D-121A-9823-864B9721BC3B}"/>
                </a:ext>
              </a:extLst>
            </p:cNvPr>
            <p:cNvGrpSpPr/>
            <p:nvPr/>
          </p:nvGrpSpPr>
          <p:grpSpPr>
            <a:xfrm>
              <a:off x="11122821" y="6472473"/>
              <a:ext cx="799629" cy="166100"/>
              <a:chOff x="11122821" y="6472473"/>
              <a:chExt cx="799629" cy="166100"/>
            </a:xfrm>
            <a:grpFill/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5BC49F5E-3375-C1BC-251A-987AF9AB13D5}"/>
                  </a:ext>
                </a:extLst>
              </p:cNvPr>
              <p:cNvSpPr/>
              <p:nvPr/>
            </p:nvSpPr>
            <p:spPr>
              <a:xfrm>
                <a:off x="11774281" y="6519597"/>
                <a:ext cx="119385" cy="116611"/>
              </a:xfrm>
              <a:custGeom>
                <a:avLst/>
                <a:gdLst>
                  <a:gd name="connsiteX0" fmla="*/ 82523 w 119385"/>
                  <a:gd name="connsiteY0" fmla="*/ 58306 h 116611"/>
                  <a:gd name="connsiteX1" fmla="*/ 118887 w 119385"/>
                  <a:gd name="connsiteY1" fmla="*/ 112265 h 116611"/>
                  <a:gd name="connsiteX2" fmla="*/ 116385 w 119385"/>
                  <a:gd name="connsiteY2" fmla="*/ 116612 h 116611"/>
                  <a:gd name="connsiteX3" fmla="*/ 85831 w 119385"/>
                  <a:gd name="connsiteY3" fmla="*/ 116612 h 116611"/>
                  <a:gd name="connsiteX4" fmla="*/ 80718 w 119385"/>
                  <a:gd name="connsiteY4" fmla="*/ 113919 h 116611"/>
                  <a:gd name="connsiteX5" fmla="*/ 59693 w 119385"/>
                  <a:gd name="connsiteY5" fmla="*/ 81751 h 116611"/>
                  <a:gd name="connsiteX6" fmla="*/ 38667 w 119385"/>
                  <a:gd name="connsiteY6" fmla="*/ 113919 h 116611"/>
                  <a:gd name="connsiteX7" fmla="*/ 33554 w 119385"/>
                  <a:gd name="connsiteY7" fmla="*/ 116612 h 116611"/>
                  <a:gd name="connsiteX8" fmla="*/ 3000 w 119385"/>
                  <a:gd name="connsiteY8" fmla="*/ 116612 h 116611"/>
                  <a:gd name="connsiteX9" fmla="*/ 498 w 119385"/>
                  <a:gd name="connsiteY9" fmla="*/ 112265 h 116611"/>
                  <a:gd name="connsiteX10" fmla="*/ 36753 w 119385"/>
                  <a:gd name="connsiteY10" fmla="*/ 58306 h 116611"/>
                  <a:gd name="connsiteX11" fmla="*/ 498 w 119385"/>
                  <a:gd name="connsiteY11" fmla="*/ 4347 h 116611"/>
                  <a:gd name="connsiteX12" fmla="*/ 3000 w 119385"/>
                  <a:gd name="connsiteY12" fmla="*/ 0 h 116611"/>
                  <a:gd name="connsiteX13" fmla="*/ 34853 w 119385"/>
                  <a:gd name="connsiteY13" fmla="*/ 0 h 116611"/>
                  <a:gd name="connsiteX14" fmla="*/ 37778 w 119385"/>
                  <a:gd name="connsiteY14" fmla="*/ 1449 h 116611"/>
                  <a:gd name="connsiteX15" fmla="*/ 59679 w 119385"/>
                  <a:gd name="connsiteY15" fmla="*/ 34806 h 116611"/>
                  <a:gd name="connsiteX16" fmla="*/ 80240 w 119385"/>
                  <a:gd name="connsiteY16" fmla="*/ 1463 h 116611"/>
                  <a:gd name="connsiteX17" fmla="*/ 83165 w 119385"/>
                  <a:gd name="connsiteY17" fmla="*/ 0 h 116611"/>
                  <a:gd name="connsiteX18" fmla="*/ 115333 w 119385"/>
                  <a:gd name="connsiteY18" fmla="*/ 0 h 116611"/>
                  <a:gd name="connsiteX19" fmla="*/ 117834 w 119385"/>
                  <a:gd name="connsiteY19" fmla="*/ 4334 h 116611"/>
                  <a:gd name="connsiteX20" fmla="*/ 82495 w 119385"/>
                  <a:gd name="connsiteY20" fmla="*/ 58306 h 116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19385" h="116611">
                    <a:moveTo>
                      <a:pt x="82523" y="58306"/>
                    </a:moveTo>
                    <a:lnTo>
                      <a:pt x="118887" y="112265"/>
                    </a:lnTo>
                    <a:cubicBezTo>
                      <a:pt x="120199" y="114124"/>
                      <a:pt x="118764" y="116612"/>
                      <a:pt x="116385" y="116612"/>
                    </a:cubicBezTo>
                    <a:lnTo>
                      <a:pt x="85831" y="116612"/>
                    </a:lnTo>
                    <a:cubicBezTo>
                      <a:pt x="83794" y="116612"/>
                      <a:pt x="81880" y="115600"/>
                      <a:pt x="80718" y="113919"/>
                    </a:cubicBezTo>
                    <a:lnTo>
                      <a:pt x="59693" y="81751"/>
                    </a:lnTo>
                    <a:lnTo>
                      <a:pt x="38667" y="113919"/>
                    </a:lnTo>
                    <a:cubicBezTo>
                      <a:pt x="37505" y="115600"/>
                      <a:pt x="35605" y="116612"/>
                      <a:pt x="33554" y="116612"/>
                    </a:cubicBezTo>
                    <a:lnTo>
                      <a:pt x="3000" y="116612"/>
                    </a:lnTo>
                    <a:cubicBezTo>
                      <a:pt x="621" y="116612"/>
                      <a:pt x="-814" y="114138"/>
                      <a:pt x="498" y="112265"/>
                    </a:cubicBezTo>
                    <a:lnTo>
                      <a:pt x="36753" y="58306"/>
                    </a:lnTo>
                    <a:lnTo>
                      <a:pt x="498" y="4347"/>
                    </a:lnTo>
                    <a:cubicBezTo>
                      <a:pt x="-814" y="2488"/>
                      <a:pt x="621" y="0"/>
                      <a:pt x="3000" y="0"/>
                    </a:cubicBezTo>
                    <a:lnTo>
                      <a:pt x="34853" y="0"/>
                    </a:lnTo>
                    <a:cubicBezTo>
                      <a:pt x="36042" y="0"/>
                      <a:pt x="37149" y="547"/>
                      <a:pt x="37778" y="1449"/>
                    </a:cubicBezTo>
                    <a:lnTo>
                      <a:pt x="59679" y="34806"/>
                    </a:lnTo>
                    <a:lnTo>
                      <a:pt x="80240" y="1463"/>
                    </a:lnTo>
                    <a:cubicBezTo>
                      <a:pt x="80855" y="561"/>
                      <a:pt x="81976" y="0"/>
                      <a:pt x="83165" y="0"/>
                    </a:cubicBezTo>
                    <a:lnTo>
                      <a:pt x="115333" y="0"/>
                    </a:lnTo>
                    <a:cubicBezTo>
                      <a:pt x="117711" y="0"/>
                      <a:pt x="119133" y="2474"/>
                      <a:pt x="117834" y="4334"/>
                    </a:cubicBezTo>
                    <a:lnTo>
                      <a:pt x="82495" y="58306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19D16E44-2E92-FE7D-75A7-74CAED03B9AB}"/>
                  </a:ext>
                </a:extLst>
              </p:cNvPr>
              <p:cNvSpPr/>
              <p:nvPr/>
            </p:nvSpPr>
            <p:spPr>
              <a:xfrm>
                <a:off x="11284928" y="6472473"/>
                <a:ext cx="78825" cy="163762"/>
              </a:xfrm>
              <a:custGeom>
                <a:avLst/>
                <a:gdLst>
                  <a:gd name="connsiteX0" fmla="*/ 75722 w 78825"/>
                  <a:gd name="connsiteY0" fmla="*/ 14 h 163762"/>
                  <a:gd name="connsiteX1" fmla="*/ 50377 w 78825"/>
                  <a:gd name="connsiteY1" fmla="*/ 14 h 163762"/>
                  <a:gd name="connsiteX2" fmla="*/ 43801 w 78825"/>
                  <a:gd name="connsiteY2" fmla="*/ 2734 h 163762"/>
                  <a:gd name="connsiteX3" fmla="*/ 19987 w 78825"/>
                  <a:gd name="connsiteY3" fmla="*/ 26549 h 163762"/>
                  <a:gd name="connsiteX4" fmla="*/ 17266 w 78825"/>
                  <a:gd name="connsiteY4" fmla="*/ 33124 h 163762"/>
                  <a:gd name="connsiteX5" fmla="*/ 17266 w 78825"/>
                  <a:gd name="connsiteY5" fmla="*/ 51867 h 163762"/>
                  <a:gd name="connsiteX6" fmla="*/ 3049 w 78825"/>
                  <a:gd name="connsiteY6" fmla="*/ 51867 h 163762"/>
                  <a:gd name="connsiteX7" fmla="*/ 0 w 78825"/>
                  <a:gd name="connsiteY7" fmla="*/ 54916 h 163762"/>
                  <a:gd name="connsiteX8" fmla="*/ 0 w 78825"/>
                  <a:gd name="connsiteY8" fmla="*/ 75955 h 163762"/>
                  <a:gd name="connsiteX9" fmla="*/ 3049 w 78825"/>
                  <a:gd name="connsiteY9" fmla="*/ 79004 h 163762"/>
                  <a:gd name="connsiteX10" fmla="*/ 17266 w 78825"/>
                  <a:gd name="connsiteY10" fmla="*/ 79004 h 163762"/>
                  <a:gd name="connsiteX11" fmla="*/ 17266 w 78825"/>
                  <a:gd name="connsiteY11" fmla="*/ 160659 h 163762"/>
                  <a:gd name="connsiteX12" fmla="*/ 20369 w 78825"/>
                  <a:gd name="connsiteY12" fmla="*/ 163763 h 163762"/>
                  <a:gd name="connsiteX13" fmla="*/ 47109 w 78825"/>
                  <a:gd name="connsiteY13" fmla="*/ 163763 h 163762"/>
                  <a:gd name="connsiteX14" fmla="*/ 50213 w 78825"/>
                  <a:gd name="connsiteY14" fmla="*/ 160659 h 163762"/>
                  <a:gd name="connsiteX15" fmla="*/ 50213 w 78825"/>
                  <a:gd name="connsiteY15" fmla="*/ 78990 h 163762"/>
                  <a:gd name="connsiteX16" fmla="*/ 71443 w 78825"/>
                  <a:gd name="connsiteY16" fmla="*/ 78990 h 163762"/>
                  <a:gd name="connsiteX17" fmla="*/ 74492 w 78825"/>
                  <a:gd name="connsiteY17" fmla="*/ 75941 h 163762"/>
                  <a:gd name="connsiteX18" fmla="*/ 74492 w 78825"/>
                  <a:gd name="connsiteY18" fmla="*/ 54902 h 163762"/>
                  <a:gd name="connsiteX19" fmla="*/ 71443 w 78825"/>
                  <a:gd name="connsiteY19" fmla="*/ 51853 h 163762"/>
                  <a:gd name="connsiteX20" fmla="*/ 50213 w 78825"/>
                  <a:gd name="connsiteY20" fmla="*/ 51853 h 163762"/>
                  <a:gd name="connsiteX21" fmla="*/ 50213 w 78825"/>
                  <a:gd name="connsiteY21" fmla="*/ 38565 h 163762"/>
                  <a:gd name="connsiteX22" fmla="*/ 59509 w 78825"/>
                  <a:gd name="connsiteY22" fmla="*/ 29269 h 163762"/>
                  <a:gd name="connsiteX23" fmla="*/ 75722 w 78825"/>
                  <a:gd name="connsiteY23" fmla="*/ 29269 h 163762"/>
                  <a:gd name="connsiteX24" fmla="*/ 78826 w 78825"/>
                  <a:gd name="connsiteY24" fmla="*/ 26166 h 163762"/>
                  <a:gd name="connsiteX25" fmla="*/ 78826 w 78825"/>
                  <a:gd name="connsiteY25" fmla="*/ 3103 h 163762"/>
                  <a:gd name="connsiteX26" fmla="*/ 75722 w 78825"/>
                  <a:gd name="connsiteY26" fmla="*/ 0 h 163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78825" h="163762">
                    <a:moveTo>
                      <a:pt x="75722" y="14"/>
                    </a:moveTo>
                    <a:lnTo>
                      <a:pt x="50377" y="14"/>
                    </a:lnTo>
                    <a:cubicBezTo>
                      <a:pt x="47916" y="14"/>
                      <a:pt x="45551" y="998"/>
                      <a:pt x="43801" y="2734"/>
                    </a:cubicBezTo>
                    <a:lnTo>
                      <a:pt x="19987" y="26549"/>
                    </a:lnTo>
                    <a:cubicBezTo>
                      <a:pt x="18237" y="28299"/>
                      <a:pt x="17266" y="30664"/>
                      <a:pt x="17266" y="33124"/>
                    </a:cubicBezTo>
                    <a:lnTo>
                      <a:pt x="17266" y="51867"/>
                    </a:lnTo>
                    <a:lnTo>
                      <a:pt x="3049" y="51867"/>
                    </a:lnTo>
                    <a:cubicBezTo>
                      <a:pt x="1367" y="51867"/>
                      <a:pt x="0" y="53234"/>
                      <a:pt x="0" y="54916"/>
                    </a:cubicBezTo>
                    <a:lnTo>
                      <a:pt x="0" y="75955"/>
                    </a:lnTo>
                    <a:cubicBezTo>
                      <a:pt x="0" y="77636"/>
                      <a:pt x="1367" y="79004"/>
                      <a:pt x="3049" y="79004"/>
                    </a:cubicBezTo>
                    <a:lnTo>
                      <a:pt x="17266" y="79004"/>
                    </a:lnTo>
                    <a:lnTo>
                      <a:pt x="17266" y="160659"/>
                    </a:lnTo>
                    <a:cubicBezTo>
                      <a:pt x="17266" y="162368"/>
                      <a:pt x="18661" y="163763"/>
                      <a:pt x="20369" y="163763"/>
                    </a:cubicBezTo>
                    <a:lnTo>
                      <a:pt x="47109" y="163763"/>
                    </a:lnTo>
                    <a:cubicBezTo>
                      <a:pt x="48818" y="163763"/>
                      <a:pt x="50213" y="162368"/>
                      <a:pt x="50213" y="160659"/>
                    </a:cubicBezTo>
                    <a:lnTo>
                      <a:pt x="50213" y="78990"/>
                    </a:lnTo>
                    <a:lnTo>
                      <a:pt x="71443" y="78990"/>
                    </a:lnTo>
                    <a:cubicBezTo>
                      <a:pt x="73125" y="78990"/>
                      <a:pt x="74492" y="77623"/>
                      <a:pt x="74492" y="75941"/>
                    </a:cubicBezTo>
                    <a:lnTo>
                      <a:pt x="74492" y="54902"/>
                    </a:lnTo>
                    <a:cubicBezTo>
                      <a:pt x="74492" y="53220"/>
                      <a:pt x="73125" y="51853"/>
                      <a:pt x="71443" y="51853"/>
                    </a:cubicBezTo>
                    <a:lnTo>
                      <a:pt x="50213" y="51853"/>
                    </a:lnTo>
                    <a:lnTo>
                      <a:pt x="50213" y="38565"/>
                    </a:lnTo>
                    <a:cubicBezTo>
                      <a:pt x="50213" y="33425"/>
                      <a:pt x="54382" y="29269"/>
                      <a:pt x="59509" y="29269"/>
                    </a:cubicBezTo>
                    <a:lnTo>
                      <a:pt x="75722" y="29269"/>
                    </a:lnTo>
                    <a:cubicBezTo>
                      <a:pt x="77431" y="29269"/>
                      <a:pt x="78826" y="27875"/>
                      <a:pt x="78826" y="26166"/>
                    </a:cubicBezTo>
                    <a:lnTo>
                      <a:pt x="78826" y="3103"/>
                    </a:lnTo>
                    <a:cubicBezTo>
                      <a:pt x="78826" y="1394"/>
                      <a:pt x="77431" y="0"/>
                      <a:pt x="75722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BE98936D-23D1-61A9-6B8A-C9EDCAAC110D}"/>
                  </a:ext>
                </a:extLst>
              </p:cNvPr>
              <p:cNvSpPr/>
              <p:nvPr/>
            </p:nvSpPr>
            <p:spPr>
              <a:xfrm>
                <a:off x="11896791" y="6612367"/>
                <a:ext cx="25659" cy="25660"/>
              </a:xfrm>
              <a:custGeom>
                <a:avLst/>
                <a:gdLst>
                  <a:gd name="connsiteX0" fmla="*/ 25660 w 25659"/>
                  <a:gd name="connsiteY0" fmla="*/ 12810 h 25660"/>
                  <a:gd name="connsiteX1" fmla="*/ 12782 w 25659"/>
                  <a:gd name="connsiteY1" fmla="*/ 25660 h 25660"/>
                  <a:gd name="connsiteX2" fmla="*/ 0 w 25659"/>
                  <a:gd name="connsiteY2" fmla="*/ 12810 h 25660"/>
                  <a:gd name="connsiteX3" fmla="*/ 12823 w 25659"/>
                  <a:gd name="connsiteY3" fmla="*/ 0 h 25660"/>
                  <a:gd name="connsiteX4" fmla="*/ 25646 w 25659"/>
                  <a:gd name="connsiteY4" fmla="*/ 12810 h 25660"/>
                  <a:gd name="connsiteX5" fmla="*/ 23691 w 25659"/>
                  <a:gd name="connsiteY5" fmla="*/ 12864 h 25660"/>
                  <a:gd name="connsiteX6" fmla="*/ 12837 w 25659"/>
                  <a:gd name="connsiteY6" fmla="*/ 1832 h 25660"/>
                  <a:gd name="connsiteX7" fmla="*/ 1982 w 25659"/>
                  <a:gd name="connsiteY7" fmla="*/ 12851 h 25660"/>
                  <a:gd name="connsiteX8" fmla="*/ 12782 w 25659"/>
                  <a:gd name="connsiteY8" fmla="*/ 23856 h 25660"/>
                  <a:gd name="connsiteX9" fmla="*/ 23691 w 25659"/>
                  <a:gd name="connsiteY9" fmla="*/ 12864 h 25660"/>
                  <a:gd name="connsiteX10" fmla="*/ 15585 w 25659"/>
                  <a:gd name="connsiteY10" fmla="*/ 14888 h 25660"/>
                  <a:gd name="connsiteX11" fmla="*/ 18811 w 25659"/>
                  <a:gd name="connsiteY11" fmla="*/ 19905 h 25660"/>
                  <a:gd name="connsiteX12" fmla="*/ 16678 w 25659"/>
                  <a:gd name="connsiteY12" fmla="*/ 19905 h 25660"/>
                  <a:gd name="connsiteX13" fmla="*/ 13097 w 25659"/>
                  <a:gd name="connsiteY13" fmla="*/ 14218 h 25660"/>
                  <a:gd name="connsiteX14" fmla="*/ 9829 w 25659"/>
                  <a:gd name="connsiteY14" fmla="*/ 14218 h 25660"/>
                  <a:gd name="connsiteX15" fmla="*/ 9829 w 25659"/>
                  <a:gd name="connsiteY15" fmla="*/ 19905 h 25660"/>
                  <a:gd name="connsiteX16" fmla="*/ 8038 w 25659"/>
                  <a:gd name="connsiteY16" fmla="*/ 19905 h 25660"/>
                  <a:gd name="connsiteX17" fmla="*/ 8038 w 25659"/>
                  <a:gd name="connsiteY17" fmla="*/ 5523 h 25660"/>
                  <a:gd name="connsiteX18" fmla="*/ 13616 w 25659"/>
                  <a:gd name="connsiteY18" fmla="*/ 5523 h 25660"/>
                  <a:gd name="connsiteX19" fmla="*/ 18155 w 25659"/>
                  <a:gd name="connsiteY19" fmla="*/ 9761 h 25660"/>
                  <a:gd name="connsiteX20" fmla="*/ 14887 w 25659"/>
                  <a:gd name="connsiteY20" fmla="*/ 13917 h 25660"/>
                  <a:gd name="connsiteX21" fmla="*/ 15585 w 25659"/>
                  <a:gd name="connsiteY21" fmla="*/ 14901 h 25660"/>
                  <a:gd name="connsiteX22" fmla="*/ 13015 w 25659"/>
                  <a:gd name="connsiteY22" fmla="*/ 12522 h 25660"/>
                  <a:gd name="connsiteX23" fmla="*/ 16282 w 25659"/>
                  <a:gd name="connsiteY23" fmla="*/ 9870 h 25660"/>
                  <a:gd name="connsiteX24" fmla="*/ 13657 w 25659"/>
                  <a:gd name="connsiteY24" fmla="*/ 7191 h 25660"/>
                  <a:gd name="connsiteX25" fmla="*/ 9816 w 25659"/>
                  <a:gd name="connsiteY25" fmla="*/ 7191 h 25660"/>
                  <a:gd name="connsiteX26" fmla="*/ 9816 w 25659"/>
                  <a:gd name="connsiteY26" fmla="*/ 12509 h 25660"/>
                  <a:gd name="connsiteX27" fmla="*/ 13015 w 25659"/>
                  <a:gd name="connsiteY27" fmla="*/ 12509 h 25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25659" h="25660">
                    <a:moveTo>
                      <a:pt x="25660" y="12810"/>
                    </a:moveTo>
                    <a:cubicBezTo>
                      <a:pt x="25660" y="19946"/>
                      <a:pt x="19946" y="25660"/>
                      <a:pt x="12782" y="25660"/>
                    </a:cubicBezTo>
                    <a:cubicBezTo>
                      <a:pt x="5619" y="25660"/>
                      <a:pt x="0" y="19891"/>
                      <a:pt x="0" y="12810"/>
                    </a:cubicBezTo>
                    <a:cubicBezTo>
                      <a:pt x="0" y="5728"/>
                      <a:pt x="5714" y="0"/>
                      <a:pt x="12823" y="0"/>
                    </a:cubicBezTo>
                    <a:cubicBezTo>
                      <a:pt x="19932" y="0"/>
                      <a:pt x="25646" y="5687"/>
                      <a:pt x="25646" y="12810"/>
                    </a:cubicBezTo>
                    <a:close/>
                    <a:moveTo>
                      <a:pt x="23691" y="12864"/>
                    </a:moveTo>
                    <a:cubicBezTo>
                      <a:pt x="23691" y="6712"/>
                      <a:pt x="18838" y="1832"/>
                      <a:pt x="12837" y="1832"/>
                    </a:cubicBezTo>
                    <a:cubicBezTo>
                      <a:pt x="6835" y="1832"/>
                      <a:pt x="1982" y="6658"/>
                      <a:pt x="1982" y="12851"/>
                    </a:cubicBezTo>
                    <a:cubicBezTo>
                      <a:pt x="1982" y="19043"/>
                      <a:pt x="6890" y="23856"/>
                      <a:pt x="12782" y="23856"/>
                    </a:cubicBezTo>
                    <a:cubicBezTo>
                      <a:pt x="18674" y="23856"/>
                      <a:pt x="23691" y="19002"/>
                      <a:pt x="23691" y="12864"/>
                    </a:cubicBezTo>
                    <a:close/>
                    <a:moveTo>
                      <a:pt x="15585" y="14888"/>
                    </a:moveTo>
                    <a:lnTo>
                      <a:pt x="18811" y="19905"/>
                    </a:lnTo>
                    <a:lnTo>
                      <a:pt x="16678" y="19905"/>
                    </a:lnTo>
                    <a:lnTo>
                      <a:pt x="13097" y="14218"/>
                    </a:lnTo>
                    <a:lnTo>
                      <a:pt x="9829" y="14218"/>
                    </a:lnTo>
                    <a:lnTo>
                      <a:pt x="9829" y="19905"/>
                    </a:lnTo>
                    <a:lnTo>
                      <a:pt x="8038" y="19905"/>
                    </a:lnTo>
                    <a:lnTo>
                      <a:pt x="8038" y="5523"/>
                    </a:lnTo>
                    <a:lnTo>
                      <a:pt x="13616" y="5523"/>
                    </a:lnTo>
                    <a:cubicBezTo>
                      <a:pt x="16364" y="5523"/>
                      <a:pt x="18155" y="6999"/>
                      <a:pt x="18155" y="9761"/>
                    </a:cubicBezTo>
                    <a:cubicBezTo>
                      <a:pt x="18155" y="11989"/>
                      <a:pt x="16801" y="13370"/>
                      <a:pt x="14887" y="13917"/>
                    </a:cubicBezTo>
                    <a:cubicBezTo>
                      <a:pt x="15147" y="14204"/>
                      <a:pt x="15407" y="14559"/>
                      <a:pt x="15585" y="14901"/>
                    </a:cubicBezTo>
                    <a:close/>
                    <a:moveTo>
                      <a:pt x="13015" y="12522"/>
                    </a:moveTo>
                    <a:cubicBezTo>
                      <a:pt x="15038" y="12522"/>
                      <a:pt x="16282" y="11565"/>
                      <a:pt x="16282" y="9870"/>
                    </a:cubicBezTo>
                    <a:cubicBezTo>
                      <a:pt x="16282" y="8175"/>
                      <a:pt x="15421" y="7191"/>
                      <a:pt x="13657" y="7191"/>
                    </a:cubicBezTo>
                    <a:lnTo>
                      <a:pt x="9816" y="7191"/>
                    </a:lnTo>
                    <a:lnTo>
                      <a:pt x="9816" y="12509"/>
                    </a:lnTo>
                    <a:lnTo>
                      <a:pt x="13015" y="12509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D60896CA-519F-289F-0DB4-D576D9971314}"/>
                  </a:ext>
                </a:extLst>
              </p:cNvPr>
              <p:cNvSpPr/>
              <p:nvPr/>
            </p:nvSpPr>
            <p:spPr>
              <a:xfrm>
                <a:off x="11620956" y="6472487"/>
                <a:ext cx="32932" cy="163721"/>
              </a:xfrm>
              <a:custGeom>
                <a:avLst/>
                <a:gdLst>
                  <a:gd name="connsiteX0" fmla="*/ 29830 w 32932"/>
                  <a:gd name="connsiteY0" fmla="*/ 0 h 163721"/>
                  <a:gd name="connsiteX1" fmla="*/ 32933 w 32932"/>
                  <a:gd name="connsiteY1" fmla="*/ 3103 h 163721"/>
                  <a:gd name="connsiteX2" fmla="*/ 32933 w 32932"/>
                  <a:gd name="connsiteY2" fmla="*/ 160618 h 163721"/>
                  <a:gd name="connsiteX3" fmla="*/ 29830 w 32932"/>
                  <a:gd name="connsiteY3" fmla="*/ 163722 h 163721"/>
                  <a:gd name="connsiteX4" fmla="*/ 3103 w 32932"/>
                  <a:gd name="connsiteY4" fmla="*/ 163722 h 163721"/>
                  <a:gd name="connsiteX5" fmla="*/ 0 w 32932"/>
                  <a:gd name="connsiteY5" fmla="*/ 160618 h 163721"/>
                  <a:gd name="connsiteX6" fmla="*/ 0 w 32932"/>
                  <a:gd name="connsiteY6" fmla="*/ 3103 h 163721"/>
                  <a:gd name="connsiteX7" fmla="*/ 3103 w 32932"/>
                  <a:gd name="connsiteY7" fmla="*/ 0 h 163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2932" h="163721">
                    <a:moveTo>
                      <a:pt x="29830" y="0"/>
                    </a:moveTo>
                    <a:cubicBezTo>
                      <a:pt x="31544" y="0"/>
                      <a:pt x="32933" y="1389"/>
                      <a:pt x="32933" y="3103"/>
                    </a:cubicBezTo>
                    <a:lnTo>
                      <a:pt x="32933" y="160618"/>
                    </a:lnTo>
                    <a:cubicBezTo>
                      <a:pt x="32933" y="162332"/>
                      <a:pt x="31543" y="163722"/>
                      <a:pt x="29830" y="163722"/>
                    </a:cubicBezTo>
                    <a:lnTo>
                      <a:pt x="3103" y="163722"/>
                    </a:lnTo>
                    <a:cubicBezTo>
                      <a:pt x="1389" y="163722"/>
                      <a:pt x="0" y="162332"/>
                      <a:pt x="0" y="160618"/>
                    </a:cubicBezTo>
                    <a:lnTo>
                      <a:pt x="0" y="3103"/>
                    </a:lnTo>
                    <a:cubicBezTo>
                      <a:pt x="0" y="1389"/>
                      <a:pt x="1389" y="0"/>
                      <a:pt x="3103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0CDBE448-2C7D-BDBA-5455-EFE9EDEE6EA8}"/>
                  </a:ext>
                </a:extLst>
              </p:cNvPr>
              <p:cNvSpPr/>
              <p:nvPr/>
            </p:nvSpPr>
            <p:spPr>
              <a:xfrm>
                <a:off x="11488486" y="6472473"/>
                <a:ext cx="123638" cy="166086"/>
              </a:xfrm>
              <a:custGeom>
                <a:avLst/>
                <a:gdLst>
                  <a:gd name="connsiteX0" fmla="*/ 68737 w 123638"/>
                  <a:gd name="connsiteY0" fmla="*/ 44663 h 166086"/>
                  <a:gd name="connsiteX1" fmla="*/ 32947 w 123638"/>
                  <a:gd name="connsiteY1" fmla="*/ 62052 h 166086"/>
                  <a:gd name="connsiteX2" fmla="*/ 32947 w 123638"/>
                  <a:gd name="connsiteY2" fmla="*/ 3103 h 166086"/>
                  <a:gd name="connsiteX3" fmla="*/ 29843 w 123638"/>
                  <a:gd name="connsiteY3" fmla="*/ 0 h 166086"/>
                  <a:gd name="connsiteX4" fmla="*/ 3103 w 123638"/>
                  <a:gd name="connsiteY4" fmla="*/ 0 h 166086"/>
                  <a:gd name="connsiteX5" fmla="*/ 0 w 123638"/>
                  <a:gd name="connsiteY5" fmla="*/ 3103 h 166086"/>
                  <a:gd name="connsiteX6" fmla="*/ 0 w 123638"/>
                  <a:gd name="connsiteY6" fmla="*/ 160632 h 166086"/>
                  <a:gd name="connsiteX7" fmla="*/ 3103 w 123638"/>
                  <a:gd name="connsiteY7" fmla="*/ 163735 h 166086"/>
                  <a:gd name="connsiteX8" fmla="*/ 29843 w 123638"/>
                  <a:gd name="connsiteY8" fmla="*/ 163735 h 166086"/>
                  <a:gd name="connsiteX9" fmla="*/ 32947 w 123638"/>
                  <a:gd name="connsiteY9" fmla="*/ 160632 h 166086"/>
                  <a:gd name="connsiteX10" fmla="*/ 32947 w 123638"/>
                  <a:gd name="connsiteY10" fmla="*/ 149025 h 166086"/>
                  <a:gd name="connsiteX11" fmla="*/ 68983 w 123638"/>
                  <a:gd name="connsiteY11" fmla="*/ 166087 h 166086"/>
                  <a:gd name="connsiteX12" fmla="*/ 123638 w 123638"/>
                  <a:gd name="connsiteY12" fmla="*/ 105539 h 166086"/>
                  <a:gd name="connsiteX13" fmla="*/ 68750 w 123638"/>
                  <a:gd name="connsiteY13" fmla="*/ 44663 h 166086"/>
                  <a:gd name="connsiteX14" fmla="*/ 62188 w 123638"/>
                  <a:gd name="connsiteY14" fmla="*/ 135163 h 166086"/>
                  <a:gd name="connsiteX15" fmla="*/ 32947 w 123638"/>
                  <a:gd name="connsiteY15" fmla="*/ 105552 h 166086"/>
                  <a:gd name="connsiteX16" fmla="*/ 62188 w 123638"/>
                  <a:gd name="connsiteY16" fmla="*/ 76174 h 166086"/>
                  <a:gd name="connsiteX17" fmla="*/ 90965 w 123638"/>
                  <a:gd name="connsiteY17" fmla="*/ 105552 h 166086"/>
                  <a:gd name="connsiteX18" fmla="*/ 62188 w 123638"/>
                  <a:gd name="connsiteY18" fmla="*/ 135163 h 166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23638" h="166086">
                    <a:moveTo>
                      <a:pt x="68737" y="44663"/>
                    </a:moveTo>
                    <a:cubicBezTo>
                      <a:pt x="53535" y="44663"/>
                      <a:pt x="40889" y="51252"/>
                      <a:pt x="32947" y="62052"/>
                    </a:cubicBezTo>
                    <a:lnTo>
                      <a:pt x="32947" y="3103"/>
                    </a:lnTo>
                    <a:cubicBezTo>
                      <a:pt x="32947" y="1394"/>
                      <a:pt x="31552" y="0"/>
                      <a:pt x="29843" y="0"/>
                    </a:cubicBezTo>
                    <a:lnTo>
                      <a:pt x="3103" y="0"/>
                    </a:lnTo>
                    <a:cubicBezTo>
                      <a:pt x="1394" y="0"/>
                      <a:pt x="0" y="1394"/>
                      <a:pt x="0" y="3103"/>
                    </a:cubicBezTo>
                    <a:lnTo>
                      <a:pt x="0" y="160632"/>
                    </a:lnTo>
                    <a:cubicBezTo>
                      <a:pt x="0" y="162341"/>
                      <a:pt x="1394" y="163735"/>
                      <a:pt x="3103" y="163735"/>
                    </a:cubicBezTo>
                    <a:lnTo>
                      <a:pt x="29843" y="163735"/>
                    </a:lnTo>
                    <a:cubicBezTo>
                      <a:pt x="31552" y="163735"/>
                      <a:pt x="32947" y="162341"/>
                      <a:pt x="32947" y="160632"/>
                    </a:cubicBezTo>
                    <a:lnTo>
                      <a:pt x="32947" y="149025"/>
                    </a:lnTo>
                    <a:cubicBezTo>
                      <a:pt x="40903" y="159839"/>
                      <a:pt x="53535" y="166087"/>
                      <a:pt x="68983" y="166087"/>
                    </a:cubicBezTo>
                    <a:cubicBezTo>
                      <a:pt x="101505" y="166087"/>
                      <a:pt x="123638" y="139852"/>
                      <a:pt x="123638" y="105539"/>
                    </a:cubicBezTo>
                    <a:cubicBezTo>
                      <a:pt x="123638" y="71225"/>
                      <a:pt x="101505" y="44663"/>
                      <a:pt x="68750" y="44663"/>
                    </a:cubicBezTo>
                    <a:close/>
                    <a:moveTo>
                      <a:pt x="62188" y="135163"/>
                    </a:moveTo>
                    <a:cubicBezTo>
                      <a:pt x="45346" y="135163"/>
                      <a:pt x="32947" y="121533"/>
                      <a:pt x="32947" y="105552"/>
                    </a:cubicBezTo>
                    <a:cubicBezTo>
                      <a:pt x="32947" y="89571"/>
                      <a:pt x="45346" y="76174"/>
                      <a:pt x="62188" y="76174"/>
                    </a:cubicBezTo>
                    <a:cubicBezTo>
                      <a:pt x="79031" y="76174"/>
                      <a:pt x="90965" y="89571"/>
                      <a:pt x="90965" y="105552"/>
                    </a:cubicBezTo>
                    <a:cubicBezTo>
                      <a:pt x="90965" y="121533"/>
                      <a:pt x="78798" y="135163"/>
                      <a:pt x="62188" y="13516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E9C7D98C-7120-4D9C-AC1B-9084E009C901}"/>
                  </a:ext>
                </a:extLst>
              </p:cNvPr>
              <p:cNvSpPr/>
              <p:nvPr/>
            </p:nvSpPr>
            <p:spPr>
              <a:xfrm>
                <a:off x="11359421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AF7A8987-AF59-9EF4-01CF-F16FE7C836C6}"/>
                  </a:ext>
                </a:extLst>
              </p:cNvPr>
              <p:cNvSpPr/>
              <p:nvPr/>
            </p:nvSpPr>
            <p:spPr>
              <a:xfrm>
                <a:off x="11662542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21A0ACE4-C2B8-6838-C695-2F3DC7F4698B}"/>
                  </a:ext>
                </a:extLst>
              </p:cNvPr>
              <p:cNvSpPr/>
              <p:nvPr/>
            </p:nvSpPr>
            <p:spPr>
              <a:xfrm>
                <a:off x="11122821" y="6519528"/>
                <a:ext cx="32932" cy="116680"/>
              </a:xfrm>
              <a:custGeom>
                <a:avLst/>
                <a:gdLst>
                  <a:gd name="connsiteX0" fmla="*/ 29843 w 32932"/>
                  <a:gd name="connsiteY0" fmla="*/ 116680 h 116680"/>
                  <a:gd name="connsiteX1" fmla="*/ 3103 w 32932"/>
                  <a:gd name="connsiteY1" fmla="*/ 116680 h 116680"/>
                  <a:gd name="connsiteX2" fmla="*/ 0 w 32932"/>
                  <a:gd name="connsiteY2" fmla="*/ 113577 h 116680"/>
                  <a:gd name="connsiteX3" fmla="*/ 0 w 32932"/>
                  <a:gd name="connsiteY3" fmla="*/ 30554 h 116680"/>
                  <a:gd name="connsiteX4" fmla="*/ 1859 w 32932"/>
                  <a:gd name="connsiteY4" fmla="*/ 26125 h 116680"/>
                  <a:gd name="connsiteX5" fmla="*/ 27670 w 32932"/>
                  <a:gd name="connsiteY5" fmla="*/ 888 h 116680"/>
                  <a:gd name="connsiteX6" fmla="*/ 32933 w 32932"/>
                  <a:gd name="connsiteY6" fmla="*/ 3103 h 116680"/>
                  <a:gd name="connsiteX7" fmla="*/ 32933 w 32932"/>
                  <a:gd name="connsiteY7" fmla="*/ 113577 h 116680"/>
                  <a:gd name="connsiteX8" fmla="*/ 29830 w 32932"/>
                  <a:gd name="connsiteY8" fmla="*/ 116680 h 116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932" h="116680">
                    <a:moveTo>
                      <a:pt x="29843" y="116680"/>
                    </a:moveTo>
                    <a:lnTo>
                      <a:pt x="3103" y="116680"/>
                    </a:lnTo>
                    <a:cubicBezTo>
                      <a:pt x="1394" y="116680"/>
                      <a:pt x="0" y="115286"/>
                      <a:pt x="0" y="113577"/>
                    </a:cubicBezTo>
                    <a:lnTo>
                      <a:pt x="0" y="30554"/>
                    </a:lnTo>
                    <a:cubicBezTo>
                      <a:pt x="0" y="28886"/>
                      <a:pt x="670" y="27287"/>
                      <a:pt x="1859" y="26125"/>
                    </a:cubicBezTo>
                    <a:lnTo>
                      <a:pt x="27670" y="888"/>
                    </a:lnTo>
                    <a:cubicBezTo>
                      <a:pt x="29638" y="-1026"/>
                      <a:pt x="32933" y="355"/>
                      <a:pt x="32933" y="3103"/>
                    </a:cubicBezTo>
                    <a:lnTo>
                      <a:pt x="32933" y="113577"/>
                    </a:lnTo>
                    <a:cubicBezTo>
                      <a:pt x="32933" y="115286"/>
                      <a:pt x="31538" y="116680"/>
                      <a:pt x="29830" y="11668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4227C8E7-892F-4312-DDDE-F141AB0C2231}"/>
                  </a:ext>
                </a:extLst>
              </p:cNvPr>
              <p:cNvSpPr/>
              <p:nvPr/>
            </p:nvSpPr>
            <p:spPr>
              <a:xfrm>
                <a:off x="11173074" y="6517105"/>
                <a:ext cx="107493" cy="119116"/>
              </a:xfrm>
              <a:custGeom>
                <a:avLst/>
                <a:gdLst>
                  <a:gd name="connsiteX0" fmla="*/ 107480 w 107493"/>
                  <a:gd name="connsiteY0" fmla="*/ 41877 h 119116"/>
                  <a:gd name="connsiteX1" fmla="*/ 65237 w 107493"/>
                  <a:gd name="connsiteY1" fmla="*/ 3 h 119116"/>
                  <a:gd name="connsiteX2" fmla="*/ 32947 w 107493"/>
                  <a:gd name="connsiteY2" fmla="*/ 17474 h 119116"/>
                  <a:gd name="connsiteX3" fmla="*/ 32947 w 107493"/>
                  <a:gd name="connsiteY3" fmla="*/ 5581 h 119116"/>
                  <a:gd name="connsiteX4" fmla="*/ 29843 w 107493"/>
                  <a:gd name="connsiteY4" fmla="*/ 2478 h 119116"/>
                  <a:gd name="connsiteX5" fmla="*/ 3103 w 107493"/>
                  <a:gd name="connsiteY5" fmla="*/ 2478 h 119116"/>
                  <a:gd name="connsiteX6" fmla="*/ 0 w 107493"/>
                  <a:gd name="connsiteY6" fmla="*/ 5581 h 119116"/>
                  <a:gd name="connsiteX7" fmla="*/ 0 w 107493"/>
                  <a:gd name="connsiteY7" fmla="*/ 116000 h 119116"/>
                  <a:gd name="connsiteX8" fmla="*/ 3103 w 107493"/>
                  <a:gd name="connsiteY8" fmla="*/ 119103 h 119116"/>
                  <a:gd name="connsiteX9" fmla="*/ 29843 w 107493"/>
                  <a:gd name="connsiteY9" fmla="*/ 119103 h 119116"/>
                  <a:gd name="connsiteX10" fmla="*/ 32947 w 107493"/>
                  <a:gd name="connsiteY10" fmla="*/ 116000 h 119116"/>
                  <a:gd name="connsiteX11" fmla="*/ 32947 w 107493"/>
                  <a:gd name="connsiteY11" fmla="*/ 51788 h 119116"/>
                  <a:gd name="connsiteX12" fmla="*/ 53740 w 107493"/>
                  <a:gd name="connsiteY12" fmla="*/ 31747 h 119116"/>
                  <a:gd name="connsiteX13" fmla="*/ 74547 w 107493"/>
                  <a:gd name="connsiteY13" fmla="*/ 53210 h 119116"/>
                  <a:gd name="connsiteX14" fmla="*/ 74547 w 107493"/>
                  <a:gd name="connsiteY14" fmla="*/ 116014 h 119116"/>
                  <a:gd name="connsiteX15" fmla="*/ 77650 w 107493"/>
                  <a:gd name="connsiteY15" fmla="*/ 119117 h 119116"/>
                  <a:gd name="connsiteX16" fmla="*/ 104390 w 107493"/>
                  <a:gd name="connsiteY16" fmla="*/ 119117 h 119116"/>
                  <a:gd name="connsiteX17" fmla="*/ 107493 w 107493"/>
                  <a:gd name="connsiteY17" fmla="*/ 116014 h 119116"/>
                  <a:gd name="connsiteX18" fmla="*/ 107493 w 107493"/>
                  <a:gd name="connsiteY18" fmla="*/ 41890 h 119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7493" h="119116">
                    <a:moveTo>
                      <a:pt x="107480" y="41877"/>
                    </a:moveTo>
                    <a:cubicBezTo>
                      <a:pt x="107480" y="19252"/>
                      <a:pt x="88792" y="277"/>
                      <a:pt x="65237" y="3"/>
                    </a:cubicBezTo>
                    <a:cubicBezTo>
                      <a:pt x="49912" y="-175"/>
                      <a:pt x="39563" y="7331"/>
                      <a:pt x="32947" y="17474"/>
                    </a:cubicBezTo>
                    <a:lnTo>
                      <a:pt x="32947" y="5581"/>
                    </a:lnTo>
                    <a:cubicBezTo>
                      <a:pt x="32947" y="3872"/>
                      <a:pt x="31552" y="2478"/>
                      <a:pt x="29843" y="2478"/>
                    </a:cubicBezTo>
                    <a:lnTo>
                      <a:pt x="3103" y="2478"/>
                    </a:lnTo>
                    <a:cubicBezTo>
                      <a:pt x="1394" y="2478"/>
                      <a:pt x="0" y="3872"/>
                      <a:pt x="0" y="5581"/>
                    </a:cubicBezTo>
                    <a:lnTo>
                      <a:pt x="0" y="116000"/>
                    </a:lnTo>
                    <a:cubicBezTo>
                      <a:pt x="0" y="117709"/>
                      <a:pt x="1394" y="119103"/>
                      <a:pt x="3103" y="119103"/>
                    </a:cubicBezTo>
                    <a:lnTo>
                      <a:pt x="29843" y="119103"/>
                    </a:lnTo>
                    <a:cubicBezTo>
                      <a:pt x="31552" y="119103"/>
                      <a:pt x="32947" y="117709"/>
                      <a:pt x="32947" y="116000"/>
                    </a:cubicBezTo>
                    <a:lnTo>
                      <a:pt x="32947" y="51788"/>
                    </a:lnTo>
                    <a:cubicBezTo>
                      <a:pt x="33685" y="39430"/>
                      <a:pt x="41518" y="31747"/>
                      <a:pt x="53740" y="31747"/>
                    </a:cubicBezTo>
                    <a:cubicBezTo>
                      <a:pt x="65961" y="31747"/>
                      <a:pt x="74547" y="40373"/>
                      <a:pt x="74547" y="53210"/>
                    </a:cubicBezTo>
                    <a:lnTo>
                      <a:pt x="74547" y="116014"/>
                    </a:lnTo>
                    <a:cubicBezTo>
                      <a:pt x="74547" y="117722"/>
                      <a:pt x="75941" y="119117"/>
                      <a:pt x="77650" y="119117"/>
                    </a:cubicBezTo>
                    <a:lnTo>
                      <a:pt x="104390" y="119117"/>
                    </a:lnTo>
                    <a:cubicBezTo>
                      <a:pt x="106099" y="119117"/>
                      <a:pt x="107493" y="117722"/>
                      <a:pt x="107493" y="116014"/>
                    </a:cubicBezTo>
                    <a:lnTo>
                      <a:pt x="107493" y="41890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4" name="Chart Placeholder 33">
            <a:extLst>
              <a:ext uri="{FF2B5EF4-FFF2-40B4-BE49-F238E27FC236}">
                <a16:creationId xmlns:a16="http://schemas.microsoft.com/office/drawing/2014/main" id="{FDE6CDA2-D77D-FE84-C82C-7CC25E1A5346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6464300" y="1162050"/>
            <a:ext cx="5309981" cy="45339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0" i="0">
                <a:solidFill>
                  <a:srgbClr val="000000"/>
                </a:solidFill>
                <a:latin typeface="Lato" panose="020F0502020204030203" pitchFamily="34" charset="77"/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F1FAFD-6DCC-8876-AB0E-ADCBF9BF387F}"/>
              </a:ext>
            </a:extLst>
          </p:cNvPr>
          <p:cNvSpPr>
            <a:spLocks noGrp="1"/>
          </p:cNvSpPr>
          <p:nvPr>
            <p:ph type="body" sz="half" idx="11"/>
          </p:nvPr>
        </p:nvSpPr>
        <p:spPr>
          <a:xfrm>
            <a:off x="6357661" y="6045470"/>
            <a:ext cx="4869159" cy="384175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indent="0">
              <a:buNone/>
              <a:defRPr lang="en-US" sz="1300" b="0" i="0" dirty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US"/>
              <a:t>Click to edit Master text sty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11ECEE9-EFA8-02F1-F492-459A0243FC05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698501" y="3034266"/>
            <a:ext cx="4356098" cy="27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8718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32A540F-5CFC-3634-1CD0-1AC14F1F72B8}"/>
              </a:ext>
            </a:extLst>
          </p:cNvPr>
          <p:cNvSpPr/>
          <p:nvPr userDrawn="1"/>
        </p:nvSpPr>
        <p:spPr>
          <a:xfrm>
            <a:off x="0" y="0"/>
            <a:ext cx="8991601" cy="6169038"/>
          </a:xfrm>
          <a:custGeom>
            <a:avLst/>
            <a:gdLst>
              <a:gd name="connsiteX0" fmla="*/ 0 w 8991601"/>
              <a:gd name="connsiteY0" fmla="*/ 0 h 6169038"/>
              <a:gd name="connsiteX1" fmla="*/ 8096302 w 8991601"/>
              <a:gd name="connsiteY1" fmla="*/ 0 h 6169038"/>
              <a:gd name="connsiteX2" fmla="*/ 8801203 w 8991601"/>
              <a:gd name="connsiteY2" fmla="*/ 704901 h 6169038"/>
              <a:gd name="connsiteX3" fmla="*/ 8801203 w 8991601"/>
              <a:gd name="connsiteY3" fmla="*/ 1624335 h 6169038"/>
              <a:gd name="connsiteX4" fmla="*/ 4446895 w 8991601"/>
              <a:gd name="connsiteY4" fmla="*/ 5978640 h 6169038"/>
              <a:gd name="connsiteX5" fmla="*/ 3527461 w 8991601"/>
              <a:gd name="connsiteY5" fmla="*/ 5978640 h 6169038"/>
              <a:gd name="connsiteX6" fmla="*/ 0 w 8991601"/>
              <a:gd name="connsiteY6" fmla="*/ 2451181 h 6169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91601" h="6169038">
                <a:moveTo>
                  <a:pt x="0" y="0"/>
                </a:moveTo>
                <a:lnTo>
                  <a:pt x="8096302" y="0"/>
                </a:lnTo>
                <a:lnTo>
                  <a:pt x="8801203" y="704901"/>
                </a:lnTo>
                <a:cubicBezTo>
                  <a:pt x="9055067" y="958765"/>
                  <a:pt x="9055067" y="1370469"/>
                  <a:pt x="8801203" y="1624335"/>
                </a:cubicBezTo>
                <a:lnTo>
                  <a:pt x="4446895" y="5978640"/>
                </a:lnTo>
                <a:cubicBezTo>
                  <a:pt x="4193030" y="6232504"/>
                  <a:pt x="3781325" y="6232504"/>
                  <a:pt x="3527461" y="5978640"/>
                </a:cubicBezTo>
                <a:lnTo>
                  <a:pt x="0" y="2451181"/>
                </a:lnTo>
                <a:close/>
              </a:path>
            </a:pathLst>
          </a:custGeom>
          <a:gradFill>
            <a:gsLst>
              <a:gs pos="12000">
                <a:srgbClr val="D9E1E2">
                  <a:alpha val="30000"/>
                </a:srgbClr>
              </a:gs>
              <a:gs pos="74000">
                <a:srgbClr val="D9E1E2">
                  <a:alpha val="0"/>
                </a:srgbClr>
              </a:gs>
            </a:gsLst>
            <a:lin ang="5400000" scaled="0"/>
          </a:gradFill>
          <a:ln w="685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B23D750-E799-9EB0-9A8D-BF1E7D1AA050}"/>
              </a:ext>
            </a:extLst>
          </p:cNvPr>
          <p:cNvSpPr/>
          <p:nvPr userDrawn="1"/>
        </p:nvSpPr>
        <p:spPr>
          <a:xfrm>
            <a:off x="6314391" y="1714499"/>
            <a:ext cx="5337858" cy="4521201"/>
          </a:xfrm>
          <a:prstGeom prst="roundRect">
            <a:avLst>
              <a:gd name="adj" fmla="val 2208"/>
            </a:avLst>
          </a:prstGeom>
          <a:solidFill>
            <a:schemeClr val="bg1"/>
          </a:solidFill>
          <a:ln>
            <a:noFill/>
          </a:ln>
          <a:effectLst>
            <a:outerShdw blurRad="330200" dist="152400" dir="8100000" algn="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b="0" i="0" noProof="0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4D1C0C49-CB4A-3F2A-5915-1190A8CE2867}"/>
              </a:ext>
            </a:extLst>
          </p:cNvPr>
          <p:cNvSpPr/>
          <p:nvPr userDrawn="1"/>
        </p:nvSpPr>
        <p:spPr>
          <a:xfrm>
            <a:off x="539751" y="1714499"/>
            <a:ext cx="5337858" cy="4521201"/>
          </a:xfrm>
          <a:prstGeom prst="roundRect">
            <a:avLst>
              <a:gd name="adj" fmla="val 2208"/>
            </a:avLst>
          </a:prstGeom>
          <a:solidFill>
            <a:schemeClr val="bg1"/>
          </a:solidFill>
          <a:ln>
            <a:noFill/>
          </a:ln>
          <a:effectLst>
            <a:outerShdw blurRad="330200" dist="152400" dir="8100000" algn="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b="0" i="0" noProof="0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sp>
        <p:nvSpPr>
          <p:cNvPr id="14" name="Chart Placeholder 13">
            <a:extLst>
              <a:ext uri="{FF2B5EF4-FFF2-40B4-BE49-F238E27FC236}">
                <a16:creationId xmlns:a16="http://schemas.microsoft.com/office/drawing/2014/main" id="{1F99AABD-013D-6270-10F7-08F3EA6639B7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713130" y="1943099"/>
            <a:ext cx="4991100" cy="4064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0" i="0">
                <a:latin typeface="Lato" panose="020F0502020204030203" pitchFamily="34" charset="77"/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5" name="Chart Placeholder 13">
            <a:extLst>
              <a:ext uri="{FF2B5EF4-FFF2-40B4-BE49-F238E27FC236}">
                <a16:creationId xmlns:a16="http://schemas.microsoft.com/office/drawing/2014/main" id="{AECF711D-336A-63B6-D158-B47A7E228F48}"/>
              </a:ext>
            </a:extLst>
          </p:cNvPr>
          <p:cNvSpPr>
            <a:spLocks noGrp="1"/>
          </p:cNvSpPr>
          <p:nvPr>
            <p:ph type="chart" sz="quarter" idx="11"/>
          </p:nvPr>
        </p:nvSpPr>
        <p:spPr>
          <a:xfrm>
            <a:off x="6487770" y="1943099"/>
            <a:ext cx="4991100" cy="4064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0" i="0">
                <a:latin typeface="Lato" panose="020F0502020204030203" pitchFamily="34" charset="77"/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89240545-DC37-463A-5650-455DEC798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978" y="348251"/>
            <a:ext cx="7816522" cy="630213"/>
          </a:xfrm>
          <a:prstGeom prst="rect">
            <a:avLst/>
          </a:prstGeom>
        </p:spPr>
        <p:txBody>
          <a:bodyPr/>
          <a:lstStyle>
            <a:lvl1pPr>
              <a:defRPr sz="3400" b="1" i="0" cap="all" baseline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r>
              <a:rPr lang="en-US"/>
              <a:t>title sty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184A066F-21C3-CC2E-634E-1F9DE98F52E1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501983" y="1000500"/>
            <a:ext cx="7816517" cy="397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kumimoji="0" lang="en-US" sz="2200" b="0" i="0" u="none" strike="noStrike" cap="all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Lato" panose="020F0502020204030203" pitchFamily="34" charset="77"/>
                <a:ea typeface="Roboto Slab" pitchFamily="2" charset="0"/>
                <a:cs typeface="Arial" panose="020B0604020202020204" pitchFamily="34" charset="0"/>
              </a:defRPr>
            </a:lvl1pPr>
          </a:lstStyle>
          <a:p>
            <a:pPr marL="228600" marR="0" lvl="0" indent="-22860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ub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BC2C89D-8B9A-4045-3ABB-59C07D684021}"/>
              </a:ext>
            </a:extLst>
          </p:cNvPr>
          <p:cNvGrpSpPr/>
          <p:nvPr userDrawn="1"/>
        </p:nvGrpSpPr>
        <p:grpSpPr>
          <a:xfrm>
            <a:off x="11122821" y="6472473"/>
            <a:ext cx="799629" cy="166100"/>
            <a:chOff x="11122821" y="6472473"/>
            <a:chExt cx="799629" cy="166100"/>
          </a:xfrm>
          <a:solidFill>
            <a:schemeClr val="bg1"/>
          </a:soli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15EE455B-3E14-0EF0-E1B2-5F4B62A3498B}"/>
                </a:ext>
              </a:extLst>
            </p:cNvPr>
            <p:cNvSpPr/>
            <p:nvPr/>
          </p:nvSpPr>
          <p:spPr>
            <a:xfrm rot="18900000">
              <a:off x="11134957" y="6473485"/>
              <a:ext cx="35147" cy="35147"/>
            </a:xfrm>
            <a:custGeom>
              <a:avLst/>
              <a:gdLst>
                <a:gd name="connsiteX0" fmla="*/ 32044 w 35147"/>
                <a:gd name="connsiteY0" fmla="*/ 0 h 35147"/>
                <a:gd name="connsiteX1" fmla="*/ 35148 w 35147"/>
                <a:gd name="connsiteY1" fmla="*/ 3103 h 35147"/>
                <a:gd name="connsiteX2" fmla="*/ 35148 w 35147"/>
                <a:gd name="connsiteY2" fmla="*/ 32044 h 35147"/>
                <a:gd name="connsiteX3" fmla="*/ 32044 w 35147"/>
                <a:gd name="connsiteY3" fmla="*/ 35148 h 35147"/>
                <a:gd name="connsiteX4" fmla="*/ 3103 w 35147"/>
                <a:gd name="connsiteY4" fmla="*/ 35148 h 35147"/>
                <a:gd name="connsiteX5" fmla="*/ 0 w 35147"/>
                <a:gd name="connsiteY5" fmla="*/ 32044 h 35147"/>
                <a:gd name="connsiteX6" fmla="*/ 0 w 35147"/>
                <a:gd name="connsiteY6" fmla="*/ 3103 h 35147"/>
                <a:gd name="connsiteX7" fmla="*/ 3103 w 35147"/>
                <a:gd name="connsiteY7" fmla="*/ 0 h 35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147" h="35147">
                  <a:moveTo>
                    <a:pt x="32044" y="0"/>
                  </a:moveTo>
                  <a:cubicBezTo>
                    <a:pt x="33758" y="0"/>
                    <a:pt x="35148" y="1389"/>
                    <a:pt x="35148" y="3103"/>
                  </a:cubicBezTo>
                  <a:lnTo>
                    <a:pt x="35148" y="32044"/>
                  </a:lnTo>
                  <a:cubicBezTo>
                    <a:pt x="35148" y="33758"/>
                    <a:pt x="33758" y="35148"/>
                    <a:pt x="32044" y="35148"/>
                  </a:cubicBezTo>
                  <a:lnTo>
                    <a:pt x="3103" y="35148"/>
                  </a:lnTo>
                  <a:cubicBezTo>
                    <a:pt x="1389" y="35148"/>
                    <a:pt x="0" y="33758"/>
                    <a:pt x="0" y="32044"/>
                  </a:cubicBezTo>
                  <a:lnTo>
                    <a:pt x="0" y="3103"/>
                  </a:lnTo>
                  <a:cubicBezTo>
                    <a:pt x="0" y="1389"/>
                    <a:pt x="1389" y="0"/>
                    <a:pt x="3103" y="0"/>
                  </a:cubicBezTo>
                  <a:close/>
                </a:path>
              </a:pathLst>
            </a:custGeom>
            <a:grpFill/>
            <a:ln w="135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4937FBF6-F30B-1B5A-95AE-E7DDEEA8BC6F}"/>
                </a:ext>
              </a:extLst>
            </p:cNvPr>
            <p:cNvGrpSpPr/>
            <p:nvPr/>
          </p:nvGrpSpPr>
          <p:grpSpPr>
            <a:xfrm>
              <a:off x="11122821" y="6472473"/>
              <a:ext cx="799629" cy="166100"/>
              <a:chOff x="11122821" y="6472473"/>
              <a:chExt cx="799629" cy="166100"/>
            </a:xfrm>
            <a:grpFill/>
          </p:grpSpPr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0A1F2941-7F2D-A920-2FCA-94A3091C45C2}"/>
                  </a:ext>
                </a:extLst>
              </p:cNvPr>
              <p:cNvSpPr/>
              <p:nvPr/>
            </p:nvSpPr>
            <p:spPr>
              <a:xfrm>
                <a:off x="11774281" y="6519597"/>
                <a:ext cx="119385" cy="116611"/>
              </a:xfrm>
              <a:custGeom>
                <a:avLst/>
                <a:gdLst>
                  <a:gd name="connsiteX0" fmla="*/ 82523 w 119385"/>
                  <a:gd name="connsiteY0" fmla="*/ 58306 h 116611"/>
                  <a:gd name="connsiteX1" fmla="*/ 118887 w 119385"/>
                  <a:gd name="connsiteY1" fmla="*/ 112265 h 116611"/>
                  <a:gd name="connsiteX2" fmla="*/ 116385 w 119385"/>
                  <a:gd name="connsiteY2" fmla="*/ 116612 h 116611"/>
                  <a:gd name="connsiteX3" fmla="*/ 85831 w 119385"/>
                  <a:gd name="connsiteY3" fmla="*/ 116612 h 116611"/>
                  <a:gd name="connsiteX4" fmla="*/ 80718 w 119385"/>
                  <a:gd name="connsiteY4" fmla="*/ 113919 h 116611"/>
                  <a:gd name="connsiteX5" fmla="*/ 59693 w 119385"/>
                  <a:gd name="connsiteY5" fmla="*/ 81751 h 116611"/>
                  <a:gd name="connsiteX6" fmla="*/ 38667 w 119385"/>
                  <a:gd name="connsiteY6" fmla="*/ 113919 h 116611"/>
                  <a:gd name="connsiteX7" fmla="*/ 33554 w 119385"/>
                  <a:gd name="connsiteY7" fmla="*/ 116612 h 116611"/>
                  <a:gd name="connsiteX8" fmla="*/ 3000 w 119385"/>
                  <a:gd name="connsiteY8" fmla="*/ 116612 h 116611"/>
                  <a:gd name="connsiteX9" fmla="*/ 498 w 119385"/>
                  <a:gd name="connsiteY9" fmla="*/ 112265 h 116611"/>
                  <a:gd name="connsiteX10" fmla="*/ 36753 w 119385"/>
                  <a:gd name="connsiteY10" fmla="*/ 58306 h 116611"/>
                  <a:gd name="connsiteX11" fmla="*/ 498 w 119385"/>
                  <a:gd name="connsiteY11" fmla="*/ 4347 h 116611"/>
                  <a:gd name="connsiteX12" fmla="*/ 3000 w 119385"/>
                  <a:gd name="connsiteY12" fmla="*/ 0 h 116611"/>
                  <a:gd name="connsiteX13" fmla="*/ 34853 w 119385"/>
                  <a:gd name="connsiteY13" fmla="*/ 0 h 116611"/>
                  <a:gd name="connsiteX14" fmla="*/ 37778 w 119385"/>
                  <a:gd name="connsiteY14" fmla="*/ 1449 h 116611"/>
                  <a:gd name="connsiteX15" fmla="*/ 59679 w 119385"/>
                  <a:gd name="connsiteY15" fmla="*/ 34806 h 116611"/>
                  <a:gd name="connsiteX16" fmla="*/ 80240 w 119385"/>
                  <a:gd name="connsiteY16" fmla="*/ 1463 h 116611"/>
                  <a:gd name="connsiteX17" fmla="*/ 83165 w 119385"/>
                  <a:gd name="connsiteY17" fmla="*/ 0 h 116611"/>
                  <a:gd name="connsiteX18" fmla="*/ 115333 w 119385"/>
                  <a:gd name="connsiteY18" fmla="*/ 0 h 116611"/>
                  <a:gd name="connsiteX19" fmla="*/ 117834 w 119385"/>
                  <a:gd name="connsiteY19" fmla="*/ 4334 h 116611"/>
                  <a:gd name="connsiteX20" fmla="*/ 82495 w 119385"/>
                  <a:gd name="connsiteY20" fmla="*/ 58306 h 116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19385" h="116611">
                    <a:moveTo>
                      <a:pt x="82523" y="58306"/>
                    </a:moveTo>
                    <a:lnTo>
                      <a:pt x="118887" y="112265"/>
                    </a:lnTo>
                    <a:cubicBezTo>
                      <a:pt x="120199" y="114124"/>
                      <a:pt x="118764" y="116612"/>
                      <a:pt x="116385" y="116612"/>
                    </a:cubicBezTo>
                    <a:lnTo>
                      <a:pt x="85831" y="116612"/>
                    </a:lnTo>
                    <a:cubicBezTo>
                      <a:pt x="83794" y="116612"/>
                      <a:pt x="81880" y="115600"/>
                      <a:pt x="80718" y="113919"/>
                    </a:cubicBezTo>
                    <a:lnTo>
                      <a:pt x="59693" y="81751"/>
                    </a:lnTo>
                    <a:lnTo>
                      <a:pt x="38667" y="113919"/>
                    </a:lnTo>
                    <a:cubicBezTo>
                      <a:pt x="37505" y="115600"/>
                      <a:pt x="35605" y="116612"/>
                      <a:pt x="33554" y="116612"/>
                    </a:cubicBezTo>
                    <a:lnTo>
                      <a:pt x="3000" y="116612"/>
                    </a:lnTo>
                    <a:cubicBezTo>
                      <a:pt x="621" y="116612"/>
                      <a:pt x="-814" y="114138"/>
                      <a:pt x="498" y="112265"/>
                    </a:cubicBezTo>
                    <a:lnTo>
                      <a:pt x="36753" y="58306"/>
                    </a:lnTo>
                    <a:lnTo>
                      <a:pt x="498" y="4347"/>
                    </a:lnTo>
                    <a:cubicBezTo>
                      <a:pt x="-814" y="2488"/>
                      <a:pt x="621" y="0"/>
                      <a:pt x="3000" y="0"/>
                    </a:cubicBezTo>
                    <a:lnTo>
                      <a:pt x="34853" y="0"/>
                    </a:lnTo>
                    <a:cubicBezTo>
                      <a:pt x="36042" y="0"/>
                      <a:pt x="37149" y="547"/>
                      <a:pt x="37778" y="1449"/>
                    </a:cubicBezTo>
                    <a:lnTo>
                      <a:pt x="59679" y="34806"/>
                    </a:lnTo>
                    <a:lnTo>
                      <a:pt x="80240" y="1463"/>
                    </a:lnTo>
                    <a:cubicBezTo>
                      <a:pt x="80855" y="561"/>
                      <a:pt x="81976" y="0"/>
                      <a:pt x="83165" y="0"/>
                    </a:cubicBezTo>
                    <a:lnTo>
                      <a:pt x="115333" y="0"/>
                    </a:lnTo>
                    <a:cubicBezTo>
                      <a:pt x="117711" y="0"/>
                      <a:pt x="119133" y="2474"/>
                      <a:pt x="117834" y="4334"/>
                    </a:cubicBezTo>
                    <a:lnTo>
                      <a:pt x="82495" y="58306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E2507A41-53DA-F0A9-6E60-51912B93F20F}"/>
                  </a:ext>
                </a:extLst>
              </p:cNvPr>
              <p:cNvSpPr/>
              <p:nvPr/>
            </p:nvSpPr>
            <p:spPr>
              <a:xfrm>
                <a:off x="11284928" y="6472473"/>
                <a:ext cx="78825" cy="163762"/>
              </a:xfrm>
              <a:custGeom>
                <a:avLst/>
                <a:gdLst>
                  <a:gd name="connsiteX0" fmla="*/ 75722 w 78825"/>
                  <a:gd name="connsiteY0" fmla="*/ 14 h 163762"/>
                  <a:gd name="connsiteX1" fmla="*/ 50377 w 78825"/>
                  <a:gd name="connsiteY1" fmla="*/ 14 h 163762"/>
                  <a:gd name="connsiteX2" fmla="*/ 43801 w 78825"/>
                  <a:gd name="connsiteY2" fmla="*/ 2734 h 163762"/>
                  <a:gd name="connsiteX3" fmla="*/ 19987 w 78825"/>
                  <a:gd name="connsiteY3" fmla="*/ 26549 h 163762"/>
                  <a:gd name="connsiteX4" fmla="*/ 17266 w 78825"/>
                  <a:gd name="connsiteY4" fmla="*/ 33124 h 163762"/>
                  <a:gd name="connsiteX5" fmla="*/ 17266 w 78825"/>
                  <a:gd name="connsiteY5" fmla="*/ 51867 h 163762"/>
                  <a:gd name="connsiteX6" fmla="*/ 3049 w 78825"/>
                  <a:gd name="connsiteY6" fmla="*/ 51867 h 163762"/>
                  <a:gd name="connsiteX7" fmla="*/ 0 w 78825"/>
                  <a:gd name="connsiteY7" fmla="*/ 54916 h 163762"/>
                  <a:gd name="connsiteX8" fmla="*/ 0 w 78825"/>
                  <a:gd name="connsiteY8" fmla="*/ 75955 h 163762"/>
                  <a:gd name="connsiteX9" fmla="*/ 3049 w 78825"/>
                  <a:gd name="connsiteY9" fmla="*/ 79004 h 163762"/>
                  <a:gd name="connsiteX10" fmla="*/ 17266 w 78825"/>
                  <a:gd name="connsiteY10" fmla="*/ 79004 h 163762"/>
                  <a:gd name="connsiteX11" fmla="*/ 17266 w 78825"/>
                  <a:gd name="connsiteY11" fmla="*/ 160659 h 163762"/>
                  <a:gd name="connsiteX12" fmla="*/ 20369 w 78825"/>
                  <a:gd name="connsiteY12" fmla="*/ 163763 h 163762"/>
                  <a:gd name="connsiteX13" fmla="*/ 47109 w 78825"/>
                  <a:gd name="connsiteY13" fmla="*/ 163763 h 163762"/>
                  <a:gd name="connsiteX14" fmla="*/ 50213 w 78825"/>
                  <a:gd name="connsiteY14" fmla="*/ 160659 h 163762"/>
                  <a:gd name="connsiteX15" fmla="*/ 50213 w 78825"/>
                  <a:gd name="connsiteY15" fmla="*/ 78990 h 163762"/>
                  <a:gd name="connsiteX16" fmla="*/ 71443 w 78825"/>
                  <a:gd name="connsiteY16" fmla="*/ 78990 h 163762"/>
                  <a:gd name="connsiteX17" fmla="*/ 74492 w 78825"/>
                  <a:gd name="connsiteY17" fmla="*/ 75941 h 163762"/>
                  <a:gd name="connsiteX18" fmla="*/ 74492 w 78825"/>
                  <a:gd name="connsiteY18" fmla="*/ 54902 h 163762"/>
                  <a:gd name="connsiteX19" fmla="*/ 71443 w 78825"/>
                  <a:gd name="connsiteY19" fmla="*/ 51853 h 163762"/>
                  <a:gd name="connsiteX20" fmla="*/ 50213 w 78825"/>
                  <a:gd name="connsiteY20" fmla="*/ 51853 h 163762"/>
                  <a:gd name="connsiteX21" fmla="*/ 50213 w 78825"/>
                  <a:gd name="connsiteY21" fmla="*/ 38565 h 163762"/>
                  <a:gd name="connsiteX22" fmla="*/ 59509 w 78825"/>
                  <a:gd name="connsiteY22" fmla="*/ 29269 h 163762"/>
                  <a:gd name="connsiteX23" fmla="*/ 75722 w 78825"/>
                  <a:gd name="connsiteY23" fmla="*/ 29269 h 163762"/>
                  <a:gd name="connsiteX24" fmla="*/ 78826 w 78825"/>
                  <a:gd name="connsiteY24" fmla="*/ 26166 h 163762"/>
                  <a:gd name="connsiteX25" fmla="*/ 78826 w 78825"/>
                  <a:gd name="connsiteY25" fmla="*/ 3103 h 163762"/>
                  <a:gd name="connsiteX26" fmla="*/ 75722 w 78825"/>
                  <a:gd name="connsiteY26" fmla="*/ 0 h 163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78825" h="163762">
                    <a:moveTo>
                      <a:pt x="75722" y="14"/>
                    </a:moveTo>
                    <a:lnTo>
                      <a:pt x="50377" y="14"/>
                    </a:lnTo>
                    <a:cubicBezTo>
                      <a:pt x="47916" y="14"/>
                      <a:pt x="45551" y="998"/>
                      <a:pt x="43801" y="2734"/>
                    </a:cubicBezTo>
                    <a:lnTo>
                      <a:pt x="19987" y="26549"/>
                    </a:lnTo>
                    <a:cubicBezTo>
                      <a:pt x="18237" y="28299"/>
                      <a:pt x="17266" y="30664"/>
                      <a:pt x="17266" y="33124"/>
                    </a:cubicBezTo>
                    <a:lnTo>
                      <a:pt x="17266" y="51867"/>
                    </a:lnTo>
                    <a:lnTo>
                      <a:pt x="3049" y="51867"/>
                    </a:lnTo>
                    <a:cubicBezTo>
                      <a:pt x="1367" y="51867"/>
                      <a:pt x="0" y="53234"/>
                      <a:pt x="0" y="54916"/>
                    </a:cubicBezTo>
                    <a:lnTo>
                      <a:pt x="0" y="75955"/>
                    </a:lnTo>
                    <a:cubicBezTo>
                      <a:pt x="0" y="77636"/>
                      <a:pt x="1367" y="79004"/>
                      <a:pt x="3049" y="79004"/>
                    </a:cubicBezTo>
                    <a:lnTo>
                      <a:pt x="17266" y="79004"/>
                    </a:lnTo>
                    <a:lnTo>
                      <a:pt x="17266" y="160659"/>
                    </a:lnTo>
                    <a:cubicBezTo>
                      <a:pt x="17266" y="162368"/>
                      <a:pt x="18661" y="163763"/>
                      <a:pt x="20369" y="163763"/>
                    </a:cubicBezTo>
                    <a:lnTo>
                      <a:pt x="47109" y="163763"/>
                    </a:lnTo>
                    <a:cubicBezTo>
                      <a:pt x="48818" y="163763"/>
                      <a:pt x="50213" y="162368"/>
                      <a:pt x="50213" y="160659"/>
                    </a:cubicBezTo>
                    <a:lnTo>
                      <a:pt x="50213" y="78990"/>
                    </a:lnTo>
                    <a:lnTo>
                      <a:pt x="71443" y="78990"/>
                    </a:lnTo>
                    <a:cubicBezTo>
                      <a:pt x="73125" y="78990"/>
                      <a:pt x="74492" y="77623"/>
                      <a:pt x="74492" y="75941"/>
                    </a:cubicBezTo>
                    <a:lnTo>
                      <a:pt x="74492" y="54902"/>
                    </a:lnTo>
                    <a:cubicBezTo>
                      <a:pt x="74492" y="53220"/>
                      <a:pt x="73125" y="51853"/>
                      <a:pt x="71443" y="51853"/>
                    </a:cubicBezTo>
                    <a:lnTo>
                      <a:pt x="50213" y="51853"/>
                    </a:lnTo>
                    <a:lnTo>
                      <a:pt x="50213" y="38565"/>
                    </a:lnTo>
                    <a:cubicBezTo>
                      <a:pt x="50213" y="33425"/>
                      <a:pt x="54382" y="29269"/>
                      <a:pt x="59509" y="29269"/>
                    </a:cubicBezTo>
                    <a:lnTo>
                      <a:pt x="75722" y="29269"/>
                    </a:lnTo>
                    <a:cubicBezTo>
                      <a:pt x="77431" y="29269"/>
                      <a:pt x="78826" y="27875"/>
                      <a:pt x="78826" y="26166"/>
                    </a:cubicBezTo>
                    <a:lnTo>
                      <a:pt x="78826" y="3103"/>
                    </a:lnTo>
                    <a:cubicBezTo>
                      <a:pt x="78826" y="1394"/>
                      <a:pt x="77431" y="0"/>
                      <a:pt x="75722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28EC578A-8FEC-E907-B4D8-C4EF152A7D1D}"/>
                  </a:ext>
                </a:extLst>
              </p:cNvPr>
              <p:cNvSpPr/>
              <p:nvPr/>
            </p:nvSpPr>
            <p:spPr>
              <a:xfrm>
                <a:off x="11896791" y="6612367"/>
                <a:ext cx="25659" cy="25660"/>
              </a:xfrm>
              <a:custGeom>
                <a:avLst/>
                <a:gdLst>
                  <a:gd name="connsiteX0" fmla="*/ 25660 w 25659"/>
                  <a:gd name="connsiteY0" fmla="*/ 12810 h 25660"/>
                  <a:gd name="connsiteX1" fmla="*/ 12782 w 25659"/>
                  <a:gd name="connsiteY1" fmla="*/ 25660 h 25660"/>
                  <a:gd name="connsiteX2" fmla="*/ 0 w 25659"/>
                  <a:gd name="connsiteY2" fmla="*/ 12810 h 25660"/>
                  <a:gd name="connsiteX3" fmla="*/ 12823 w 25659"/>
                  <a:gd name="connsiteY3" fmla="*/ 0 h 25660"/>
                  <a:gd name="connsiteX4" fmla="*/ 25646 w 25659"/>
                  <a:gd name="connsiteY4" fmla="*/ 12810 h 25660"/>
                  <a:gd name="connsiteX5" fmla="*/ 23691 w 25659"/>
                  <a:gd name="connsiteY5" fmla="*/ 12864 h 25660"/>
                  <a:gd name="connsiteX6" fmla="*/ 12837 w 25659"/>
                  <a:gd name="connsiteY6" fmla="*/ 1832 h 25660"/>
                  <a:gd name="connsiteX7" fmla="*/ 1982 w 25659"/>
                  <a:gd name="connsiteY7" fmla="*/ 12851 h 25660"/>
                  <a:gd name="connsiteX8" fmla="*/ 12782 w 25659"/>
                  <a:gd name="connsiteY8" fmla="*/ 23856 h 25660"/>
                  <a:gd name="connsiteX9" fmla="*/ 23691 w 25659"/>
                  <a:gd name="connsiteY9" fmla="*/ 12864 h 25660"/>
                  <a:gd name="connsiteX10" fmla="*/ 15585 w 25659"/>
                  <a:gd name="connsiteY10" fmla="*/ 14888 h 25660"/>
                  <a:gd name="connsiteX11" fmla="*/ 18811 w 25659"/>
                  <a:gd name="connsiteY11" fmla="*/ 19905 h 25660"/>
                  <a:gd name="connsiteX12" fmla="*/ 16678 w 25659"/>
                  <a:gd name="connsiteY12" fmla="*/ 19905 h 25660"/>
                  <a:gd name="connsiteX13" fmla="*/ 13097 w 25659"/>
                  <a:gd name="connsiteY13" fmla="*/ 14218 h 25660"/>
                  <a:gd name="connsiteX14" fmla="*/ 9829 w 25659"/>
                  <a:gd name="connsiteY14" fmla="*/ 14218 h 25660"/>
                  <a:gd name="connsiteX15" fmla="*/ 9829 w 25659"/>
                  <a:gd name="connsiteY15" fmla="*/ 19905 h 25660"/>
                  <a:gd name="connsiteX16" fmla="*/ 8038 w 25659"/>
                  <a:gd name="connsiteY16" fmla="*/ 19905 h 25660"/>
                  <a:gd name="connsiteX17" fmla="*/ 8038 w 25659"/>
                  <a:gd name="connsiteY17" fmla="*/ 5523 h 25660"/>
                  <a:gd name="connsiteX18" fmla="*/ 13616 w 25659"/>
                  <a:gd name="connsiteY18" fmla="*/ 5523 h 25660"/>
                  <a:gd name="connsiteX19" fmla="*/ 18155 w 25659"/>
                  <a:gd name="connsiteY19" fmla="*/ 9761 h 25660"/>
                  <a:gd name="connsiteX20" fmla="*/ 14887 w 25659"/>
                  <a:gd name="connsiteY20" fmla="*/ 13917 h 25660"/>
                  <a:gd name="connsiteX21" fmla="*/ 15585 w 25659"/>
                  <a:gd name="connsiteY21" fmla="*/ 14901 h 25660"/>
                  <a:gd name="connsiteX22" fmla="*/ 13015 w 25659"/>
                  <a:gd name="connsiteY22" fmla="*/ 12522 h 25660"/>
                  <a:gd name="connsiteX23" fmla="*/ 16282 w 25659"/>
                  <a:gd name="connsiteY23" fmla="*/ 9870 h 25660"/>
                  <a:gd name="connsiteX24" fmla="*/ 13657 w 25659"/>
                  <a:gd name="connsiteY24" fmla="*/ 7191 h 25660"/>
                  <a:gd name="connsiteX25" fmla="*/ 9816 w 25659"/>
                  <a:gd name="connsiteY25" fmla="*/ 7191 h 25660"/>
                  <a:gd name="connsiteX26" fmla="*/ 9816 w 25659"/>
                  <a:gd name="connsiteY26" fmla="*/ 12509 h 25660"/>
                  <a:gd name="connsiteX27" fmla="*/ 13015 w 25659"/>
                  <a:gd name="connsiteY27" fmla="*/ 12509 h 25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25659" h="25660">
                    <a:moveTo>
                      <a:pt x="25660" y="12810"/>
                    </a:moveTo>
                    <a:cubicBezTo>
                      <a:pt x="25660" y="19946"/>
                      <a:pt x="19946" y="25660"/>
                      <a:pt x="12782" y="25660"/>
                    </a:cubicBezTo>
                    <a:cubicBezTo>
                      <a:pt x="5619" y="25660"/>
                      <a:pt x="0" y="19891"/>
                      <a:pt x="0" y="12810"/>
                    </a:cubicBezTo>
                    <a:cubicBezTo>
                      <a:pt x="0" y="5728"/>
                      <a:pt x="5714" y="0"/>
                      <a:pt x="12823" y="0"/>
                    </a:cubicBezTo>
                    <a:cubicBezTo>
                      <a:pt x="19932" y="0"/>
                      <a:pt x="25646" y="5687"/>
                      <a:pt x="25646" y="12810"/>
                    </a:cubicBezTo>
                    <a:close/>
                    <a:moveTo>
                      <a:pt x="23691" y="12864"/>
                    </a:moveTo>
                    <a:cubicBezTo>
                      <a:pt x="23691" y="6712"/>
                      <a:pt x="18838" y="1832"/>
                      <a:pt x="12837" y="1832"/>
                    </a:cubicBezTo>
                    <a:cubicBezTo>
                      <a:pt x="6835" y="1832"/>
                      <a:pt x="1982" y="6658"/>
                      <a:pt x="1982" y="12851"/>
                    </a:cubicBezTo>
                    <a:cubicBezTo>
                      <a:pt x="1982" y="19043"/>
                      <a:pt x="6890" y="23856"/>
                      <a:pt x="12782" y="23856"/>
                    </a:cubicBezTo>
                    <a:cubicBezTo>
                      <a:pt x="18674" y="23856"/>
                      <a:pt x="23691" y="19002"/>
                      <a:pt x="23691" y="12864"/>
                    </a:cubicBezTo>
                    <a:close/>
                    <a:moveTo>
                      <a:pt x="15585" y="14888"/>
                    </a:moveTo>
                    <a:lnTo>
                      <a:pt x="18811" y="19905"/>
                    </a:lnTo>
                    <a:lnTo>
                      <a:pt x="16678" y="19905"/>
                    </a:lnTo>
                    <a:lnTo>
                      <a:pt x="13097" y="14218"/>
                    </a:lnTo>
                    <a:lnTo>
                      <a:pt x="9829" y="14218"/>
                    </a:lnTo>
                    <a:lnTo>
                      <a:pt x="9829" y="19905"/>
                    </a:lnTo>
                    <a:lnTo>
                      <a:pt x="8038" y="19905"/>
                    </a:lnTo>
                    <a:lnTo>
                      <a:pt x="8038" y="5523"/>
                    </a:lnTo>
                    <a:lnTo>
                      <a:pt x="13616" y="5523"/>
                    </a:lnTo>
                    <a:cubicBezTo>
                      <a:pt x="16364" y="5523"/>
                      <a:pt x="18155" y="6999"/>
                      <a:pt x="18155" y="9761"/>
                    </a:cubicBezTo>
                    <a:cubicBezTo>
                      <a:pt x="18155" y="11989"/>
                      <a:pt x="16801" y="13370"/>
                      <a:pt x="14887" y="13917"/>
                    </a:cubicBezTo>
                    <a:cubicBezTo>
                      <a:pt x="15147" y="14204"/>
                      <a:pt x="15407" y="14559"/>
                      <a:pt x="15585" y="14901"/>
                    </a:cubicBezTo>
                    <a:close/>
                    <a:moveTo>
                      <a:pt x="13015" y="12522"/>
                    </a:moveTo>
                    <a:cubicBezTo>
                      <a:pt x="15038" y="12522"/>
                      <a:pt x="16282" y="11565"/>
                      <a:pt x="16282" y="9870"/>
                    </a:cubicBezTo>
                    <a:cubicBezTo>
                      <a:pt x="16282" y="8175"/>
                      <a:pt x="15421" y="7191"/>
                      <a:pt x="13657" y="7191"/>
                    </a:cubicBezTo>
                    <a:lnTo>
                      <a:pt x="9816" y="7191"/>
                    </a:lnTo>
                    <a:lnTo>
                      <a:pt x="9816" y="12509"/>
                    </a:lnTo>
                    <a:lnTo>
                      <a:pt x="13015" y="12509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BAB6DF49-883E-A4AF-FEA7-4516DA2F1D27}"/>
                  </a:ext>
                </a:extLst>
              </p:cNvPr>
              <p:cNvSpPr/>
              <p:nvPr/>
            </p:nvSpPr>
            <p:spPr>
              <a:xfrm>
                <a:off x="11620956" y="6472487"/>
                <a:ext cx="32932" cy="163721"/>
              </a:xfrm>
              <a:custGeom>
                <a:avLst/>
                <a:gdLst>
                  <a:gd name="connsiteX0" fmla="*/ 29830 w 32932"/>
                  <a:gd name="connsiteY0" fmla="*/ 0 h 163721"/>
                  <a:gd name="connsiteX1" fmla="*/ 32933 w 32932"/>
                  <a:gd name="connsiteY1" fmla="*/ 3103 h 163721"/>
                  <a:gd name="connsiteX2" fmla="*/ 32933 w 32932"/>
                  <a:gd name="connsiteY2" fmla="*/ 160618 h 163721"/>
                  <a:gd name="connsiteX3" fmla="*/ 29830 w 32932"/>
                  <a:gd name="connsiteY3" fmla="*/ 163722 h 163721"/>
                  <a:gd name="connsiteX4" fmla="*/ 3103 w 32932"/>
                  <a:gd name="connsiteY4" fmla="*/ 163722 h 163721"/>
                  <a:gd name="connsiteX5" fmla="*/ 0 w 32932"/>
                  <a:gd name="connsiteY5" fmla="*/ 160618 h 163721"/>
                  <a:gd name="connsiteX6" fmla="*/ 0 w 32932"/>
                  <a:gd name="connsiteY6" fmla="*/ 3103 h 163721"/>
                  <a:gd name="connsiteX7" fmla="*/ 3103 w 32932"/>
                  <a:gd name="connsiteY7" fmla="*/ 0 h 163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2932" h="163721">
                    <a:moveTo>
                      <a:pt x="29830" y="0"/>
                    </a:moveTo>
                    <a:cubicBezTo>
                      <a:pt x="31544" y="0"/>
                      <a:pt x="32933" y="1389"/>
                      <a:pt x="32933" y="3103"/>
                    </a:cubicBezTo>
                    <a:lnTo>
                      <a:pt x="32933" y="160618"/>
                    </a:lnTo>
                    <a:cubicBezTo>
                      <a:pt x="32933" y="162332"/>
                      <a:pt x="31543" y="163722"/>
                      <a:pt x="29830" y="163722"/>
                    </a:cubicBezTo>
                    <a:lnTo>
                      <a:pt x="3103" y="163722"/>
                    </a:lnTo>
                    <a:cubicBezTo>
                      <a:pt x="1389" y="163722"/>
                      <a:pt x="0" y="162332"/>
                      <a:pt x="0" y="160618"/>
                    </a:cubicBezTo>
                    <a:lnTo>
                      <a:pt x="0" y="3103"/>
                    </a:lnTo>
                    <a:cubicBezTo>
                      <a:pt x="0" y="1389"/>
                      <a:pt x="1389" y="0"/>
                      <a:pt x="3103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15AB947C-81BA-BDF4-D9A2-491BEE8F3429}"/>
                  </a:ext>
                </a:extLst>
              </p:cNvPr>
              <p:cNvSpPr/>
              <p:nvPr/>
            </p:nvSpPr>
            <p:spPr>
              <a:xfrm>
                <a:off x="11488486" y="6472473"/>
                <a:ext cx="123638" cy="166086"/>
              </a:xfrm>
              <a:custGeom>
                <a:avLst/>
                <a:gdLst>
                  <a:gd name="connsiteX0" fmla="*/ 68737 w 123638"/>
                  <a:gd name="connsiteY0" fmla="*/ 44663 h 166086"/>
                  <a:gd name="connsiteX1" fmla="*/ 32947 w 123638"/>
                  <a:gd name="connsiteY1" fmla="*/ 62052 h 166086"/>
                  <a:gd name="connsiteX2" fmla="*/ 32947 w 123638"/>
                  <a:gd name="connsiteY2" fmla="*/ 3103 h 166086"/>
                  <a:gd name="connsiteX3" fmla="*/ 29843 w 123638"/>
                  <a:gd name="connsiteY3" fmla="*/ 0 h 166086"/>
                  <a:gd name="connsiteX4" fmla="*/ 3103 w 123638"/>
                  <a:gd name="connsiteY4" fmla="*/ 0 h 166086"/>
                  <a:gd name="connsiteX5" fmla="*/ 0 w 123638"/>
                  <a:gd name="connsiteY5" fmla="*/ 3103 h 166086"/>
                  <a:gd name="connsiteX6" fmla="*/ 0 w 123638"/>
                  <a:gd name="connsiteY6" fmla="*/ 160632 h 166086"/>
                  <a:gd name="connsiteX7" fmla="*/ 3103 w 123638"/>
                  <a:gd name="connsiteY7" fmla="*/ 163735 h 166086"/>
                  <a:gd name="connsiteX8" fmla="*/ 29843 w 123638"/>
                  <a:gd name="connsiteY8" fmla="*/ 163735 h 166086"/>
                  <a:gd name="connsiteX9" fmla="*/ 32947 w 123638"/>
                  <a:gd name="connsiteY9" fmla="*/ 160632 h 166086"/>
                  <a:gd name="connsiteX10" fmla="*/ 32947 w 123638"/>
                  <a:gd name="connsiteY10" fmla="*/ 149025 h 166086"/>
                  <a:gd name="connsiteX11" fmla="*/ 68983 w 123638"/>
                  <a:gd name="connsiteY11" fmla="*/ 166087 h 166086"/>
                  <a:gd name="connsiteX12" fmla="*/ 123638 w 123638"/>
                  <a:gd name="connsiteY12" fmla="*/ 105539 h 166086"/>
                  <a:gd name="connsiteX13" fmla="*/ 68750 w 123638"/>
                  <a:gd name="connsiteY13" fmla="*/ 44663 h 166086"/>
                  <a:gd name="connsiteX14" fmla="*/ 62188 w 123638"/>
                  <a:gd name="connsiteY14" fmla="*/ 135163 h 166086"/>
                  <a:gd name="connsiteX15" fmla="*/ 32947 w 123638"/>
                  <a:gd name="connsiteY15" fmla="*/ 105552 h 166086"/>
                  <a:gd name="connsiteX16" fmla="*/ 62188 w 123638"/>
                  <a:gd name="connsiteY16" fmla="*/ 76174 h 166086"/>
                  <a:gd name="connsiteX17" fmla="*/ 90965 w 123638"/>
                  <a:gd name="connsiteY17" fmla="*/ 105552 h 166086"/>
                  <a:gd name="connsiteX18" fmla="*/ 62188 w 123638"/>
                  <a:gd name="connsiteY18" fmla="*/ 135163 h 166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23638" h="166086">
                    <a:moveTo>
                      <a:pt x="68737" y="44663"/>
                    </a:moveTo>
                    <a:cubicBezTo>
                      <a:pt x="53535" y="44663"/>
                      <a:pt x="40889" y="51252"/>
                      <a:pt x="32947" y="62052"/>
                    </a:cubicBezTo>
                    <a:lnTo>
                      <a:pt x="32947" y="3103"/>
                    </a:lnTo>
                    <a:cubicBezTo>
                      <a:pt x="32947" y="1394"/>
                      <a:pt x="31552" y="0"/>
                      <a:pt x="29843" y="0"/>
                    </a:cubicBezTo>
                    <a:lnTo>
                      <a:pt x="3103" y="0"/>
                    </a:lnTo>
                    <a:cubicBezTo>
                      <a:pt x="1394" y="0"/>
                      <a:pt x="0" y="1394"/>
                      <a:pt x="0" y="3103"/>
                    </a:cubicBezTo>
                    <a:lnTo>
                      <a:pt x="0" y="160632"/>
                    </a:lnTo>
                    <a:cubicBezTo>
                      <a:pt x="0" y="162341"/>
                      <a:pt x="1394" y="163735"/>
                      <a:pt x="3103" y="163735"/>
                    </a:cubicBezTo>
                    <a:lnTo>
                      <a:pt x="29843" y="163735"/>
                    </a:lnTo>
                    <a:cubicBezTo>
                      <a:pt x="31552" y="163735"/>
                      <a:pt x="32947" y="162341"/>
                      <a:pt x="32947" y="160632"/>
                    </a:cubicBezTo>
                    <a:lnTo>
                      <a:pt x="32947" y="149025"/>
                    </a:lnTo>
                    <a:cubicBezTo>
                      <a:pt x="40903" y="159839"/>
                      <a:pt x="53535" y="166087"/>
                      <a:pt x="68983" y="166087"/>
                    </a:cubicBezTo>
                    <a:cubicBezTo>
                      <a:pt x="101505" y="166087"/>
                      <a:pt x="123638" y="139852"/>
                      <a:pt x="123638" y="105539"/>
                    </a:cubicBezTo>
                    <a:cubicBezTo>
                      <a:pt x="123638" y="71225"/>
                      <a:pt x="101505" y="44663"/>
                      <a:pt x="68750" y="44663"/>
                    </a:cubicBezTo>
                    <a:close/>
                    <a:moveTo>
                      <a:pt x="62188" y="135163"/>
                    </a:moveTo>
                    <a:cubicBezTo>
                      <a:pt x="45346" y="135163"/>
                      <a:pt x="32947" y="121533"/>
                      <a:pt x="32947" y="105552"/>
                    </a:cubicBezTo>
                    <a:cubicBezTo>
                      <a:pt x="32947" y="89571"/>
                      <a:pt x="45346" y="76174"/>
                      <a:pt x="62188" y="76174"/>
                    </a:cubicBezTo>
                    <a:cubicBezTo>
                      <a:pt x="79031" y="76174"/>
                      <a:pt x="90965" y="89571"/>
                      <a:pt x="90965" y="105552"/>
                    </a:cubicBezTo>
                    <a:cubicBezTo>
                      <a:pt x="90965" y="121533"/>
                      <a:pt x="78798" y="135163"/>
                      <a:pt x="62188" y="13516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D4F08EF7-F666-1D0D-8E48-12CE960F8A29}"/>
                  </a:ext>
                </a:extLst>
              </p:cNvPr>
              <p:cNvSpPr/>
              <p:nvPr/>
            </p:nvSpPr>
            <p:spPr>
              <a:xfrm>
                <a:off x="11359421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96BC6AFA-FBCC-6642-F995-39A554264F35}"/>
                  </a:ext>
                </a:extLst>
              </p:cNvPr>
              <p:cNvSpPr/>
              <p:nvPr/>
            </p:nvSpPr>
            <p:spPr>
              <a:xfrm>
                <a:off x="11662542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F76DC050-5214-5222-19E3-A3CB6EED3859}"/>
                  </a:ext>
                </a:extLst>
              </p:cNvPr>
              <p:cNvSpPr/>
              <p:nvPr/>
            </p:nvSpPr>
            <p:spPr>
              <a:xfrm>
                <a:off x="11122821" y="6519528"/>
                <a:ext cx="32932" cy="116680"/>
              </a:xfrm>
              <a:custGeom>
                <a:avLst/>
                <a:gdLst>
                  <a:gd name="connsiteX0" fmla="*/ 29843 w 32932"/>
                  <a:gd name="connsiteY0" fmla="*/ 116680 h 116680"/>
                  <a:gd name="connsiteX1" fmla="*/ 3103 w 32932"/>
                  <a:gd name="connsiteY1" fmla="*/ 116680 h 116680"/>
                  <a:gd name="connsiteX2" fmla="*/ 0 w 32932"/>
                  <a:gd name="connsiteY2" fmla="*/ 113577 h 116680"/>
                  <a:gd name="connsiteX3" fmla="*/ 0 w 32932"/>
                  <a:gd name="connsiteY3" fmla="*/ 30554 h 116680"/>
                  <a:gd name="connsiteX4" fmla="*/ 1859 w 32932"/>
                  <a:gd name="connsiteY4" fmla="*/ 26125 h 116680"/>
                  <a:gd name="connsiteX5" fmla="*/ 27670 w 32932"/>
                  <a:gd name="connsiteY5" fmla="*/ 888 h 116680"/>
                  <a:gd name="connsiteX6" fmla="*/ 32933 w 32932"/>
                  <a:gd name="connsiteY6" fmla="*/ 3103 h 116680"/>
                  <a:gd name="connsiteX7" fmla="*/ 32933 w 32932"/>
                  <a:gd name="connsiteY7" fmla="*/ 113577 h 116680"/>
                  <a:gd name="connsiteX8" fmla="*/ 29830 w 32932"/>
                  <a:gd name="connsiteY8" fmla="*/ 116680 h 116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932" h="116680">
                    <a:moveTo>
                      <a:pt x="29843" y="116680"/>
                    </a:moveTo>
                    <a:lnTo>
                      <a:pt x="3103" y="116680"/>
                    </a:lnTo>
                    <a:cubicBezTo>
                      <a:pt x="1394" y="116680"/>
                      <a:pt x="0" y="115286"/>
                      <a:pt x="0" y="113577"/>
                    </a:cubicBezTo>
                    <a:lnTo>
                      <a:pt x="0" y="30554"/>
                    </a:lnTo>
                    <a:cubicBezTo>
                      <a:pt x="0" y="28886"/>
                      <a:pt x="670" y="27287"/>
                      <a:pt x="1859" y="26125"/>
                    </a:cubicBezTo>
                    <a:lnTo>
                      <a:pt x="27670" y="888"/>
                    </a:lnTo>
                    <a:cubicBezTo>
                      <a:pt x="29638" y="-1026"/>
                      <a:pt x="32933" y="355"/>
                      <a:pt x="32933" y="3103"/>
                    </a:cubicBezTo>
                    <a:lnTo>
                      <a:pt x="32933" y="113577"/>
                    </a:lnTo>
                    <a:cubicBezTo>
                      <a:pt x="32933" y="115286"/>
                      <a:pt x="31538" y="116680"/>
                      <a:pt x="29830" y="11668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E532AB05-B448-D50E-E665-86F2A2C38B49}"/>
                  </a:ext>
                </a:extLst>
              </p:cNvPr>
              <p:cNvSpPr/>
              <p:nvPr/>
            </p:nvSpPr>
            <p:spPr>
              <a:xfrm>
                <a:off x="11173074" y="6517105"/>
                <a:ext cx="107493" cy="119116"/>
              </a:xfrm>
              <a:custGeom>
                <a:avLst/>
                <a:gdLst>
                  <a:gd name="connsiteX0" fmla="*/ 107480 w 107493"/>
                  <a:gd name="connsiteY0" fmla="*/ 41877 h 119116"/>
                  <a:gd name="connsiteX1" fmla="*/ 65237 w 107493"/>
                  <a:gd name="connsiteY1" fmla="*/ 3 h 119116"/>
                  <a:gd name="connsiteX2" fmla="*/ 32947 w 107493"/>
                  <a:gd name="connsiteY2" fmla="*/ 17474 h 119116"/>
                  <a:gd name="connsiteX3" fmla="*/ 32947 w 107493"/>
                  <a:gd name="connsiteY3" fmla="*/ 5581 h 119116"/>
                  <a:gd name="connsiteX4" fmla="*/ 29843 w 107493"/>
                  <a:gd name="connsiteY4" fmla="*/ 2478 h 119116"/>
                  <a:gd name="connsiteX5" fmla="*/ 3103 w 107493"/>
                  <a:gd name="connsiteY5" fmla="*/ 2478 h 119116"/>
                  <a:gd name="connsiteX6" fmla="*/ 0 w 107493"/>
                  <a:gd name="connsiteY6" fmla="*/ 5581 h 119116"/>
                  <a:gd name="connsiteX7" fmla="*/ 0 w 107493"/>
                  <a:gd name="connsiteY7" fmla="*/ 116000 h 119116"/>
                  <a:gd name="connsiteX8" fmla="*/ 3103 w 107493"/>
                  <a:gd name="connsiteY8" fmla="*/ 119103 h 119116"/>
                  <a:gd name="connsiteX9" fmla="*/ 29843 w 107493"/>
                  <a:gd name="connsiteY9" fmla="*/ 119103 h 119116"/>
                  <a:gd name="connsiteX10" fmla="*/ 32947 w 107493"/>
                  <a:gd name="connsiteY10" fmla="*/ 116000 h 119116"/>
                  <a:gd name="connsiteX11" fmla="*/ 32947 w 107493"/>
                  <a:gd name="connsiteY11" fmla="*/ 51788 h 119116"/>
                  <a:gd name="connsiteX12" fmla="*/ 53740 w 107493"/>
                  <a:gd name="connsiteY12" fmla="*/ 31747 h 119116"/>
                  <a:gd name="connsiteX13" fmla="*/ 74547 w 107493"/>
                  <a:gd name="connsiteY13" fmla="*/ 53210 h 119116"/>
                  <a:gd name="connsiteX14" fmla="*/ 74547 w 107493"/>
                  <a:gd name="connsiteY14" fmla="*/ 116014 h 119116"/>
                  <a:gd name="connsiteX15" fmla="*/ 77650 w 107493"/>
                  <a:gd name="connsiteY15" fmla="*/ 119117 h 119116"/>
                  <a:gd name="connsiteX16" fmla="*/ 104390 w 107493"/>
                  <a:gd name="connsiteY16" fmla="*/ 119117 h 119116"/>
                  <a:gd name="connsiteX17" fmla="*/ 107493 w 107493"/>
                  <a:gd name="connsiteY17" fmla="*/ 116014 h 119116"/>
                  <a:gd name="connsiteX18" fmla="*/ 107493 w 107493"/>
                  <a:gd name="connsiteY18" fmla="*/ 41890 h 119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7493" h="119116">
                    <a:moveTo>
                      <a:pt x="107480" y="41877"/>
                    </a:moveTo>
                    <a:cubicBezTo>
                      <a:pt x="107480" y="19252"/>
                      <a:pt x="88792" y="277"/>
                      <a:pt x="65237" y="3"/>
                    </a:cubicBezTo>
                    <a:cubicBezTo>
                      <a:pt x="49912" y="-175"/>
                      <a:pt x="39563" y="7331"/>
                      <a:pt x="32947" y="17474"/>
                    </a:cubicBezTo>
                    <a:lnTo>
                      <a:pt x="32947" y="5581"/>
                    </a:lnTo>
                    <a:cubicBezTo>
                      <a:pt x="32947" y="3872"/>
                      <a:pt x="31552" y="2478"/>
                      <a:pt x="29843" y="2478"/>
                    </a:cubicBezTo>
                    <a:lnTo>
                      <a:pt x="3103" y="2478"/>
                    </a:lnTo>
                    <a:cubicBezTo>
                      <a:pt x="1394" y="2478"/>
                      <a:pt x="0" y="3872"/>
                      <a:pt x="0" y="5581"/>
                    </a:cubicBezTo>
                    <a:lnTo>
                      <a:pt x="0" y="116000"/>
                    </a:lnTo>
                    <a:cubicBezTo>
                      <a:pt x="0" y="117709"/>
                      <a:pt x="1394" y="119103"/>
                      <a:pt x="3103" y="119103"/>
                    </a:cubicBezTo>
                    <a:lnTo>
                      <a:pt x="29843" y="119103"/>
                    </a:lnTo>
                    <a:cubicBezTo>
                      <a:pt x="31552" y="119103"/>
                      <a:pt x="32947" y="117709"/>
                      <a:pt x="32947" y="116000"/>
                    </a:cubicBezTo>
                    <a:lnTo>
                      <a:pt x="32947" y="51788"/>
                    </a:lnTo>
                    <a:cubicBezTo>
                      <a:pt x="33685" y="39430"/>
                      <a:pt x="41518" y="31747"/>
                      <a:pt x="53740" y="31747"/>
                    </a:cubicBezTo>
                    <a:cubicBezTo>
                      <a:pt x="65961" y="31747"/>
                      <a:pt x="74547" y="40373"/>
                      <a:pt x="74547" y="53210"/>
                    </a:cubicBezTo>
                    <a:lnTo>
                      <a:pt x="74547" y="116014"/>
                    </a:lnTo>
                    <a:cubicBezTo>
                      <a:pt x="74547" y="117722"/>
                      <a:pt x="75941" y="119117"/>
                      <a:pt x="77650" y="119117"/>
                    </a:cubicBezTo>
                    <a:lnTo>
                      <a:pt x="104390" y="119117"/>
                    </a:lnTo>
                    <a:cubicBezTo>
                      <a:pt x="106099" y="119117"/>
                      <a:pt x="107493" y="117722"/>
                      <a:pt x="107493" y="116014"/>
                    </a:cubicBezTo>
                    <a:lnTo>
                      <a:pt x="107493" y="41890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F58E669F-C29D-76F8-9AAD-A4E101D32977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579876" y="6283338"/>
            <a:ext cx="4869159" cy="384175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indent="0">
              <a:buNone/>
              <a:defRPr lang="en-US" sz="1300" b="0" i="0" dirty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US"/>
              <a:t>Click to edit Master text style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BD9FF75-13AF-F411-84B4-D649ABB216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6371076" y="6283338"/>
            <a:ext cx="4440643" cy="384175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indent="0">
              <a:buNone/>
              <a:defRPr lang="en-US" sz="1300" b="0" i="0" dirty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430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705AE6C4-7DCE-54B1-9439-45A1D9771429}"/>
              </a:ext>
            </a:extLst>
          </p:cNvPr>
          <p:cNvGrpSpPr/>
          <p:nvPr userDrawn="1"/>
        </p:nvGrpSpPr>
        <p:grpSpPr>
          <a:xfrm>
            <a:off x="11122821" y="6472473"/>
            <a:ext cx="799629" cy="166100"/>
            <a:chOff x="11122821" y="6472473"/>
            <a:chExt cx="799629" cy="166100"/>
          </a:xfrm>
        </p:grpSpPr>
        <p:sp>
          <p:nvSpPr>
            <p:cNvPr id="10" name="Freeform: Shape 11">
              <a:extLst>
                <a:ext uri="{FF2B5EF4-FFF2-40B4-BE49-F238E27FC236}">
                  <a16:creationId xmlns:a16="http://schemas.microsoft.com/office/drawing/2014/main" id="{6058ECA5-4E71-A3F2-D8F1-59816032D359}"/>
                </a:ext>
              </a:extLst>
            </p:cNvPr>
            <p:cNvSpPr/>
            <p:nvPr/>
          </p:nvSpPr>
          <p:spPr>
            <a:xfrm rot="18900000">
              <a:off x="11134957" y="6473485"/>
              <a:ext cx="35147" cy="35147"/>
            </a:xfrm>
            <a:custGeom>
              <a:avLst/>
              <a:gdLst>
                <a:gd name="connsiteX0" fmla="*/ 32044 w 35147"/>
                <a:gd name="connsiteY0" fmla="*/ 0 h 35147"/>
                <a:gd name="connsiteX1" fmla="*/ 35148 w 35147"/>
                <a:gd name="connsiteY1" fmla="*/ 3103 h 35147"/>
                <a:gd name="connsiteX2" fmla="*/ 35148 w 35147"/>
                <a:gd name="connsiteY2" fmla="*/ 32044 h 35147"/>
                <a:gd name="connsiteX3" fmla="*/ 32044 w 35147"/>
                <a:gd name="connsiteY3" fmla="*/ 35148 h 35147"/>
                <a:gd name="connsiteX4" fmla="*/ 3103 w 35147"/>
                <a:gd name="connsiteY4" fmla="*/ 35148 h 35147"/>
                <a:gd name="connsiteX5" fmla="*/ 0 w 35147"/>
                <a:gd name="connsiteY5" fmla="*/ 32044 h 35147"/>
                <a:gd name="connsiteX6" fmla="*/ 0 w 35147"/>
                <a:gd name="connsiteY6" fmla="*/ 3103 h 35147"/>
                <a:gd name="connsiteX7" fmla="*/ 3103 w 35147"/>
                <a:gd name="connsiteY7" fmla="*/ 0 h 35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147" h="35147">
                  <a:moveTo>
                    <a:pt x="32044" y="0"/>
                  </a:moveTo>
                  <a:cubicBezTo>
                    <a:pt x="33758" y="0"/>
                    <a:pt x="35148" y="1389"/>
                    <a:pt x="35148" y="3103"/>
                  </a:cubicBezTo>
                  <a:lnTo>
                    <a:pt x="35148" y="32044"/>
                  </a:lnTo>
                  <a:cubicBezTo>
                    <a:pt x="35148" y="33758"/>
                    <a:pt x="33758" y="35148"/>
                    <a:pt x="32044" y="35148"/>
                  </a:cubicBezTo>
                  <a:lnTo>
                    <a:pt x="3103" y="35148"/>
                  </a:lnTo>
                  <a:cubicBezTo>
                    <a:pt x="1389" y="35148"/>
                    <a:pt x="0" y="33758"/>
                    <a:pt x="0" y="32044"/>
                  </a:cubicBezTo>
                  <a:lnTo>
                    <a:pt x="0" y="3103"/>
                  </a:lnTo>
                  <a:cubicBezTo>
                    <a:pt x="0" y="1389"/>
                    <a:pt x="1389" y="0"/>
                    <a:pt x="3103" y="0"/>
                  </a:cubicBezTo>
                  <a:close/>
                </a:path>
              </a:pathLst>
            </a:custGeom>
            <a:solidFill>
              <a:srgbClr val="00BD4D"/>
            </a:solidFill>
            <a:ln w="135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D696D05F-90BA-F5FD-9D89-E4FBCAF8E8FC}"/>
                </a:ext>
              </a:extLst>
            </p:cNvPr>
            <p:cNvGrpSpPr/>
            <p:nvPr/>
          </p:nvGrpSpPr>
          <p:grpSpPr>
            <a:xfrm>
              <a:off x="11122821" y="6472473"/>
              <a:ext cx="799629" cy="166100"/>
              <a:chOff x="11122821" y="6472473"/>
              <a:chExt cx="799629" cy="166100"/>
            </a:xfrm>
            <a:solidFill>
              <a:schemeClr val="bg1"/>
            </a:solidFill>
          </p:grpSpPr>
          <p:sp>
            <p:nvSpPr>
              <p:cNvPr id="13" name="Freeform: Shape 13">
                <a:extLst>
                  <a:ext uri="{FF2B5EF4-FFF2-40B4-BE49-F238E27FC236}">
                    <a16:creationId xmlns:a16="http://schemas.microsoft.com/office/drawing/2014/main" id="{BD99C33B-43DF-784A-DCB1-465899EA2593}"/>
                  </a:ext>
                </a:extLst>
              </p:cNvPr>
              <p:cNvSpPr/>
              <p:nvPr/>
            </p:nvSpPr>
            <p:spPr>
              <a:xfrm>
                <a:off x="11774281" y="6519597"/>
                <a:ext cx="119385" cy="116611"/>
              </a:xfrm>
              <a:custGeom>
                <a:avLst/>
                <a:gdLst>
                  <a:gd name="connsiteX0" fmla="*/ 82523 w 119385"/>
                  <a:gd name="connsiteY0" fmla="*/ 58306 h 116611"/>
                  <a:gd name="connsiteX1" fmla="*/ 118887 w 119385"/>
                  <a:gd name="connsiteY1" fmla="*/ 112265 h 116611"/>
                  <a:gd name="connsiteX2" fmla="*/ 116385 w 119385"/>
                  <a:gd name="connsiteY2" fmla="*/ 116612 h 116611"/>
                  <a:gd name="connsiteX3" fmla="*/ 85831 w 119385"/>
                  <a:gd name="connsiteY3" fmla="*/ 116612 h 116611"/>
                  <a:gd name="connsiteX4" fmla="*/ 80718 w 119385"/>
                  <a:gd name="connsiteY4" fmla="*/ 113919 h 116611"/>
                  <a:gd name="connsiteX5" fmla="*/ 59693 w 119385"/>
                  <a:gd name="connsiteY5" fmla="*/ 81751 h 116611"/>
                  <a:gd name="connsiteX6" fmla="*/ 38667 w 119385"/>
                  <a:gd name="connsiteY6" fmla="*/ 113919 h 116611"/>
                  <a:gd name="connsiteX7" fmla="*/ 33554 w 119385"/>
                  <a:gd name="connsiteY7" fmla="*/ 116612 h 116611"/>
                  <a:gd name="connsiteX8" fmla="*/ 3000 w 119385"/>
                  <a:gd name="connsiteY8" fmla="*/ 116612 h 116611"/>
                  <a:gd name="connsiteX9" fmla="*/ 498 w 119385"/>
                  <a:gd name="connsiteY9" fmla="*/ 112265 h 116611"/>
                  <a:gd name="connsiteX10" fmla="*/ 36753 w 119385"/>
                  <a:gd name="connsiteY10" fmla="*/ 58306 h 116611"/>
                  <a:gd name="connsiteX11" fmla="*/ 498 w 119385"/>
                  <a:gd name="connsiteY11" fmla="*/ 4347 h 116611"/>
                  <a:gd name="connsiteX12" fmla="*/ 3000 w 119385"/>
                  <a:gd name="connsiteY12" fmla="*/ 0 h 116611"/>
                  <a:gd name="connsiteX13" fmla="*/ 34853 w 119385"/>
                  <a:gd name="connsiteY13" fmla="*/ 0 h 116611"/>
                  <a:gd name="connsiteX14" fmla="*/ 37778 w 119385"/>
                  <a:gd name="connsiteY14" fmla="*/ 1449 h 116611"/>
                  <a:gd name="connsiteX15" fmla="*/ 59679 w 119385"/>
                  <a:gd name="connsiteY15" fmla="*/ 34806 h 116611"/>
                  <a:gd name="connsiteX16" fmla="*/ 80240 w 119385"/>
                  <a:gd name="connsiteY16" fmla="*/ 1463 h 116611"/>
                  <a:gd name="connsiteX17" fmla="*/ 83165 w 119385"/>
                  <a:gd name="connsiteY17" fmla="*/ 0 h 116611"/>
                  <a:gd name="connsiteX18" fmla="*/ 115333 w 119385"/>
                  <a:gd name="connsiteY18" fmla="*/ 0 h 116611"/>
                  <a:gd name="connsiteX19" fmla="*/ 117834 w 119385"/>
                  <a:gd name="connsiteY19" fmla="*/ 4334 h 116611"/>
                  <a:gd name="connsiteX20" fmla="*/ 82495 w 119385"/>
                  <a:gd name="connsiteY20" fmla="*/ 58306 h 116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19385" h="116611">
                    <a:moveTo>
                      <a:pt x="82523" y="58306"/>
                    </a:moveTo>
                    <a:lnTo>
                      <a:pt x="118887" y="112265"/>
                    </a:lnTo>
                    <a:cubicBezTo>
                      <a:pt x="120199" y="114124"/>
                      <a:pt x="118764" y="116612"/>
                      <a:pt x="116385" y="116612"/>
                    </a:cubicBezTo>
                    <a:lnTo>
                      <a:pt x="85831" y="116612"/>
                    </a:lnTo>
                    <a:cubicBezTo>
                      <a:pt x="83794" y="116612"/>
                      <a:pt x="81880" y="115600"/>
                      <a:pt x="80718" y="113919"/>
                    </a:cubicBezTo>
                    <a:lnTo>
                      <a:pt x="59693" y="81751"/>
                    </a:lnTo>
                    <a:lnTo>
                      <a:pt x="38667" y="113919"/>
                    </a:lnTo>
                    <a:cubicBezTo>
                      <a:pt x="37505" y="115600"/>
                      <a:pt x="35605" y="116612"/>
                      <a:pt x="33554" y="116612"/>
                    </a:cubicBezTo>
                    <a:lnTo>
                      <a:pt x="3000" y="116612"/>
                    </a:lnTo>
                    <a:cubicBezTo>
                      <a:pt x="621" y="116612"/>
                      <a:pt x="-814" y="114138"/>
                      <a:pt x="498" y="112265"/>
                    </a:cubicBezTo>
                    <a:lnTo>
                      <a:pt x="36753" y="58306"/>
                    </a:lnTo>
                    <a:lnTo>
                      <a:pt x="498" y="4347"/>
                    </a:lnTo>
                    <a:cubicBezTo>
                      <a:pt x="-814" y="2488"/>
                      <a:pt x="621" y="0"/>
                      <a:pt x="3000" y="0"/>
                    </a:cubicBezTo>
                    <a:lnTo>
                      <a:pt x="34853" y="0"/>
                    </a:lnTo>
                    <a:cubicBezTo>
                      <a:pt x="36042" y="0"/>
                      <a:pt x="37149" y="547"/>
                      <a:pt x="37778" y="1449"/>
                    </a:cubicBezTo>
                    <a:lnTo>
                      <a:pt x="59679" y="34806"/>
                    </a:lnTo>
                    <a:lnTo>
                      <a:pt x="80240" y="1463"/>
                    </a:lnTo>
                    <a:cubicBezTo>
                      <a:pt x="80855" y="561"/>
                      <a:pt x="81976" y="0"/>
                      <a:pt x="83165" y="0"/>
                    </a:cubicBezTo>
                    <a:lnTo>
                      <a:pt x="115333" y="0"/>
                    </a:lnTo>
                    <a:cubicBezTo>
                      <a:pt x="117711" y="0"/>
                      <a:pt x="119133" y="2474"/>
                      <a:pt x="117834" y="4334"/>
                    </a:cubicBezTo>
                    <a:lnTo>
                      <a:pt x="82495" y="58306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" name="Freeform: Shape 14">
                <a:extLst>
                  <a:ext uri="{FF2B5EF4-FFF2-40B4-BE49-F238E27FC236}">
                    <a16:creationId xmlns:a16="http://schemas.microsoft.com/office/drawing/2014/main" id="{73FADFB2-28E9-3D51-2375-5DBFBC25ACA7}"/>
                  </a:ext>
                </a:extLst>
              </p:cNvPr>
              <p:cNvSpPr/>
              <p:nvPr/>
            </p:nvSpPr>
            <p:spPr>
              <a:xfrm>
                <a:off x="11284928" y="6472473"/>
                <a:ext cx="78825" cy="163762"/>
              </a:xfrm>
              <a:custGeom>
                <a:avLst/>
                <a:gdLst>
                  <a:gd name="connsiteX0" fmla="*/ 75722 w 78825"/>
                  <a:gd name="connsiteY0" fmla="*/ 14 h 163762"/>
                  <a:gd name="connsiteX1" fmla="*/ 50377 w 78825"/>
                  <a:gd name="connsiteY1" fmla="*/ 14 h 163762"/>
                  <a:gd name="connsiteX2" fmla="*/ 43801 w 78825"/>
                  <a:gd name="connsiteY2" fmla="*/ 2734 h 163762"/>
                  <a:gd name="connsiteX3" fmla="*/ 19987 w 78825"/>
                  <a:gd name="connsiteY3" fmla="*/ 26549 h 163762"/>
                  <a:gd name="connsiteX4" fmla="*/ 17266 w 78825"/>
                  <a:gd name="connsiteY4" fmla="*/ 33124 h 163762"/>
                  <a:gd name="connsiteX5" fmla="*/ 17266 w 78825"/>
                  <a:gd name="connsiteY5" fmla="*/ 51867 h 163762"/>
                  <a:gd name="connsiteX6" fmla="*/ 3049 w 78825"/>
                  <a:gd name="connsiteY6" fmla="*/ 51867 h 163762"/>
                  <a:gd name="connsiteX7" fmla="*/ 0 w 78825"/>
                  <a:gd name="connsiteY7" fmla="*/ 54916 h 163762"/>
                  <a:gd name="connsiteX8" fmla="*/ 0 w 78825"/>
                  <a:gd name="connsiteY8" fmla="*/ 75955 h 163762"/>
                  <a:gd name="connsiteX9" fmla="*/ 3049 w 78825"/>
                  <a:gd name="connsiteY9" fmla="*/ 79004 h 163762"/>
                  <a:gd name="connsiteX10" fmla="*/ 17266 w 78825"/>
                  <a:gd name="connsiteY10" fmla="*/ 79004 h 163762"/>
                  <a:gd name="connsiteX11" fmla="*/ 17266 w 78825"/>
                  <a:gd name="connsiteY11" fmla="*/ 160659 h 163762"/>
                  <a:gd name="connsiteX12" fmla="*/ 20369 w 78825"/>
                  <a:gd name="connsiteY12" fmla="*/ 163763 h 163762"/>
                  <a:gd name="connsiteX13" fmla="*/ 47109 w 78825"/>
                  <a:gd name="connsiteY13" fmla="*/ 163763 h 163762"/>
                  <a:gd name="connsiteX14" fmla="*/ 50213 w 78825"/>
                  <a:gd name="connsiteY14" fmla="*/ 160659 h 163762"/>
                  <a:gd name="connsiteX15" fmla="*/ 50213 w 78825"/>
                  <a:gd name="connsiteY15" fmla="*/ 78990 h 163762"/>
                  <a:gd name="connsiteX16" fmla="*/ 71443 w 78825"/>
                  <a:gd name="connsiteY16" fmla="*/ 78990 h 163762"/>
                  <a:gd name="connsiteX17" fmla="*/ 74492 w 78825"/>
                  <a:gd name="connsiteY17" fmla="*/ 75941 h 163762"/>
                  <a:gd name="connsiteX18" fmla="*/ 74492 w 78825"/>
                  <a:gd name="connsiteY18" fmla="*/ 54902 h 163762"/>
                  <a:gd name="connsiteX19" fmla="*/ 71443 w 78825"/>
                  <a:gd name="connsiteY19" fmla="*/ 51853 h 163762"/>
                  <a:gd name="connsiteX20" fmla="*/ 50213 w 78825"/>
                  <a:gd name="connsiteY20" fmla="*/ 51853 h 163762"/>
                  <a:gd name="connsiteX21" fmla="*/ 50213 w 78825"/>
                  <a:gd name="connsiteY21" fmla="*/ 38565 h 163762"/>
                  <a:gd name="connsiteX22" fmla="*/ 59509 w 78825"/>
                  <a:gd name="connsiteY22" fmla="*/ 29269 h 163762"/>
                  <a:gd name="connsiteX23" fmla="*/ 75722 w 78825"/>
                  <a:gd name="connsiteY23" fmla="*/ 29269 h 163762"/>
                  <a:gd name="connsiteX24" fmla="*/ 78826 w 78825"/>
                  <a:gd name="connsiteY24" fmla="*/ 26166 h 163762"/>
                  <a:gd name="connsiteX25" fmla="*/ 78826 w 78825"/>
                  <a:gd name="connsiteY25" fmla="*/ 3103 h 163762"/>
                  <a:gd name="connsiteX26" fmla="*/ 75722 w 78825"/>
                  <a:gd name="connsiteY26" fmla="*/ 0 h 163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78825" h="163762">
                    <a:moveTo>
                      <a:pt x="75722" y="14"/>
                    </a:moveTo>
                    <a:lnTo>
                      <a:pt x="50377" y="14"/>
                    </a:lnTo>
                    <a:cubicBezTo>
                      <a:pt x="47916" y="14"/>
                      <a:pt x="45551" y="998"/>
                      <a:pt x="43801" y="2734"/>
                    </a:cubicBezTo>
                    <a:lnTo>
                      <a:pt x="19987" y="26549"/>
                    </a:lnTo>
                    <a:cubicBezTo>
                      <a:pt x="18237" y="28299"/>
                      <a:pt x="17266" y="30664"/>
                      <a:pt x="17266" y="33124"/>
                    </a:cubicBezTo>
                    <a:lnTo>
                      <a:pt x="17266" y="51867"/>
                    </a:lnTo>
                    <a:lnTo>
                      <a:pt x="3049" y="51867"/>
                    </a:lnTo>
                    <a:cubicBezTo>
                      <a:pt x="1367" y="51867"/>
                      <a:pt x="0" y="53234"/>
                      <a:pt x="0" y="54916"/>
                    </a:cubicBezTo>
                    <a:lnTo>
                      <a:pt x="0" y="75955"/>
                    </a:lnTo>
                    <a:cubicBezTo>
                      <a:pt x="0" y="77636"/>
                      <a:pt x="1367" y="79004"/>
                      <a:pt x="3049" y="79004"/>
                    </a:cubicBezTo>
                    <a:lnTo>
                      <a:pt x="17266" y="79004"/>
                    </a:lnTo>
                    <a:lnTo>
                      <a:pt x="17266" y="160659"/>
                    </a:lnTo>
                    <a:cubicBezTo>
                      <a:pt x="17266" y="162368"/>
                      <a:pt x="18661" y="163763"/>
                      <a:pt x="20369" y="163763"/>
                    </a:cubicBezTo>
                    <a:lnTo>
                      <a:pt x="47109" y="163763"/>
                    </a:lnTo>
                    <a:cubicBezTo>
                      <a:pt x="48818" y="163763"/>
                      <a:pt x="50213" y="162368"/>
                      <a:pt x="50213" y="160659"/>
                    </a:cubicBezTo>
                    <a:lnTo>
                      <a:pt x="50213" y="78990"/>
                    </a:lnTo>
                    <a:lnTo>
                      <a:pt x="71443" y="78990"/>
                    </a:lnTo>
                    <a:cubicBezTo>
                      <a:pt x="73125" y="78990"/>
                      <a:pt x="74492" y="77623"/>
                      <a:pt x="74492" y="75941"/>
                    </a:cubicBezTo>
                    <a:lnTo>
                      <a:pt x="74492" y="54902"/>
                    </a:lnTo>
                    <a:cubicBezTo>
                      <a:pt x="74492" y="53220"/>
                      <a:pt x="73125" y="51853"/>
                      <a:pt x="71443" y="51853"/>
                    </a:cubicBezTo>
                    <a:lnTo>
                      <a:pt x="50213" y="51853"/>
                    </a:lnTo>
                    <a:lnTo>
                      <a:pt x="50213" y="38565"/>
                    </a:lnTo>
                    <a:cubicBezTo>
                      <a:pt x="50213" y="33425"/>
                      <a:pt x="54382" y="29269"/>
                      <a:pt x="59509" y="29269"/>
                    </a:cubicBezTo>
                    <a:lnTo>
                      <a:pt x="75722" y="29269"/>
                    </a:lnTo>
                    <a:cubicBezTo>
                      <a:pt x="77431" y="29269"/>
                      <a:pt x="78826" y="27875"/>
                      <a:pt x="78826" y="26166"/>
                    </a:cubicBezTo>
                    <a:lnTo>
                      <a:pt x="78826" y="3103"/>
                    </a:lnTo>
                    <a:cubicBezTo>
                      <a:pt x="78826" y="1394"/>
                      <a:pt x="77431" y="0"/>
                      <a:pt x="75722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" name="Freeform: Shape 15">
                <a:extLst>
                  <a:ext uri="{FF2B5EF4-FFF2-40B4-BE49-F238E27FC236}">
                    <a16:creationId xmlns:a16="http://schemas.microsoft.com/office/drawing/2014/main" id="{B8BBD8C4-501D-BBD3-FF0E-F09CD020461A}"/>
                  </a:ext>
                </a:extLst>
              </p:cNvPr>
              <p:cNvSpPr/>
              <p:nvPr/>
            </p:nvSpPr>
            <p:spPr>
              <a:xfrm>
                <a:off x="11896791" y="6612367"/>
                <a:ext cx="25659" cy="25660"/>
              </a:xfrm>
              <a:custGeom>
                <a:avLst/>
                <a:gdLst>
                  <a:gd name="connsiteX0" fmla="*/ 25660 w 25659"/>
                  <a:gd name="connsiteY0" fmla="*/ 12810 h 25660"/>
                  <a:gd name="connsiteX1" fmla="*/ 12782 w 25659"/>
                  <a:gd name="connsiteY1" fmla="*/ 25660 h 25660"/>
                  <a:gd name="connsiteX2" fmla="*/ 0 w 25659"/>
                  <a:gd name="connsiteY2" fmla="*/ 12810 h 25660"/>
                  <a:gd name="connsiteX3" fmla="*/ 12823 w 25659"/>
                  <a:gd name="connsiteY3" fmla="*/ 0 h 25660"/>
                  <a:gd name="connsiteX4" fmla="*/ 25646 w 25659"/>
                  <a:gd name="connsiteY4" fmla="*/ 12810 h 25660"/>
                  <a:gd name="connsiteX5" fmla="*/ 23691 w 25659"/>
                  <a:gd name="connsiteY5" fmla="*/ 12864 h 25660"/>
                  <a:gd name="connsiteX6" fmla="*/ 12837 w 25659"/>
                  <a:gd name="connsiteY6" fmla="*/ 1832 h 25660"/>
                  <a:gd name="connsiteX7" fmla="*/ 1982 w 25659"/>
                  <a:gd name="connsiteY7" fmla="*/ 12851 h 25660"/>
                  <a:gd name="connsiteX8" fmla="*/ 12782 w 25659"/>
                  <a:gd name="connsiteY8" fmla="*/ 23856 h 25660"/>
                  <a:gd name="connsiteX9" fmla="*/ 23691 w 25659"/>
                  <a:gd name="connsiteY9" fmla="*/ 12864 h 25660"/>
                  <a:gd name="connsiteX10" fmla="*/ 15585 w 25659"/>
                  <a:gd name="connsiteY10" fmla="*/ 14888 h 25660"/>
                  <a:gd name="connsiteX11" fmla="*/ 18811 w 25659"/>
                  <a:gd name="connsiteY11" fmla="*/ 19905 h 25660"/>
                  <a:gd name="connsiteX12" fmla="*/ 16678 w 25659"/>
                  <a:gd name="connsiteY12" fmla="*/ 19905 h 25660"/>
                  <a:gd name="connsiteX13" fmla="*/ 13097 w 25659"/>
                  <a:gd name="connsiteY13" fmla="*/ 14218 h 25660"/>
                  <a:gd name="connsiteX14" fmla="*/ 9829 w 25659"/>
                  <a:gd name="connsiteY14" fmla="*/ 14218 h 25660"/>
                  <a:gd name="connsiteX15" fmla="*/ 9829 w 25659"/>
                  <a:gd name="connsiteY15" fmla="*/ 19905 h 25660"/>
                  <a:gd name="connsiteX16" fmla="*/ 8038 w 25659"/>
                  <a:gd name="connsiteY16" fmla="*/ 19905 h 25660"/>
                  <a:gd name="connsiteX17" fmla="*/ 8038 w 25659"/>
                  <a:gd name="connsiteY17" fmla="*/ 5523 h 25660"/>
                  <a:gd name="connsiteX18" fmla="*/ 13616 w 25659"/>
                  <a:gd name="connsiteY18" fmla="*/ 5523 h 25660"/>
                  <a:gd name="connsiteX19" fmla="*/ 18155 w 25659"/>
                  <a:gd name="connsiteY19" fmla="*/ 9761 h 25660"/>
                  <a:gd name="connsiteX20" fmla="*/ 14887 w 25659"/>
                  <a:gd name="connsiteY20" fmla="*/ 13917 h 25660"/>
                  <a:gd name="connsiteX21" fmla="*/ 15585 w 25659"/>
                  <a:gd name="connsiteY21" fmla="*/ 14901 h 25660"/>
                  <a:gd name="connsiteX22" fmla="*/ 13015 w 25659"/>
                  <a:gd name="connsiteY22" fmla="*/ 12522 h 25660"/>
                  <a:gd name="connsiteX23" fmla="*/ 16282 w 25659"/>
                  <a:gd name="connsiteY23" fmla="*/ 9870 h 25660"/>
                  <a:gd name="connsiteX24" fmla="*/ 13657 w 25659"/>
                  <a:gd name="connsiteY24" fmla="*/ 7191 h 25660"/>
                  <a:gd name="connsiteX25" fmla="*/ 9816 w 25659"/>
                  <a:gd name="connsiteY25" fmla="*/ 7191 h 25660"/>
                  <a:gd name="connsiteX26" fmla="*/ 9816 w 25659"/>
                  <a:gd name="connsiteY26" fmla="*/ 12509 h 25660"/>
                  <a:gd name="connsiteX27" fmla="*/ 13015 w 25659"/>
                  <a:gd name="connsiteY27" fmla="*/ 12509 h 25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25659" h="25660">
                    <a:moveTo>
                      <a:pt x="25660" y="12810"/>
                    </a:moveTo>
                    <a:cubicBezTo>
                      <a:pt x="25660" y="19946"/>
                      <a:pt x="19946" y="25660"/>
                      <a:pt x="12782" y="25660"/>
                    </a:cubicBezTo>
                    <a:cubicBezTo>
                      <a:pt x="5619" y="25660"/>
                      <a:pt x="0" y="19891"/>
                      <a:pt x="0" y="12810"/>
                    </a:cubicBezTo>
                    <a:cubicBezTo>
                      <a:pt x="0" y="5728"/>
                      <a:pt x="5714" y="0"/>
                      <a:pt x="12823" y="0"/>
                    </a:cubicBezTo>
                    <a:cubicBezTo>
                      <a:pt x="19932" y="0"/>
                      <a:pt x="25646" y="5687"/>
                      <a:pt x="25646" y="12810"/>
                    </a:cubicBezTo>
                    <a:close/>
                    <a:moveTo>
                      <a:pt x="23691" y="12864"/>
                    </a:moveTo>
                    <a:cubicBezTo>
                      <a:pt x="23691" y="6712"/>
                      <a:pt x="18838" y="1832"/>
                      <a:pt x="12837" y="1832"/>
                    </a:cubicBezTo>
                    <a:cubicBezTo>
                      <a:pt x="6835" y="1832"/>
                      <a:pt x="1982" y="6658"/>
                      <a:pt x="1982" y="12851"/>
                    </a:cubicBezTo>
                    <a:cubicBezTo>
                      <a:pt x="1982" y="19043"/>
                      <a:pt x="6890" y="23856"/>
                      <a:pt x="12782" y="23856"/>
                    </a:cubicBezTo>
                    <a:cubicBezTo>
                      <a:pt x="18674" y="23856"/>
                      <a:pt x="23691" y="19002"/>
                      <a:pt x="23691" y="12864"/>
                    </a:cubicBezTo>
                    <a:close/>
                    <a:moveTo>
                      <a:pt x="15585" y="14888"/>
                    </a:moveTo>
                    <a:lnTo>
                      <a:pt x="18811" y="19905"/>
                    </a:lnTo>
                    <a:lnTo>
                      <a:pt x="16678" y="19905"/>
                    </a:lnTo>
                    <a:lnTo>
                      <a:pt x="13097" y="14218"/>
                    </a:lnTo>
                    <a:lnTo>
                      <a:pt x="9829" y="14218"/>
                    </a:lnTo>
                    <a:lnTo>
                      <a:pt x="9829" y="19905"/>
                    </a:lnTo>
                    <a:lnTo>
                      <a:pt x="8038" y="19905"/>
                    </a:lnTo>
                    <a:lnTo>
                      <a:pt x="8038" y="5523"/>
                    </a:lnTo>
                    <a:lnTo>
                      <a:pt x="13616" y="5523"/>
                    </a:lnTo>
                    <a:cubicBezTo>
                      <a:pt x="16364" y="5523"/>
                      <a:pt x="18155" y="6999"/>
                      <a:pt x="18155" y="9761"/>
                    </a:cubicBezTo>
                    <a:cubicBezTo>
                      <a:pt x="18155" y="11989"/>
                      <a:pt x="16801" y="13370"/>
                      <a:pt x="14887" y="13917"/>
                    </a:cubicBezTo>
                    <a:cubicBezTo>
                      <a:pt x="15147" y="14204"/>
                      <a:pt x="15407" y="14559"/>
                      <a:pt x="15585" y="14901"/>
                    </a:cubicBezTo>
                    <a:close/>
                    <a:moveTo>
                      <a:pt x="13015" y="12522"/>
                    </a:moveTo>
                    <a:cubicBezTo>
                      <a:pt x="15038" y="12522"/>
                      <a:pt x="16282" y="11565"/>
                      <a:pt x="16282" y="9870"/>
                    </a:cubicBezTo>
                    <a:cubicBezTo>
                      <a:pt x="16282" y="8175"/>
                      <a:pt x="15421" y="7191"/>
                      <a:pt x="13657" y="7191"/>
                    </a:cubicBezTo>
                    <a:lnTo>
                      <a:pt x="9816" y="7191"/>
                    </a:lnTo>
                    <a:lnTo>
                      <a:pt x="9816" y="12509"/>
                    </a:lnTo>
                    <a:lnTo>
                      <a:pt x="13015" y="12509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" name="Freeform: Shape 16">
                <a:extLst>
                  <a:ext uri="{FF2B5EF4-FFF2-40B4-BE49-F238E27FC236}">
                    <a16:creationId xmlns:a16="http://schemas.microsoft.com/office/drawing/2014/main" id="{4949F00E-60FF-3588-7605-0B60295047C7}"/>
                  </a:ext>
                </a:extLst>
              </p:cNvPr>
              <p:cNvSpPr/>
              <p:nvPr/>
            </p:nvSpPr>
            <p:spPr>
              <a:xfrm>
                <a:off x="11620956" y="6472487"/>
                <a:ext cx="32932" cy="163721"/>
              </a:xfrm>
              <a:custGeom>
                <a:avLst/>
                <a:gdLst>
                  <a:gd name="connsiteX0" fmla="*/ 29830 w 32932"/>
                  <a:gd name="connsiteY0" fmla="*/ 0 h 163721"/>
                  <a:gd name="connsiteX1" fmla="*/ 32933 w 32932"/>
                  <a:gd name="connsiteY1" fmla="*/ 3103 h 163721"/>
                  <a:gd name="connsiteX2" fmla="*/ 32933 w 32932"/>
                  <a:gd name="connsiteY2" fmla="*/ 160618 h 163721"/>
                  <a:gd name="connsiteX3" fmla="*/ 29830 w 32932"/>
                  <a:gd name="connsiteY3" fmla="*/ 163722 h 163721"/>
                  <a:gd name="connsiteX4" fmla="*/ 3103 w 32932"/>
                  <a:gd name="connsiteY4" fmla="*/ 163722 h 163721"/>
                  <a:gd name="connsiteX5" fmla="*/ 0 w 32932"/>
                  <a:gd name="connsiteY5" fmla="*/ 160618 h 163721"/>
                  <a:gd name="connsiteX6" fmla="*/ 0 w 32932"/>
                  <a:gd name="connsiteY6" fmla="*/ 3103 h 163721"/>
                  <a:gd name="connsiteX7" fmla="*/ 3103 w 32932"/>
                  <a:gd name="connsiteY7" fmla="*/ 0 h 163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2932" h="163721">
                    <a:moveTo>
                      <a:pt x="29830" y="0"/>
                    </a:moveTo>
                    <a:cubicBezTo>
                      <a:pt x="31544" y="0"/>
                      <a:pt x="32933" y="1389"/>
                      <a:pt x="32933" y="3103"/>
                    </a:cubicBezTo>
                    <a:lnTo>
                      <a:pt x="32933" y="160618"/>
                    </a:lnTo>
                    <a:cubicBezTo>
                      <a:pt x="32933" y="162332"/>
                      <a:pt x="31543" y="163722"/>
                      <a:pt x="29830" y="163722"/>
                    </a:cubicBezTo>
                    <a:lnTo>
                      <a:pt x="3103" y="163722"/>
                    </a:lnTo>
                    <a:cubicBezTo>
                      <a:pt x="1389" y="163722"/>
                      <a:pt x="0" y="162332"/>
                      <a:pt x="0" y="160618"/>
                    </a:cubicBezTo>
                    <a:lnTo>
                      <a:pt x="0" y="3103"/>
                    </a:lnTo>
                    <a:cubicBezTo>
                      <a:pt x="0" y="1389"/>
                      <a:pt x="1389" y="0"/>
                      <a:pt x="3103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" name="Freeform: Shape 17">
                <a:extLst>
                  <a:ext uri="{FF2B5EF4-FFF2-40B4-BE49-F238E27FC236}">
                    <a16:creationId xmlns:a16="http://schemas.microsoft.com/office/drawing/2014/main" id="{EC48FD97-ECFA-1675-ACD0-6084B312EE2F}"/>
                  </a:ext>
                </a:extLst>
              </p:cNvPr>
              <p:cNvSpPr/>
              <p:nvPr/>
            </p:nvSpPr>
            <p:spPr>
              <a:xfrm>
                <a:off x="11488486" y="6472473"/>
                <a:ext cx="123638" cy="166086"/>
              </a:xfrm>
              <a:custGeom>
                <a:avLst/>
                <a:gdLst>
                  <a:gd name="connsiteX0" fmla="*/ 68737 w 123638"/>
                  <a:gd name="connsiteY0" fmla="*/ 44663 h 166086"/>
                  <a:gd name="connsiteX1" fmla="*/ 32947 w 123638"/>
                  <a:gd name="connsiteY1" fmla="*/ 62052 h 166086"/>
                  <a:gd name="connsiteX2" fmla="*/ 32947 w 123638"/>
                  <a:gd name="connsiteY2" fmla="*/ 3103 h 166086"/>
                  <a:gd name="connsiteX3" fmla="*/ 29843 w 123638"/>
                  <a:gd name="connsiteY3" fmla="*/ 0 h 166086"/>
                  <a:gd name="connsiteX4" fmla="*/ 3103 w 123638"/>
                  <a:gd name="connsiteY4" fmla="*/ 0 h 166086"/>
                  <a:gd name="connsiteX5" fmla="*/ 0 w 123638"/>
                  <a:gd name="connsiteY5" fmla="*/ 3103 h 166086"/>
                  <a:gd name="connsiteX6" fmla="*/ 0 w 123638"/>
                  <a:gd name="connsiteY6" fmla="*/ 160632 h 166086"/>
                  <a:gd name="connsiteX7" fmla="*/ 3103 w 123638"/>
                  <a:gd name="connsiteY7" fmla="*/ 163735 h 166086"/>
                  <a:gd name="connsiteX8" fmla="*/ 29843 w 123638"/>
                  <a:gd name="connsiteY8" fmla="*/ 163735 h 166086"/>
                  <a:gd name="connsiteX9" fmla="*/ 32947 w 123638"/>
                  <a:gd name="connsiteY9" fmla="*/ 160632 h 166086"/>
                  <a:gd name="connsiteX10" fmla="*/ 32947 w 123638"/>
                  <a:gd name="connsiteY10" fmla="*/ 149025 h 166086"/>
                  <a:gd name="connsiteX11" fmla="*/ 68983 w 123638"/>
                  <a:gd name="connsiteY11" fmla="*/ 166087 h 166086"/>
                  <a:gd name="connsiteX12" fmla="*/ 123638 w 123638"/>
                  <a:gd name="connsiteY12" fmla="*/ 105539 h 166086"/>
                  <a:gd name="connsiteX13" fmla="*/ 68750 w 123638"/>
                  <a:gd name="connsiteY13" fmla="*/ 44663 h 166086"/>
                  <a:gd name="connsiteX14" fmla="*/ 62188 w 123638"/>
                  <a:gd name="connsiteY14" fmla="*/ 135163 h 166086"/>
                  <a:gd name="connsiteX15" fmla="*/ 32947 w 123638"/>
                  <a:gd name="connsiteY15" fmla="*/ 105552 h 166086"/>
                  <a:gd name="connsiteX16" fmla="*/ 62188 w 123638"/>
                  <a:gd name="connsiteY16" fmla="*/ 76174 h 166086"/>
                  <a:gd name="connsiteX17" fmla="*/ 90965 w 123638"/>
                  <a:gd name="connsiteY17" fmla="*/ 105552 h 166086"/>
                  <a:gd name="connsiteX18" fmla="*/ 62188 w 123638"/>
                  <a:gd name="connsiteY18" fmla="*/ 135163 h 166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23638" h="166086">
                    <a:moveTo>
                      <a:pt x="68737" y="44663"/>
                    </a:moveTo>
                    <a:cubicBezTo>
                      <a:pt x="53535" y="44663"/>
                      <a:pt x="40889" y="51252"/>
                      <a:pt x="32947" y="62052"/>
                    </a:cubicBezTo>
                    <a:lnTo>
                      <a:pt x="32947" y="3103"/>
                    </a:lnTo>
                    <a:cubicBezTo>
                      <a:pt x="32947" y="1394"/>
                      <a:pt x="31552" y="0"/>
                      <a:pt x="29843" y="0"/>
                    </a:cubicBezTo>
                    <a:lnTo>
                      <a:pt x="3103" y="0"/>
                    </a:lnTo>
                    <a:cubicBezTo>
                      <a:pt x="1394" y="0"/>
                      <a:pt x="0" y="1394"/>
                      <a:pt x="0" y="3103"/>
                    </a:cubicBezTo>
                    <a:lnTo>
                      <a:pt x="0" y="160632"/>
                    </a:lnTo>
                    <a:cubicBezTo>
                      <a:pt x="0" y="162341"/>
                      <a:pt x="1394" y="163735"/>
                      <a:pt x="3103" y="163735"/>
                    </a:cubicBezTo>
                    <a:lnTo>
                      <a:pt x="29843" y="163735"/>
                    </a:lnTo>
                    <a:cubicBezTo>
                      <a:pt x="31552" y="163735"/>
                      <a:pt x="32947" y="162341"/>
                      <a:pt x="32947" y="160632"/>
                    </a:cubicBezTo>
                    <a:lnTo>
                      <a:pt x="32947" y="149025"/>
                    </a:lnTo>
                    <a:cubicBezTo>
                      <a:pt x="40903" y="159839"/>
                      <a:pt x="53535" y="166087"/>
                      <a:pt x="68983" y="166087"/>
                    </a:cubicBezTo>
                    <a:cubicBezTo>
                      <a:pt x="101505" y="166087"/>
                      <a:pt x="123638" y="139852"/>
                      <a:pt x="123638" y="105539"/>
                    </a:cubicBezTo>
                    <a:cubicBezTo>
                      <a:pt x="123638" y="71225"/>
                      <a:pt x="101505" y="44663"/>
                      <a:pt x="68750" y="44663"/>
                    </a:cubicBezTo>
                    <a:close/>
                    <a:moveTo>
                      <a:pt x="62188" y="135163"/>
                    </a:moveTo>
                    <a:cubicBezTo>
                      <a:pt x="45346" y="135163"/>
                      <a:pt x="32947" y="121533"/>
                      <a:pt x="32947" y="105552"/>
                    </a:cubicBezTo>
                    <a:cubicBezTo>
                      <a:pt x="32947" y="89571"/>
                      <a:pt x="45346" y="76174"/>
                      <a:pt x="62188" y="76174"/>
                    </a:cubicBezTo>
                    <a:cubicBezTo>
                      <a:pt x="79031" y="76174"/>
                      <a:pt x="90965" y="89571"/>
                      <a:pt x="90965" y="105552"/>
                    </a:cubicBezTo>
                    <a:cubicBezTo>
                      <a:pt x="90965" y="121533"/>
                      <a:pt x="78798" y="135163"/>
                      <a:pt x="62188" y="13516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" name="Freeform: Shape 18">
                <a:extLst>
                  <a:ext uri="{FF2B5EF4-FFF2-40B4-BE49-F238E27FC236}">
                    <a16:creationId xmlns:a16="http://schemas.microsoft.com/office/drawing/2014/main" id="{D630779F-D5D6-D3A5-F83D-669E26C5EA83}"/>
                  </a:ext>
                </a:extLst>
              </p:cNvPr>
              <p:cNvSpPr/>
              <p:nvPr/>
            </p:nvSpPr>
            <p:spPr>
              <a:xfrm>
                <a:off x="11359421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" name="Freeform: Shape 19">
                <a:extLst>
                  <a:ext uri="{FF2B5EF4-FFF2-40B4-BE49-F238E27FC236}">
                    <a16:creationId xmlns:a16="http://schemas.microsoft.com/office/drawing/2014/main" id="{080BD067-8D68-7223-E438-C430E0ABA25C}"/>
                  </a:ext>
                </a:extLst>
              </p:cNvPr>
              <p:cNvSpPr/>
              <p:nvPr/>
            </p:nvSpPr>
            <p:spPr>
              <a:xfrm>
                <a:off x="11662542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" name="Freeform: Shape 20">
                <a:extLst>
                  <a:ext uri="{FF2B5EF4-FFF2-40B4-BE49-F238E27FC236}">
                    <a16:creationId xmlns:a16="http://schemas.microsoft.com/office/drawing/2014/main" id="{D2F28358-7B3F-81C0-ED50-BD27718D04A4}"/>
                  </a:ext>
                </a:extLst>
              </p:cNvPr>
              <p:cNvSpPr/>
              <p:nvPr/>
            </p:nvSpPr>
            <p:spPr>
              <a:xfrm>
                <a:off x="11122821" y="6519528"/>
                <a:ext cx="32932" cy="116680"/>
              </a:xfrm>
              <a:custGeom>
                <a:avLst/>
                <a:gdLst>
                  <a:gd name="connsiteX0" fmla="*/ 29843 w 32932"/>
                  <a:gd name="connsiteY0" fmla="*/ 116680 h 116680"/>
                  <a:gd name="connsiteX1" fmla="*/ 3103 w 32932"/>
                  <a:gd name="connsiteY1" fmla="*/ 116680 h 116680"/>
                  <a:gd name="connsiteX2" fmla="*/ 0 w 32932"/>
                  <a:gd name="connsiteY2" fmla="*/ 113577 h 116680"/>
                  <a:gd name="connsiteX3" fmla="*/ 0 w 32932"/>
                  <a:gd name="connsiteY3" fmla="*/ 30554 h 116680"/>
                  <a:gd name="connsiteX4" fmla="*/ 1859 w 32932"/>
                  <a:gd name="connsiteY4" fmla="*/ 26125 h 116680"/>
                  <a:gd name="connsiteX5" fmla="*/ 27670 w 32932"/>
                  <a:gd name="connsiteY5" fmla="*/ 888 h 116680"/>
                  <a:gd name="connsiteX6" fmla="*/ 32933 w 32932"/>
                  <a:gd name="connsiteY6" fmla="*/ 3103 h 116680"/>
                  <a:gd name="connsiteX7" fmla="*/ 32933 w 32932"/>
                  <a:gd name="connsiteY7" fmla="*/ 113577 h 116680"/>
                  <a:gd name="connsiteX8" fmla="*/ 29830 w 32932"/>
                  <a:gd name="connsiteY8" fmla="*/ 116680 h 116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932" h="116680">
                    <a:moveTo>
                      <a:pt x="29843" y="116680"/>
                    </a:moveTo>
                    <a:lnTo>
                      <a:pt x="3103" y="116680"/>
                    </a:lnTo>
                    <a:cubicBezTo>
                      <a:pt x="1394" y="116680"/>
                      <a:pt x="0" y="115286"/>
                      <a:pt x="0" y="113577"/>
                    </a:cubicBezTo>
                    <a:lnTo>
                      <a:pt x="0" y="30554"/>
                    </a:lnTo>
                    <a:cubicBezTo>
                      <a:pt x="0" y="28886"/>
                      <a:pt x="670" y="27287"/>
                      <a:pt x="1859" y="26125"/>
                    </a:cubicBezTo>
                    <a:lnTo>
                      <a:pt x="27670" y="888"/>
                    </a:lnTo>
                    <a:cubicBezTo>
                      <a:pt x="29638" y="-1026"/>
                      <a:pt x="32933" y="355"/>
                      <a:pt x="32933" y="3103"/>
                    </a:cubicBezTo>
                    <a:lnTo>
                      <a:pt x="32933" y="113577"/>
                    </a:lnTo>
                    <a:cubicBezTo>
                      <a:pt x="32933" y="115286"/>
                      <a:pt x="31538" y="116680"/>
                      <a:pt x="29830" y="11668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" name="Freeform: Shape 21">
                <a:extLst>
                  <a:ext uri="{FF2B5EF4-FFF2-40B4-BE49-F238E27FC236}">
                    <a16:creationId xmlns:a16="http://schemas.microsoft.com/office/drawing/2014/main" id="{F39583E2-9E94-3C54-1422-D79C55436970}"/>
                  </a:ext>
                </a:extLst>
              </p:cNvPr>
              <p:cNvSpPr/>
              <p:nvPr/>
            </p:nvSpPr>
            <p:spPr>
              <a:xfrm>
                <a:off x="11173074" y="6517105"/>
                <a:ext cx="107493" cy="119116"/>
              </a:xfrm>
              <a:custGeom>
                <a:avLst/>
                <a:gdLst>
                  <a:gd name="connsiteX0" fmla="*/ 107480 w 107493"/>
                  <a:gd name="connsiteY0" fmla="*/ 41877 h 119116"/>
                  <a:gd name="connsiteX1" fmla="*/ 65237 w 107493"/>
                  <a:gd name="connsiteY1" fmla="*/ 3 h 119116"/>
                  <a:gd name="connsiteX2" fmla="*/ 32947 w 107493"/>
                  <a:gd name="connsiteY2" fmla="*/ 17474 h 119116"/>
                  <a:gd name="connsiteX3" fmla="*/ 32947 w 107493"/>
                  <a:gd name="connsiteY3" fmla="*/ 5581 h 119116"/>
                  <a:gd name="connsiteX4" fmla="*/ 29843 w 107493"/>
                  <a:gd name="connsiteY4" fmla="*/ 2478 h 119116"/>
                  <a:gd name="connsiteX5" fmla="*/ 3103 w 107493"/>
                  <a:gd name="connsiteY5" fmla="*/ 2478 h 119116"/>
                  <a:gd name="connsiteX6" fmla="*/ 0 w 107493"/>
                  <a:gd name="connsiteY6" fmla="*/ 5581 h 119116"/>
                  <a:gd name="connsiteX7" fmla="*/ 0 w 107493"/>
                  <a:gd name="connsiteY7" fmla="*/ 116000 h 119116"/>
                  <a:gd name="connsiteX8" fmla="*/ 3103 w 107493"/>
                  <a:gd name="connsiteY8" fmla="*/ 119103 h 119116"/>
                  <a:gd name="connsiteX9" fmla="*/ 29843 w 107493"/>
                  <a:gd name="connsiteY9" fmla="*/ 119103 h 119116"/>
                  <a:gd name="connsiteX10" fmla="*/ 32947 w 107493"/>
                  <a:gd name="connsiteY10" fmla="*/ 116000 h 119116"/>
                  <a:gd name="connsiteX11" fmla="*/ 32947 w 107493"/>
                  <a:gd name="connsiteY11" fmla="*/ 51788 h 119116"/>
                  <a:gd name="connsiteX12" fmla="*/ 53740 w 107493"/>
                  <a:gd name="connsiteY12" fmla="*/ 31747 h 119116"/>
                  <a:gd name="connsiteX13" fmla="*/ 74547 w 107493"/>
                  <a:gd name="connsiteY13" fmla="*/ 53210 h 119116"/>
                  <a:gd name="connsiteX14" fmla="*/ 74547 w 107493"/>
                  <a:gd name="connsiteY14" fmla="*/ 116014 h 119116"/>
                  <a:gd name="connsiteX15" fmla="*/ 77650 w 107493"/>
                  <a:gd name="connsiteY15" fmla="*/ 119117 h 119116"/>
                  <a:gd name="connsiteX16" fmla="*/ 104390 w 107493"/>
                  <a:gd name="connsiteY16" fmla="*/ 119117 h 119116"/>
                  <a:gd name="connsiteX17" fmla="*/ 107493 w 107493"/>
                  <a:gd name="connsiteY17" fmla="*/ 116014 h 119116"/>
                  <a:gd name="connsiteX18" fmla="*/ 107493 w 107493"/>
                  <a:gd name="connsiteY18" fmla="*/ 41890 h 119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7493" h="119116">
                    <a:moveTo>
                      <a:pt x="107480" y="41877"/>
                    </a:moveTo>
                    <a:cubicBezTo>
                      <a:pt x="107480" y="19252"/>
                      <a:pt x="88792" y="277"/>
                      <a:pt x="65237" y="3"/>
                    </a:cubicBezTo>
                    <a:cubicBezTo>
                      <a:pt x="49912" y="-175"/>
                      <a:pt x="39563" y="7331"/>
                      <a:pt x="32947" y="17474"/>
                    </a:cubicBezTo>
                    <a:lnTo>
                      <a:pt x="32947" y="5581"/>
                    </a:lnTo>
                    <a:cubicBezTo>
                      <a:pt x="32947" y="3872"/>
                      <a:pt x="31552" y="2478"/>
                      <a:pt x="29843" y="2478"/>
                    </a:cubicBezTo>
                    <a:lnTo>
                      <a:pt x="3103" y="2478"/>
                    </a:lnTo>
                    <a:cubicBezTo>
                      <a:pt x="1394" y="2478"/>
                      <a:pt x="0" y="3872"/>
                      <a:pt x="0" y="5581"/>
                    </a:cubicBezTo>
                    <a:lnTo>
                      <a:pt x="0" y="116000"/>
                    </a:lnTo>
                    <a:cubicBezTo>
                      <a:pt x="0" y="117709"/>
                      <a:pt x="1394" y="119103"/>
                      <a:pt x="3103" y="119103"/>
                    </a:cubicBezTo>
                    <a:lnTo>
                      <a:pt x="29843" y="119103"/>
                    </a:lnTo>
                    <a:cubicBezTo>
                      <a:pt x="31552" y="119103"/>
                      <a:pt x="32947" y="117709"/>
                      <a:pt x="32947" y="116000"/>
                    </a:cubicBezTo>
                    <a:lnTo>
                      <a:pt x="32947" y="51788"/>
                    </a:lnTo>
                    <a:cubicBezTo>
                      <a:pt x="33685" y="39430"/>
                      <a:pt x="41518" y="31747"/>
                      <a:pt x="53740" y="31747"/>
                    </a:cubicBezTo>
                    <a:cubicBezTo>
                      <a:pt x="65961" y="31747"/>
                      <a:pt x="74547" y="40373"/>
                      <a:pt x="74547" y="53210"/>
                    </a:cubicBezTo>
                    <a:lnTo>
                      <a:pt x="74547" y="116014"/>
                    </a:lnTo>
                    <a:cubicBezTo>
                      <a:pt x="74547" y="117722"/>
                      <a:pt x="75941" y="119117"/>
                      <a:pt x="77650" y="119117"/>
                    </a:cubicBezTo>
                    <a:lnTo>
                      <a:pt x="104390" y="119117"/>
                    </a:lnTo>
                    <a:cubicBezTo>
                      <a:pt x="106099" y="119117"/>
                      <a:pt x="107493" y="117722"/>
                      <a:pt x="107493" y="116014"/>
                    </a:cubicBezTo>
                    <a:lnTo>
                      <a:pt x="107493" y="41890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4E6B5A60-583D-D219-320C-61384AB7EA5F}"/>
              </a:ext>
            </a:extLst>
          </p:cNvPr>
          <p:cNvSpPr/>
          <p:nvPr userDrawn="1"/>
        </p:nvSpPr>
        <p:spPr>
          <a:xfrm>
            <a:off x="0" y="0"/>
            <a:ext cx="12192000" cy="1466070"/>
          </a:xfrm>
          <a:prstGeom prst="rect">
            <a:avLst/>
          </a:prstGeom>
          <a:solidFill>
            <a:schemeClr val="accent2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Lato" panose="020F0502020204030203" pitchFamily="34" charset="77"/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E395F2BD-96BA-C657-1961-86CEC3F3287E}"/>
              </a:ext>
            </a:extLst>
          </p:cNvPr>
          <p:cNvSpPr/>
          <p:nvPr userDrawn="1"/>
        </p:nvSpPr>
        <p:spPr>
          <a:xfrm>
            <a:off x="3234463" y="-80010"/>
            <a:ext cx="4833773" cy="1543050"/>
          </a:xfrm>
          <a:custGeom>
            <a:avLst/>
            <a:gdLst>
              <a:gd name="connsiteX0" fmla="*/ 675918 w 4833773"/>
              <a:gd name="connsiteY0" fmla="*/ 0 h 1543050"/>
              <a:gd name="connsiteX1" fmla="*/ 4157855 w 4833773"/>
              <a:gd name="connsiteY1" fmla="*/ 0 h 1543050"/>
              <a:gd name="connsiteX2" fmla="*/ 4741820 w 4833773"/>
              <a:gd name="connsiteY2" fmla="*/ 583965 h 1543050"/>
              <a:gd name="connsiteX3" fmla="*/ 4741820 w 4833773"/>
              <a:gd name="connsiteY3" fmla="*/ 1028006 h 1543050"/>
              <a:gd name="connsiteX4" fmla="*/ 4226776 w 4833773"/>
              <a:gd name="connsiteY4" fmla="*/ 1543050 h 1543050"/>
              <a:gd name="connsiteX5" fmla="*/ 606997 w 4833773"/>
              <a:gd name="connsiteY5" fmla="*/ 1543050 h 1543050"/>
              <a:gd name="connsiteX6" fmla="*/ 91953 w 4833773"/>
              <a:gd name="connsiteY6" fmla="*/ 1028006 h 1543050"/>
              <a:gd name="connsiteX7" fmla="*/ 91953 w 4833773"/>
              <a:gd name="connsiteY7" fmla="*/ 583965 h 1543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833773" h="1543050">
                <a:moveTo>
                  <a:pt x="675918" y="0"/>
                </a:moveTo>
                <a:lnTo>
                  <a:pt x="4157855" y="0"/>
                </a:lnTo>
                <a:lnTo>
                  <a:pt x="4741820" y="583965"/>
                </a:lnTo>
                <a:cubicBezTo>
                  <a:pt x="4864424" y="706569"/>
                  <a:pt x="4864424" y="905403"/>
                  <a:pt x="4741820" y="1028006"/>
                </a:cubicBezTo>
                <a:lnTo>
                  <a:pt x="4226776" y="1543050"/>
                </a:lnTo>
                <a:lnTo>
                  <a:pt x="606997" y="1543050"/>
                </a:lnTo>
                <a:lnTo>
                  <a:pt x="91953" y="1028006"/>
                </a:lnTo>
                <a:cubicBezTo>
                  <a:pt x="-30651" y="905403"/>
                  <a:pt x="-30651" y="706569"/>
                  <a:pt x="91953" y="583965"/>
                </a:cubicBezTo>
                <a:close/>
              </a:path>
            </a:pathLst>
          </a:custGeom>
          <a:gradFill>
            <a:gsLst>
              <a:gs pos="12000">
                <a:srgbClr val="D9E1E2">
                  <a:alpha val="30000"/>
                </a:srgbClr>
              </a:gs>
              <a:gs pos="74000">
                <a:srgbClr val="D9E1E2">
                  <a:alpha val="0"/>
                </a:srgbClr>
              </a:gs>
            </a:gsLst>
            <a:lin ang="8100000" scaled="1"/>
          </a:gradFill>
          <a:ln w="685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FC7A81F3-0889-B2AB-93B8-2F2E49B29A7B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501981" y="1840501"/>
            <a:ext cx="11188039" cy="440451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5390277-5BEC-C3AA-2E1E-E0BF4C5ED8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978" y="297451"/>
            <a:ext cx="11118522" cy="630213"/>
          </a:xfrm>
          <a:prstGeom prst="rect">
            <a:avLst/>
          </a:prstGeom>
        </p:spPr>
        <p:txBody>
          <a:bodyPr/>
          <a:lstStyle>
            <a:lvl1pPr>
              <a:defRPr sz="3400" b="1" i="0" cap="all" baseline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r>
              <a:rPr lang="en-US"/>
              <a:t>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5FE8B5-2E05-549D-895E-1CC9CE4CC021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501983" y="943504"/>
            <a:ext cx="11118517" cy="397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kumimoji="0" lang="en-US" sz="2200" b="0" i="0" u="none" strike="noStrike" cap="all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Lato" panose="020F0502020204030203" pitchFamily="34" charset="77"/>
                <a:ea typeface="Roboto Slab" pitchFamily="2" charset="0"/>
                <a:cs typeface="Arial" panose="020B0604020202020204" pitchFamily="34" charset="0"/>
              </a:defRPr>
            </a:lvl1pPr>
          </a:lstStyle>
          <a:p>
            <a:pPr marL="228600" marR="0" lvl="0" indent="-22860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804348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45265BBE-A18B-A367-7083-3C8BDE5528F4}"/>
              </a:ext>
            </a:extLst>
          </p:cNvPr>
          <p:cNvGrpSpPr/>
          <p:nvPr userDrawn="1"/>
        </p:nvGrpSpPr>
        <p:grpSpPr>
          <a:xfrm>
            <a:off x="11122821" y="6472473"/>
            <a:ext cx="799629" cy="166100"/>
            <a:chOff x="11122821" y="6472473"/>
            <a:chExt cx="799629" cy="166100"/>
          </a:xfrm>
        </p:grpSpPr>
        <p:sp>
          <p:nvSpPr>
            <p:cNvPr id="18" name="Freeform: Shape 11">
              <a:extLst>
                <a:ext uri="{FF2B5EF4-FFF2-40B4-BE49-F238E27FC236}">
                  <a16:creationId xmlns:a16="http://schemas.microsoft.com/office/drawing/2014/main" id="{F67BCE1E-D345-EE8C-753A-A5E37121BE28}"/>
                </a:ext>
              </a:extLst>
            </p:cNvPr>
            <p:cNvSpPr/>
            <p:nvPr/>
          </p:nvSpPr>
          <p:spPr>
            <a:xfrm rot="18900000">
              <a:off x="11134957" y="6473485"/>
              <a:ext cx="35147" cy="35147"/>
            </a:xfrm>
            <a:custGeom>
              <a:avLst/>
              <a:gdLst>
                <a:gd name="connsiteX0" fmla="*/ 32044 w 35147"/>
                <a:gd name="connsiteY0" fmla="*/ 0 h 35147"/>
                <a:gd name="connsiteX1" fmla="*/ 35148 w 35147"/>
                <a:gd name="connsiteY1" fmla="*/ 3103 h 35147"/>
                <a:gd name="connsiteX2" fmla="*/ 35148 w 35147"/>
                <a:gd name="connsiteY2" fmla="*/ 32044 h 35147"/>
                <a:gd name="connsiteX3" fmla="*/ 32044 w 35147"/>
                <a:gd name="connsiteY3" fmla="*/ 35148 h 35147"/>
                <a:gd name="connsiteX4" fmla="*/ 3103 w 35147"/>
                <a:gd name="connsiteY4" fmla="*/ 35148 h 35147"/>
                <a:gd name="connsiteX5" fmla="*/ 0 w 35147"/>
                <a:gd name="connsiteY5" fmla="*/ 32044 h 35147"/>
                <a:gd name="connsiteX6" fmla="*/ 0 w 35147"/>
                <a:gd name="connsiteY6" fmla="*/ 3103 h 35147"/>
                <a:gd name="connsiteX7" fmla="*/ 3103 w 35147"/>
                <a:gd name="connsiteY7" fmla="*/ 0 h 35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147" h="35147">
                  <a:moveTo>
                    <a:pt x="32044" y="0"/>
                  </a:moveTo>
                  <a:cubicBezTo>
                    <a:pt x="33758" y="0"/>
                    <a:pt x="35148" y="1389"/>
                    <a:pt x="35148" y="3103"/>
                  </a:cubicBezTo>
                  <a:lnTo>
                    <a:pt x="35148" y="32044"/>
                  </a:lnTo>
                  <a:cubicBezTo>
                    <a:pt x="35148" y="33758"/>
                    <a:pt x="33758" y="35148"/>
                    <a:pt x="32044" y="35148"/>
                  </a:cubicBezTo>
                  <a:lnTo>
                    <a:pt x="3103" y="35148"/>
                  </a:lnTo>
                  <a:cubicBezTo>
                    <a:pt x="1389" y="35148"/>
                    <a:pt x="0" y="33758"/>
                    <a:pt x="0" y="32044"/>
                  </a:cubicBezTo>
                  <a:lnTo>
                    <a:pt x="0" y="3103"/>
                  </a:lnTo>
                  <a:cubicBezTo>
                    <a:pt x="0" y="1389"/>
                    <a:pt x="1389" y="0"/>
                    <a:pt x="3103" y="0"/>
                  </a:cubicBezTo>
                  <a:close/>
                </a:path>
              </a:pathLst>
            </a:custGeom>
            <a:solidFill>
              <a:srgbClr val="00BD4D"/>
            </a:solidFill>
            <a:ln w="135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35E856AB-E728-DDC5-D7EF-A579036219F3}"/>
                </a:ext>
              </a:extLst>
            </p:cNvPr>
            <p:cNvGrpSpPr/>
            <p:nvPr/>
          </p:nvGrpSpPr>
          <p:grpSpPr>
            <a:xfrm>
              <a:off x="11122821" y="6472473"/>
              <a:ext cx="799629" cy="166100"/>
              <a:chOff x="11122821" y="6472473"/>
              <a:chExt cx="799629" cy="166100"/>
            </a:xfrm>
            <a:solidFill>
              <a:schemeClr val="bg1"/>
            </a:solidFill>
          </p:grpSpPr>
          <p:sp>
            <p:nvSpPr>
              <p:cNvPr id="24" name="Freeform: Shape 13">
                <a:extLst>
                  <a:ext uri="{FF2B5EF4-FFF2-40B4-BE49-F238E27FC236}">
                    <a16:creationId xmlns:a16="http://schemas.microsoft.com/office/drawing/2014/main" id="{12C3E203-2EEA-71D9-7824-CA73A7FF83F7}"/>
                  </a:ext>
                </a:extLst>
              </p:cNvPr>
              <p:cNvSpPr/>
              <p:nvPr/>
            </p:nvSpPr>
            <p:spPr>
              <a:xfrm>
                <a:off x="11774281" y="6519597"/>
                <a:ext cx="119385" cy="116611"/>
              </a:xfrm>
              <a:custGeom>
                <a:avLst/>
                <a:gdLst>
                  <a:gd name="connsiteX0" fmla="*/ 82523 w 119385"/>
                  <a:gd name="connsiteY0" fmla="*/ 58306 h 116611"/>
                  <a:gd name="connsiteX1" fmla="*/ 118887 w 119385"/>
                  <a:gd name="connsiteY1" fmla="*/ 112265 h 116611"/>
                  <a:gd name="connsiteX2" fmla="*/ 116385 w 119385"/>
                  <a:gd name="connsiteY2" fmla="*/ 116612 h 116611"/>
                  <a:gd name="connsiteX3" fmla="*/ 85831 w 119385"/>
                  <a:gd name="connsiteY3" fmla="*/ 116612 h 116611"/>
                  <a:gd name="connsiteX4" fmla="*/ 80718 w 119385"/>
                  <a:gd name="connsiteY4" fmla="*/ 113919 h 116611"/>
                  <a:gd name="connsiteX5" fmla="*/ 59693 w 119385"/>
                  <a:gd name="connsiteY5" fmla="*/ 81751 h 116611"/>
                  <a:gd name="connsiteX6" fmla="*/ 38667 w 119385"/>
                  <a:gd name="connsiteY6" fmla="*/ 113919 h 116611"/>
                  <a:gd name="connsiteX7" fmla="*/ 33554 w 119385"/>
                  <a:gd name="connsiteY7" fmla="*/ 116612 h 116611"/>
                  <a:gd name="connsiteX8" fmla="*/ 3000 w 119385"/>
                  <a:gd name="connsiteY8" fmla="*/ 116612 h 116611"/>
                  <a:gd name="connsiteX9" fmla="*/ 498 w 119385"/>
                  <a:gd name="connsiteY9" fmla="*/ 112265 h 116611"/>
                  <a:gd name="connsiteX10" fmla="*/ 36753 w 119385"/>
                  <a:gd name="connsiteY10" fmla="*/ 58306 h 116611"/>
                  <a:gd name="connsiteX11" fmla="*/ 498 w 119385"/>
                  <a:gd name="connsiteY11" fmla="*/ 4347 h 116611"/>
                  <a:gd name="connsiteX12" fmla="*/ 3000 w 119385"/>
                  <a:gd name="connsiteY12" fmla="*/ 0 h 116611"/>
                  <a:gd name="connsiteX13" fmla="*/ 34853 w 119385"/>
                  <a:gd name="connsiteY13" fmla="*/ 0 h 116611"/>
                  <a:gd name="connsiteX14" fmla="*/ 37778 w 119385"/>
                  <a:gd name="connsiteY14" fmla="*/ 1449 h 116611"/>
                  <a:gd name="connsiteX15" fmla="*/ 59679 w 119385"/>
                  <a:gd name="connsiteY15" fmla="*/ 34806 h 116611"/>
                  <a:gd name="connsiteX16" fmla="*/ 80240 w 119385"/>
                  <a:gd name="connsiteY16" fmla="*/ 1463 h 116611"/>
                  <a:gd name="connsiteX17" fmla="*/ 83165 w 119385"/>
                  <a:gd name="connsiteY17" fmla="*/ 0 h 116611"/>
                  <a:gd name="connsiteX18" fmla="*/ 115333 w 119385"/>
                  <a:gd name="connsiteY18" fmla="*/ 0 h 116611"/>
                  <a:gd name="connsiteX19" fmla="*/ 117834 w 119385"/>
                  <a:gd name="connsiteY19" fmla="*/ 4334 h 116611"/>
                  <a:gd name="connsiteX20" fmla="*/ 82495 w 119385"/>
                  <a:gd name="connsiteY20" fmla="*/ 58306 h 116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19385" h="116611">
                    <a:moveTo>
                      <a:pt x="82523" y="58306"/>
                    </a:moveTo>
                    <a:lnTo>
                      <a:pt x="118887" y="112265"/>
                    </a:lnTo>
                    <a:cubicBezTo>
                      <a:pt x="120199" y="114124"/>
                      <a:pt x="118764" y="116612"/>
                      <a:pt x="116385" y="116612"/>
                    </a:cubicBezTo>
                    <a:lnTo>
                      <a:pt x="85831" y="116612"/>
                    </a:lnTo>
                    <a:cubicBezTo>
                      <a:pt x="83794" y="116612"/>
                      <a:pt x="81880" y="115600"/>
                      <a:pt x="80718" y="113919"/>
                    </a:cubicBezTo>
                    <a:lnTo>
                      <a:pt x="59693" y="81751"/>
                    </a:lnTo>
                    <a:lnTo>
                      <a:pt x="38667" y="113919"/>
                    </a:lnTo>
                    <a:cubicBezTo>
                      <a:pt x="37505" y="115600"/>
                      <a:pt x="35605" y="116612"/>
                      <a:pt x="33554" y="116612"/>
                    </a:cubicBezTo>
                    <a:lnTo>
                      <a:pt x="3000" y="116612"/>
                    </a:lnTo>
                    <a:cubicBezTo>
                      <a:pt x="621" y="116612"/>
                      <a:pt x="-814" y="114138"/>
                      <a:pt x="498" y="112265"/>
                    </a:cubicBezTo>
                    <a:lnTo>
                      <a:pt x="36753" y="58306"/>
                    </a:lnTo>
                    <a:lnTo>
                      <a:pt x="498" y="4347"/>
                    </a:lnTo>
                    <a:cubicBezTo>
                      <a:pt x="-814" y="2488"/>
                      <a:pt x="621" y="0"/>
                      <a:pt x="3000" y="0"/>
                    </a:cubicBezTo>
                    <a:lnTo>
                      <a:pt x="34853" y="0"/>
                    </a:lnTo>
                    <a:cubicBezTo>
                      <a:pt x="36042" y="0"/>
                      <a:pt x="37149" y="547"/>
                      <a:pt x="37778" y="1449"/>
                    </a:cubicBezTo>
                    <a:lnTo>
                      <a:pt x="59679" y="34806"/>
                    </a:lnTo>
                    <a:lnTo>
                      <a:pt x="80240" y="1463"/>
                    </a:lnTo>
                    <a:cubicBezTo>
                      <a:pt x="80855" y="561"/>
                      <a:pt x="81976" y="0"/>
                      <a:pt x="83165" y="0"/>
                    </a:cubicBezTo>
                    <a:lnTo>
                      <a:pt x="115333" y="0"/>
                    </a:lnTo>
                    <a:cubicBezTo>
                      <a:pt x="117711" y="0"/>
                      <a:pt x="119133" y="2474"/>
                      <a:pt x="117834" y="4334"/>
                    </a:cubicBezTo>
                    <a:lnTo>
                      <a:pt x="82495" y="58306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14">
                <a:extLst>
                  <a:ext uri="{FF2B5EF4-FFF2-40B4-BE49-F238E27FC236}">
                    <a16:creationId xmlns:a16="http://schemas.microsoft.com/office/drawing/2014/main" id="{737D9D90-2F44-CE7B-F6C4-50531F3F348F}"/>
                  </a:ext>
                </a:extLst>
              </p:cNvPr>
              <p:cNvSpPr/>
              <p:nvPr/>
            </p:nvSpPr>
            <p:spPr>
              <a:xfrm>
                <a:off x="11284928" y="6472473"/>
                <a:ext cx="78825" cy="163762"/>
              </a:xfrm>
              <a:custGeom>
                <a:avLst/>
                <a:gdLst>
                  <a:gd name="connsiteX0" fmla="*/ 75722 w 78825"/>
                  <a:gd name="connsiteY0" fmla="*/ 14 h 163762"/>
                  <a:gd name="connsiteX1" fmla="*/ 50377 w 78825"/>
                  <a:gd name="connsiteY1" fmla="*/ 14 h 163762"/>
                  <a:gd name="connsiteX2" fmla="*/ 43801 w 78825"/>
                  <a:gd name="connsiteY2" fmla="*/ 2734 h 163762"/>
                  <a:gd name="connsiteX3" fmla="*/ 19987 w 78825"/>
                  <a:gd name="connsiteY3" fmla="*/ 26549 h 163762"/>
                  <a:gd name="connsiteX4" fmla="*/ 17266 w 78825"/>
                  <a:gd name="connsiteY4" fmla="*/ 33124 h 163762"/>
                  <a:gd name="connsiteX5" fmla="*/ 17266 w 78825"/>
                  <a:gd name="connsiteY5" fmla="*/ 51867 h 163762"/>
                  <a:gd name="connsiteX6" fmla="*/ 3049 w 78825"/>
                  <a:gd name="connsiteY6" fmla="*/ 51867 h 163762"/>
                  <a:gd name="connsiteX7" fmla="*/ 0 w 78825"/>
                  <a:gd name="connsiteY7" fmla="*/ 54916 h 163762"/>
                  <a:gd name="connsiteX8" fmla="*/ 0 w 78825"/>
                  <a:gd name="connsiteY8" fmla="*/ 75955 h 163762"/>
                  <a:gd name="connsiteX9" fmla="*/ 3049 w 78825"/>
                  <a:gd name="connsiteY9" fmla="*/ 79004 h 163762"/>
                  <a:gd name="connsiteX10" fmla="*/ 17266 w 78825"/>
                  <a:gd name="connsiteY10" fmla="*/ 79004 h 163762"/>
                  <a:gd name="connsiteX11" fmla="*/ 17266 w 78825"/>
                  <a:gd name="connsiteY11" fmla="*/ 160659 h 163762"/>
                  <a:gd name="connsiteX12" fmla="*/ 20369 w 78825"/>
                  <a:gd name="connsiteY12" fmla="*/ 163763 h 163762"/>
                  <a:gd name="connsiteX13" fmla="*/ 47109 w 78825"/>
                  <a:gd name="connsiteY13" fmla="*/ 163763 h 163762"/>
                  <a:gd name="connsiteX14" fmla="*/ 50213 w 78825"/>
                  <a:gd name="connsiteY14" fmla="*/ 160659 h 163762"/>
                  <a:gd name="connsiteX15" fmla="*/ 50213 w 78825"/>
                  <a:gd name="connsiteY15" fmla="*/ 78990 h 163762"/>
                  <a:gd name="connsiteX16" fmla="*/ 71443 w 78825"/>
                  <a:gd name="connsiteY16" fmla="*/ 78990 h 163762"/>
                  <a:gd name="connsiteX17" fmla="*/ 74492 w 78825"/>
                  <a:gd name="connsiteY17" fmla="*/ 75941 h 163762"/>
                  <a:gd name="connsiteX18" fmla="*/ 74492 w 78825"/>
                  <a:gd name="connsiteY18" fmla="*/ 54902 h 163762"/>
                  <a:gd name="connsiteX19" fmla="*/ 71443 w 78825"/>
                  <a:gd name="connsiteY19" fmla="*/ 51853 h 163762"/>
                  <a:gd name="connsiteX20" fmla="*/ 50213 w 78825"/>
                  <a:gd name="connsiteY20" fmla="*/ 51853 h 163762"/>
                  <a:gd name="connsiteX21" fmla="*/ 50213 w 78825"/>
                  <a:gd name="connsiteY21" fmla="*/ 38565 h 163762"/>
                  <a:gd name="connsiteX22" fmla="*/ 59509 w 78825"/>
                  <a:gd name="connsiteY22" fmla="*/ 29269 h 163762"/>
                  <a:gd name="connsiteX23" fmla="*/ 75722 w 78825"/>
                  <a:gd name="connsiteY23" fmla="*/ 29269 h 163762"/>
                  <a:gd name="connsiteX24" fmla="*/ 78826 w 78825"/>
                  <a:gd name="connsiteY24" fmla="*/ 26166 h 163762"/>
                  <a:gd name="connsiteX25" fmla="*/ 78826 w 78825"/>
                  <a:gd name="connsiteY25" fmla="*/ 3103 h 163762"/>
                  <a:gd name="connsiteX26" fmla="*/ 75722 w 78825"/>
                  <a:gd name="connsiteY26" fmla="*/ 0 h 163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78825" h="163762">
                    <a:moveTo>
                      <a:pt x="75722" y="14"/>
                    </a:moveTo>
                    <a:lnTo>
                      <a:pt x="50377" y="14"/>
                    </a:lnTo>
                    <a:cubicBezTo>
                      <a:pt x="47916" y="14"/>
                      <a:pt x="45551" y="998"/>
                      <a:pt x="43801" y="2734"/>
                    </a:cubicBezTo>
                    <a:lnTo>
                      <a:pt x="19987" y="26549"/>
                    </a:lnTo>
                    <a:cubicBezTo>
                      <a:pt x="18237" y="28299"/>
                      <a:pt x="17266" y="30664"/>
                      <a:pt x="17266" y="33124"/>
                    </a:cubicBezTo>
                    <a:lnTo>
                      <a:pt x="17266" y="51867"/>
                    </a:lnTo>
                    <a:lnTo>
                      <a:pt x="3049" y="51867"/>
                    </a:lnTo>
                    <a:cubicBezTo>
                      <a:pt x="1367" y="51867"/>
                      <a:pt x="0" y="53234"/>
                      <a:pt x="0" y="54916"/>
                    </a:cubicBezTo>
                    <a:lnTo>
                      <a:pt x="0" y="75955"/>
                    </a:lnTo>
                    <a:cubicBezTo>
                      <a:pt x="0" y="77636"/>
                      <a:pt x="1367" y="79004"/>
                      <a:pt x="3049" y="79004"/>
                    </a:cubicBezTo>
                    <a:lnTo>
                      <a:pt x="17266" y="79004"/>
                    </a:lnTo>
                    <a:lnTo>
                      <a:pt x="17266" y="160659"/>
                    </a:lnTo>
                    <a:cubicBezTo>
                      <a:pt x="17266" y="162368"/>
                      <a:pt x="18661" y="163763"/>
                      <a:pt x="20369" y="163763"/>
                    </a:cubicBezTo>
                    <a:lnTo>
                      <a:pt x="47109" y="163763"/>
                    </a:lnTo>
                    <a:cubicBezTo>
                      <a:pt x="48818" y="163763"/>
                      <a:pt x="50213" y="162368"/>
                      <a:pt x="50213" y="160659"/>
                    </a:cubicBezTo>
                    <a:lnTo>
                      <a:pt x="50213" y="78990"/>
                    </a:lnTo>
                    <a:lnTo>
                      <a:pt x="71443" y="78990"/>
                    </a:lnTo>
                    <a:cubicBezTo>
                      <a:pt x="73125" y="78990"/>
                      <a:pt x="74492" y="77623"/>
                      <a:pt x="74492" y="75941"/>
                    </a:cubicBezTo>
                    <a:lnTo>
                      <a:pt x="74492" y="54902"/>
                    </a:lnTo>
                    <a:cubicBezTo>
                      <a:pt x="74492" y="53220"/>
                      <a:pt x="73125" y="51853"/>
                      <a:pt x="71443" y="51853"/>
                    </a:cubicBezTo>
                    <a:lnTo>
                      <a:pt x="50213" y="51853"/>
                    </a:lnTo>
                    <a:lnTo>
                      <a:pt x="50213" y="38565"/>
                    </a:lnTo>
                    <a:cubicBezTo>
                      <a:pt x="50213" y="33425"/>
                      <a:pt x="54382" y="29269"/>
                      <a:pt x="59509" y="29269"/>
                    </a:cubicBezTo>
                    <a:lnTo>
                      <a:pt x="75722" y="29269"/>
                    </a:lnTo>
                    <a:cubicBezTo>
                      <a:pt x="77431" y="29269"/>
                      <a:pt x="78826" y="27875"/>
                      <a:pt x="78826" y="26166"/>
                    </a:cubicBezTo>
                    <a:lnTo>
                      <a:pt x="78826" y="3103"/>
                    </a:lnTo>
                    <a:cubicBezTo>
                      <a:pt x="78826" y="1394"/>
                      <a:pt x="77431" y="0"/>
                      <a:pt x="75722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3" name="Freeform: Shape 15">
                <a:extLst>
                  <a:ext uri="{FF2B5EF4-FFF2-40B4-BE49-F238E27FC236}">
                    <a16:creationId xmlns:a16="http://schemas.microsoft.com/office/drawing/2014/main" id="{7B502DC0-A6F2-6929-FC6F-2A8900B74156}"/>
                  </a:ext>
                </a:extLst>
              </p:cNvPr>
              <p:cNvSpPr/>
              <p:nvPr/>
            </p:nvSpPr>
            <p:spPr>
              <a:xfrm>
                <a:off x="11896791" y="6612367"/>
                <a:ext cx="25659" cy="25660"/>
              </a:xfrm>
              <a:custGeom>
                <a:avLst/>
                <a:gdLst>
                  <a:gd name="connsiteX0" fmla="*/ 25660 w 25659"/>
                  <a:gd name="connsiteY0" fmla="*/ 12810 h 25660"/>
                  <a:gd name="connsiteX1" fmla="*/ 12782 w 25659"/>
                  <a:gd name="connsiteY1" fmla="*/ 25660 h 25660"/>
                  <a:gd name="connsiteX2" fmla="*/ 0 w 25659"/>
                  <a:gd name="connsiteY2" fmla="*/ 12810 h 25660"/>
                  <a:gd name="connsiteX3" fmla="*/ 12823 w 25659"/>
                  <a:gd name="connsiteY3" fmla="*/ 0 h 25660"/>
                  <a:gd name="connsiteX4" fmla="*/ 25646 w 25659"/>
                  <a:gd name="connsiteY4" fmla="*/ 12810 h 25660"/>
                  <a:gd name="connsiteX5" fmla="*/ 23691 w 25659"/>
                  <a:gd name="connsiteY5" fmla="*/ 12864 h 25660"/>
                  <a:gd name="connsiteX6" fmla="*/ 12837 w 25659"/>
                  <a:gd name="connsiteY6" fmla="*/ 1832 h 25660"/>
                  <a:gd name="connsiteX7" fmla="*/ 1982 w 25659"/>
                  <a:gd name="connsiteY7" fmla="*/ 12851 h 25660"/>
                  <a:gd name="connsiteX8" fmla="*/ 12782 w 25659"/>
                  <a:gd name="connsiteY8" fmla="*/ 23856 h 25660"/>
                  <a:gd name="connsiteX9" fmla="*/ 23691 w 25659"/>
                  <a:gd name="connsiteY9" fmla="*/ 12864 h 25660"/>
                  <a:gd name="connsiteX10" fmla="*/ 15585 w 25659"/>
                  <a:gd name="connsiteY10" fmla="*/ 14888 h 25660"/>
                  <a:gd name="connsiteX11" fmla="*/ 18811 w 25659"/>
                  <a:gd name="connsiteY11" fmla="*/ 19905 h 25660"/>
                  <a:gd name="connsiteX12" fmla="*/ 16678 w 25659"/>
                  <a:gd name="connsiteY12" fmla="*/ 19905 h 25660"/>
                  <a:gd name="connsiteX13" fmla="*/ 13097 w 25659"/>
                  <a:gd name="connsiteY13" fmla="*/ 14218 h 25660"/>
                  <a:gd name="connsiteX14" fmla="*/ 9829 w 25659"/>
                  <a:gd name="connsiteY14" fmla="*/ 14218 h 25660"/>
                  <a:gd name="connsiteX15" fmla="*/ 9829 w 25659"/>
                  <a:gd name="connsiteY15" fmla="*/ 19905 h 25660"/>
                  <a:gd name="connsiteX16" fmla="*/ 8038 w 25659"/>
                  <a:gd name="connsiteY16" fmla="*/ 19905 h 25660"/>
                  <a:gd name="connsiteX17" fmla="*/ 8038 w 25659"/>
                  <a:gd name="connsiteY17" fmla="*/ 5523 h 25660"/>
                  <a:gd name="connsiteX18" fmla="*/ 13616 w 25659"/>
                  <a:gd name="connsiteY18" fmla="*/ 5523 h 25660"/>
                  <a:gd name="connsiteX19" fmla="*/ 18155 w 25659"/>
                  <a:gd name="connsiteY19" fmla="*/ 9761 h 25660"/>
                  <a:gd name="connsiteX20" fmla="*/ 14887 w 25659"/>
                  <a:gd name="connsiteY20" fmla="*/ 13917 h 25660"/>
                  <a:gd name="connsiteX21" fmla="*/ 15585 w 25659"/>
                  <a:gd name="connsiteY21" fmla="*/ 14901 h 25660"/>
                  <a:gd name="connsiteX22" fmla="*/ 13015 w 25659"/>
                  <a:gd name="connsiteY22" fmla="*/ 12522 h 25660"/>
                  <a:gd name="connsiteX23" fmla="*/ 16282 w 25659"/>
                  <a:gd name="connsiteY23" fmla="*/ 9870 h 25660"/>
                  <a:gd name="connsiteX24" fmla="*/ 13657 w 25659"/>
                  <a:gd name="connsiteY24" fmla="*/ 7191 h 25660"/>
                  <a:gd name="connsiteX25" fmla="*/ 9816 w 25659"/>
                  <a:gd name="connsiteY25" fmla="*/ 7191 h 25660"/>
                  <a:gd name="connsiteX26" fmla="*/ 9816 w 25659"/>
                  <a:gd name="connsiteY26" fmla="*/ 12509 h 25660"/>
                  <a:gd name="connsiteX27" fmla="*/ 13015 w 25659"/>
                  <a:gd name="connsiteY27" fmla="*/ 12509 h 25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25659" h="25660">
                    <a:moveTo>
                      <a:pt x="25660" y="12810"/>
                    </a:moveTo>
                    <a:cubicBezTo>
                      <a:pt x="25660" y="19946"/>
                      <a:pt x="19946" y="25660"/>
                      <a:pt x="12782" y="25660"/>
                    </a:cubicBezTo>
                    <a:cubicBezTo>
                      <a:pt x="5619" y="25660"/>
                      <a:pt x="0" y="19891"/>
                      <a:pt x="0" y="12810"/>
                    </a:cubicBezTo>
                    <a:cubicBezTo>
                      <a:pt x="0" y="5728"/>
                      <a:pt x="5714" y="0"/>
                      <a:pt x="12823" y="0"/>
                    </a:cubicBezTo>
                    <a:cubicBezTo>
                      <a:pt x="19932" y="0"/>
                      <a:pt x="25646" y="5687"/>
                      <a:pt x="25646" y="12810"/>
                    </a:cubicBezTo>
                    <a:close/>
                    <a:moveTo>
                      <a:pt x="23691" y="12864"/>
                    </a:moveTo>
                    <a:cubicBezTo>
                      <a:pt x="23691" y="6712"/>
                      <a:pt x="18838" y="1832"/>
                      <a:pt x="12837" y="1832"/>
                    </a:cubicBezTo>
                    <a:cubicBezTo>
                      <a:pt x="6835" y="1832"/>
                      <a:pt x="1982" y="6658"/>
                      <a:pt x="1982" y="12851"/>
                    </a:cubicBezTo>
                    <a:cubicBezTo>
                      <a:pt x="1982" y="19043"/>
                      <a:pt x="6890" y="23856"/>
                      <a:pt x="12782" y="23856"/>
                    </a:cubicBezTo>
                    <a:cubicBezTo>
                      <a:pt x="18674" y="23856"/>
                      <a:pt x="23691" y="19002"/>
                      <a:pt x="23691" y="12864"/>
                    </a:cubicBezTo>
                    <a:close/>
                    <a:moveTo>
                      <a:pt x="15585" y="14888"/>
                    </a:moveTo>
                    <a:lnTo>
                      <a:pt x="18811" y="19905"/>
                    </a:lnTo>
                    <a:lnTo>
                      <a:pt x="16678" y="19905"/>
                    </a:lnTo>
                    <a:lnTo>
                      <a:pt x="13097" y="14218"/>
                    </a:lnTo>
                    <a:lnTo>
                      <a:pt x="9829" y="14218"/>
                    </a:lnTo>
                    <a:lnTo>
                      <a:pt x="9829" y="19905"/>
                    </a:lnTo>
                    <a:lnTo>
                      <a:pt x="8038" y="19905"/>
                    </a:lnTo>
                    <a:lnTo>
                      <a:pt x="8038" y="5523"/>
                    </a:lnTo>
                    <a:lnTo>
                      <a:pt x="13616" y="5523"/>
                    </a:lnTo>
                    <a:cubicBezTo>
                      <a:pt x="16364" y="5523"/>
                      <a:pt x="18155" y="6999"/>
                      <a:pt x="18155" y="9761"/>
                    </a:cubicBezTo>
                    <a:cubicBezTo>
                      <a:pt x="18155" y="11989"/>
                      <a:pt x="16801" y="13370"/>
                      <a:pt x="14887" y="13917"/>
                    </a:cubicBezTo>
                    <a:cubicBezTo>
                      <a:pt x="15147" y="14204"/>
                      <a:pt x="15407" y="14559"/>
                      <a:pt x="15585" y="14901"/>
                    </a:cubicBezTo>
                    <a:close/>
                    <a:moveTo>
                      <a:pt x="13015" y="12522"/>
                    </a:moveTo>
                    <a:cubicBezTo>
                      <a:pt x="15038" y="12522"/>
                      <a:pt x="16282" y="11565"/>
                      <a:pt x="16282" y="9870"/>
                    </a:cubicBezTo>
                    <a:cubicBezTo>
                      <a:pt x="16282" y="8175"/>
                      <a:pt x="15421" y="7191"/>
                      <a:pt x="13657" y="7191"/>
                    </a:cubicBezTo>
                    <a:lnTo>
                      <a:pt x="9816" y="7191"/>
                    </a:lnTo>
                    <a:lnTo>
                      <a:pt x="9816" y="12509"/>
                    </a:lnTo>
                    <a:lnTo>
                      <a:pt x="13015" y="12509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9" name="Freeform: Shape 16">
                <a:extLst>
                  <a:ext uri="{FF2B5EF4-FFF2-40B4-BE49-F238E27FC236}">
                    <a16:creationId xmlns:a16="http://schemas.microsoft.com/office/drawing/2014/main" id="{FCC08C85-AFB6-8AED-75B9-C4DF73D5A45F}"/>
                  </a:ext>
                </a:extLst>
              </p:cNvPr>
              <p:cNvSpPr/>
              <p:nvPr/>
            </p:nvSpPr>
            <p:spPr>
              <a:xfrm>
                <a:off x="11620956" y="6472487"/>
                <a:ext cx="32932" cy="163721"/>
              </a:xfrm>
              <a:custGeom>
                <a:avLst/>
                <a:gdLst>
                  <a:gd name="connsiteX0" fmla="*/ 29830 w 32932"/>
                  <a:gd name="connsiteY0" fmla="*/ 0 h 163721"/>
                  <a:gd name="connsiteX1" fmla="*/ 32933 w 32932"/>
                  <a:gd name="connsiteY1" fmla="*/ 3103 h 163721"/>
                  <a:gd name="connsiteX2" fmla="*/ 32933 w 32932"/>
                  <a:gd name="connsiteY2" fmla="*/ 160618 h 163721"/>
                  <a:gd name="connsiteX3" fmla="*/ 29830 w 32932"/>
                  <a:gd name="connsiteY3" fmla="*/ 163722 h 163721"/>
                  <a:gd name="connsiteX4" fmla="*/ 3103 w 32932"/>
                  <a:gd name="connsiteY4" fmla="*/ 163722 h 163721"/>
                  <a:gd name="connsiteX5" fmla="*/ 0 w 32932"/>
                  <a:gd name="connsiteY5" fmla="*/ 160618 h 163721"/>
                  <a:gd name="connsiteX6" fmla="*/ 0 w 32932"/>
                  <a:gd name="connsiteY6" fmla="*/ 3103 h 163721"/>
                  <a:gd name="connsiteX7" fmla="*/ 3103 w 32932"/>
                  <a:gd name="connsiteY7" fmla="*/ 0 h 163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2932" h="163721">
                    <a:moveTo>
                      <a:pt x="29830" y="0"/>
                    </a:moveTo>
                    <a:cubicBezTo>
                      <a:pt x="31544" y="0"/>
                      <a:pt x="32933" y="1389"/>
                      <a:pt x="32933" y="3103"/>
                    </a:cubicBezTo>
                    <a:lnTo>
                      <a:pt x="32933" y="160618"/>
                    </a:lnTo>
                    <a:cubicBezTo>
                      <a:pt x="32933" y="162332"/>
                      <a:pt x="31543" y="163722"/>
                      <a:pt x="29830" y="163722"/>
                    </a:cubicBezTo>
                    <a:lnTo>
                      <a:pt x="3103" y="163722"/>
                    </a:lnTo>
                    <a:cubicBezTo>
                      <a:pt x="1389" y="163722"/>
                      <a:pt x="0" y="162332"/>
                      <a:pt x="0" y="160618"/>
                    </a:cubicBezTo>
                    <a:lnTo>
                      <a:pt x="0" y="3103"/>
                    </a:lnTo>
                    <a:cubicBezTo>
                      <a:pt x="0" y="1389"/>
                      <a:pt x="1389" y="0"/>
                      <a:pt x="3103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0" name="Freeform: Shape 17">
                <a:extLst>
                  <a:ext uri="{FF2B5EF4-FFF2-40B4-BE49-F238E27FC236}">
                    <a16:creationId xmlns:a16="http://schemas.microsoft.com/office/drawing/2014/main" id="{D068ED2C-69C0-16F9-FC8A-9FDBDC68C234}"/>
                  </a:ext>
                </a:extLst>
              </p:cNvPr>
              <p:cNvSpPr/>
              <p:nvPr/>
            </p:nvSpPr>
            <p:spPr>
              <a:xfrm>
                <a:off x="11488486" y="6472473"/>
                <a:ext cx="123638" cy="166086"/>
              </a:xfrm>
              <a:custGeom>
                <a:avLst/>
                <a:gdLst>
                  <a:gd name="connsiteX0" fmla="*/ 68737 w 123638"/>
                  <a:gd name="connsiteY0" fmla="*/ 44663 h 166086"/>
                  <a:gd name="connsiteX1" fmla="*/ 32947 w 123638"/>
                  <a:gd name="connsiteY1" fmla="*/ 62052 h 166086"/>
                  <a:gd name="connsiteX2" fmla="*/ 32947 w 123638"/>
                  <a:gd name="connsiteY2" fmla="*/ 3103 h 166086"/>
                  <a:gd name="connsiteX3" fmla="*/ 29843 w 123638"/>
                  <a:gd name="connsiteY3" fmla="*/ 0 h 166086"/>
                  <a:gd name="connsiteX4" fmla="*/ 3103 w 123638"/>
                  <a:gd name="connsiteY4" fmla="*/ 0 h 166086"/>
                  <a:gd name="connsiteX5" fmla="*/ 0 w 123638"/>
                  <a:gd name="connsiteY5" fmla="*/ 3103 h 166086"/>
                  <a:gd name="connsiteX6" fmla="*/ 0 w 123638"/>
                  <a:gd name="connsiteY6" fmla="*/ 160632 h 166086"/>
                  <a:gd name="connsiteX7" fmla="*/ 3103 w 123638"/>
                  <a:gd name="connsiteY7" fmla="*/ 163735 h 166086"/>
                  <a:gd name="connsiteX8" fmla="*/ 29843 w 123638"/>
                  <a:gd name="connsiteY8" fmla="*/ 163735 h 166086"/>
                  <a:gd name="connsiteX9" fmla="*/ 32947 w 123638"/>
                  <a:gd name="connsiteY9" fmla="*/ 160632 h 166086"/>
                  <a:gd name="connsiteX10" fmla="*/ 32947 w 123638"/>
                  <a:gd name="connsiteY10" fmla="*/ 149025 h 166086"/>
                  <a:gd name="connsiteX11" fmla="*/ 68983 w 123638"/>
                  <a:gd name="connsiteY11" fmla="*/ 166087 h 166086"/>
                  <a:gd name="connsiteX12" fmla="*/ 123638 w 123638"/>
                  <a:gd name="connsiteY12" fmla="*/ 105539 h 166086"/>
                  <a:gd name="connsiteX13" fmla="*/ 68750 w 123638"/>
                  <a:gd name="connsiteY13" fmla="*/ 44663 h 166086"/>
                  <a:gd name="connsiteX14" fmla="*/ 62188 w 123638"/>
                  <a:gd name="connsiteY14" fmla="*/ 135163 h 166086"/>
                  <a:gd name="connsiteX15" fmla="*/ 32947 w 123638"/>
                  <a:gd name="connsiteY15" fmla="*/ 105552 h 166086"/>
                  <a:gd name="connsiteX16" fmla="*/ 62188 w 123638"/>
                  <a:gd name="connsiteY16" fmla="*/ 76174 h 166086"/>
                  <a:gd name="connsiteX17" fmla="*/ 90965 w 123638"/>
                  <a:gd name="connsiteY17" fmla="*/ 105552 h 166086"/>
                  <a:gd name="connsiteX18" fmla="*/ 62188 w 123638"/>
                  <a:gd name="connsiteY18" fmla="*/ 135163 h 166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23638" h="166086">
                    <a:moveTo>
                      <a:pt x="68737" y="44663"/>
                    </a:moveTo>
                    <a:cubicBezTo>
                      <a:pt x="53535" y="44663"/>
                      <a:pt x="40889" y="51252"/>
                      <a:pt x="32947" y="62052"/>
                    </a:cubicBezTo>
                    <a:lnTo>
                      <a:pt x="32947" y="3103"/>
                    </a:lnTo>
                    <a:cubicBezTo>
                      <a:pt x="32947" y="1394"/>
                      <a:pt x="31552" y="0"/>
                      <a:pt x="29843" y="0"/>
                    </a:cubicBezTo>
                    <a:lnTo>
                      <a:pt x="3103" y="0"/>
                    </a:lnTo>
                    <a:cubicBezTo>
                      <a:pt x="1394" y="0"/>
                      <a:pt x="0" y="1394"/>
                      <a:pt x="0" y="3103"/>
                    </a:cubicBezTo>
                    <a:lnTo>
                      <a:pt x="0" y="160632"/>
                    </a:lnTo>
                    <a:cubicBezTo>
                      <a:pt x="0" y="162341"/>
                      <a:pt x="1394" y="163735"/>
                      <a:pt x="3103" y="163735"/>
                    </a:cubicBezTo>
                    <a:lnTo>
                      <a:pt x="29843" y="163735"/>
                    </a:lnTo>
                    <a:cubicBezTo>
                      <a:pt x="31552" y="163735"/>
                      <a:pt x="32947" y="162341"/>
                      <a:pt x="32947" y="160632"/>
                    </a:cubicBezTo>
                    <a:lnTo>
                      <a:pt x="32947" y="149025"/>
                    </a:lnTo>
                    <a:cubicBezTo>
                      <a:pt x="40903" y="159839"/>
                      <a:pt x="53535" y="166087"/>
                      <a:pt x="68983" y="166087"/>
                    </a:cubicBezTo>
                    <a:cubicBezTo>
                      <a:pt x="101505" y="166087"/>
                      <a:pt x="123638" y="139852"/>
                      <a:pt x="123638" y="105539"/>
                    </a:cubicBezTo>
                    <a:cubicBezTo>
                      <a:pt x="123638" y="71225"/>
                      <a:pt x="101505" y="44663"/>
                      <a:pt x="68750" y="44663"/>
                    </a:cubicBezTo>
                    <a:close/>
                    <a:moveTo>
                      <a:pt x="62188" y="135163"/>
                    </a:moveTo>
                    <a:cubicBezTo>
                      <a:pt x="45346" y="135163"/>
                      <a:pt x="32947" y="121533"/>
                      <a:pt x="32947" y="105552"/>
                    </a:cubicBezTo>
                    <a:cubicBezTo>
                      <a:pt x="32947" y="89571"/>
                      <a:pt x="45346" y="76174"/>
                      <a:pt x="62188" y="76174"/>
                    </a:cubicBezTo>
                    <a:cubicBezTo>
                      <a:pt x="79031" y="76174"/>
                      <a:pt x="90965" y="89571"/>
                      <a:pt x="90965" y="105552"/>
                    </a:cubicBezTo>
                    <a:cubicBezTo>
                      <a:pt x="90965" y="121533"/>
                      <a:pt x="78798" y="135163"/>
                      <a:pt x="62188" y="13516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1" name="Freeform: Shape 18">
                <a:extLst>
                  <a:ext uri="{FF2B5EF4-FFF2-40B4-BE49-F238E27FC236}">
                    <a16:creationId xmlns:a16="http://schemas.microsoft.com/office/drawing/2014/main" id="{0AE67AAA-B7F0-34FC-6E8E-24DB9F7F8485}"/>
                  </a:ext>
                </a:extLst>
              </p:cNvPr>
              <p:cNvSpPr/>
              <p:nvPr/>
            </p:nvSpPr>
            <p:spPr>
              <a:xfrm>
                <a:off x="11359421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7" name="Freeform: Shape 19">
                <a:extLst>
                  <a:ext uri="{FF2B5EF4-FFF2-40B4-BE49-F238E27FC236}">
                    <a16:creationId xmlns:a16="http://schemas.microsoft.com/office/drawing/2014/main" id="{BE416E42-0C8A-0DC8-5CDA-07181555ADE4}"/>
                  </a:ext>
                </a:extLst>
              </p:cNvPr>
              <p:cNvSpPr/>
              <p:nvPr/>
            </p:nvSpPr>
            <p:spPr>
              <a:xfrm>
                <a:off x="11662542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8" name="Freeform: Shape 20">
                <a:extLst>
                  <a:ext uri="{FF2B5EF4-FFF2-40B4-BE49-F238E27FC236}">
                    <a16:creationId xmlns:a16="http://schemas.microsoft.com/office/drawing/2014/main" id="{F49D5A9C-D7FB-35B0-5906-56F017AD763A}"/>
                  </a:ext>
                </a:extLst>
              </p:cNvPr>
              <p:cNvSpPr/>
              <p:nvPr/>
            </p:nvSpPr>
            <p:spPr>
              <a:xfrm>
                <a:off x="11122821" y="6519528"/>
                <a:ext cx="32932" cy="116680"/>
              </a:xfrm>
              <a:custGeom>
                <a:avLst/>
                <a:gdLst>
                  <a:gd name="connsiteX0" fmla="*/ 29843 w 32932"/>
                  <a:gd name="connsiteY0" fmla="*/ 116680 h 116680"/>
                  <a:gd name="connsiteX1" fmla="*/ 3103 w 32932"/>
                  <a:gd name="connsiteY1" fmla="*/ 116680 h 116680"/>
                  <a:gd name="connsiteX2" fmla="*/ 0 w 32932"/>
                  <a:gd name="connsiteY2" fmla="*/ 113577 h 116680"/>
                  <a:gd name="connsiteX3" fmla="*/ 0 w 32932"/>
                  <a:gd name="connsiteY3" fmla="*/ 30554 h 116680"/>
                  <a:gd name="connsiteX4" fmla="*/ 1859 w 32932"/>
                  <a:gd name="connsiteY4" fmla="*/ 26125 h 116680"/>
                  <a:gd name="connsiteX5" fmla="*/ 27670 w 32932"/>
                  <a:gd name="connsiteY5" fmla="*/ 888 h 116680"/>
                  <a:gd name="connsiteX6" fmla="*/ 32933 w 32932"/>
                  <a:gd name="connsiteY6" fmla="*/ 3103 h 116680"/>
                  <a:gd name="connsiteX7" fmla="*/ 32933 w 32932"/>
                  <a:gd name="connsiteY7" fmla="*/ 113577 h 116680"/>
                  <a:gd name="connsiteX8" fmla="*/ 29830 w 32932"/>
                  <a:gd name="connsiteY8" fmla="*/ 116680 h 116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932" h="116680">
                    <a:moveTo>
                      <a:pt x="29843" y="116680"/>
                    </a:moveTo>
                    <a:lnTo>
                      <a:pt x="3103" y="116680"/>
                    </a:lnTo>
                    <a:cubicBezTo>
                      <a:pt x="1394" y="116680"/>
                      <a:pt x="0" y="115286"/>
                      <a:pt x="0" y="113577"/>
                    </a:cubicBezTo>
                    <a:lnTo>
                      <a:pt x="0" y="30554"/>
                    </a:lnTo>
                    <a:cubicBezTo>
                      <a:pt x="0" y="28886"/>
                      <a:pt x="670" y="27287"/>
                      <a:pt x="1859" y="26125"/>
                    </a:cubicBezTo>
                    <a:lnTo>
                      <a:pt x="27670" y="888"/>
                    </a:lnTo>
                    <a:cubicBezTo>
                      <a:pt x="29638" y="-1026"/>
                      <a:pt x="32933" y="355"/>
                      <a:pt x="32933" y="3103"/>
                    </a:cubicBezTo>
                    <a:lnTo>
                      <a:pt x="32933" y="113577"/>
                    </a:lnTo>
                    <a:cubicBezTo>
                      <a:pt x="32933" y="115286"/>
                      <a:pt x="31538" y="116680"/>
                      <a:pt x="29830" y="11668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9" name="Freeform: Shape 21">
                <a:extLst>
                  <a:ext uri="{FF2B5EF4-FFF2-40B4-BE49-F238E27FC236}">
                    <a16:creationId xmlns:a16="http://schemas.microsoft.com/office/drawing/2014/main" id="{2E273A20-3087-4DAB-38DA-8D589B863007}"/>
                  </a:ext>
                </a:extLst>
              </p:cNvPr>
              <p:cNvSpPr/>
              <p:nvPr/>
            </p:nvSpPr>
            <p:spPr>
              <a:xfrm>
                <a:off x="11173074" y="6517105"/>
                <a:ext cx="107493" cy="119116"/>
              </a:xfrm>
              <a:custGeom>
                <a:avLst/>
                <a:gdLst>
                  <a:gd name="connsiteX0" fmla="*/ 107480 w 107493"/>
                  <a:gd name="connsiteY0" fmla="*/ 41877 h 119116"/>
                  <a:gd name="connsiteX1" fmla="*/ 65237 w 107493"/>
                  <a:gd name="connsiteY1" fmla="*/ 3 h 119116"/>
                  <a:gd name="connsiteX2" fmla="*/ 32947 w 107493"/>
                  <a:gd name="connsiteY2" fmla="*/ 17474 h 119116"/>
                  <a:gd name="connsiteX3" fmla="*/ 32947 w 107493"/>
                  <a:gd name="connsiteY3" fmla="*/ 5581 h 119116"/>
                  <a:gd name="connsiteX4" fmla="*/ 29843 w 107493"/>
                  <a:gd name="connsiteY4" fmla="*/ 2478 h 119116"/>
                  <a:gd name="connsiteX5" fmla="*/ 3103 w 107493"/>
                  <a:gd name="connsiteY5" fmla="*/ 2478 h 119116"/>
                  <a:gd name="connsiteX6" fmla="*/ 0 w 107493"/>
                  <a:gd name="connsiteY6" fmla="*/ 5581 h 119116"/>
                  <a:gd name="connsiteX7" fmla="*/ 0 w 107493"/>
                  <a:gd name="connsiteY7" fmla="*/ 116000 h 119116"/>
                  <a:gd name="connsiteX8" fmla="*/ 3103 w 107493"/>
                  <a:gd name="connsiteY8" fmla="*/ 119103 h 119116"/>
                  <a:gd name="connsiteX9" fmla="*/ 29843 w 107493"/>
                  <a:gd name="connsiteY9" fmla="*/ 119103 h 119116"/>
                  <a:gd name="connsiteX10" fmla="*/ 32947 w 107493"/>
                  <a:gd name="connsiteY10" fmla="*/ 116000 h 119116"/>
                  <a:gd name="connsiteX11" fmla="*/ 32947 w 107493"/>
                  <a:gd name="connsiteY11" fmla="*/ 51788 h 119116"/>
                  <a:gd name="connsiteX12" fmla="*/ 53740 w 107493"/>
                  <a:gd name="connsiteY12" fmla="*/ 31747 h 119116"/>
                  <a:gd name="connsiteX13" fmla="*/ 74547 w 107493"/>
                  <a:gd name="connsiteY13" fmla="*/ 53210 h 119116"/>
                  <a:gd name="connsiteX14" fmla="*/ 74547 w 107493"/>
                  <a:gd name="connsiteY14" fmla="*/ 116014 h 119116"/>
                  <a:gd name="connsiteX15" fmla="*/ 77650 w 107493"/>
                  <a:gd name="connsiteY15" fmla="*/ 119117 h 119116"/>
                  <a:gd name="connsiteX16" fmla="*/ 104390 w 107493"/>
                  <a:gd name="connsiteY16" fmla="*/ 119117 h 119116"/>
                  <a:gd name="connsiteX17" fmla="*/ 107493 w 107493"/>
                  <a:gd name="connsiteY17" fmla="*/ 116014 h 119116"/>
                  <a:gd name="connsiteX18" fmla="*/ 107493 w 107493"/>
                  <a:gd name="connsiteY18" fmla="*/ 41890 h 119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7493" h="119116">
                    <a:moveTo>
                      <a:pt x="107480" y="41877"/>
                    </a:moveTo>
                    <a:cubicBezTo>
                      <a:pt x="107480" y="19252"/>
                      <a:pt x="88792" y="277"/>
                      <a:pt x="65237" y="3"/>
                    </a:cubicBezTo>
                    <a:cubicBezTo>
                      <a:pt x="49912" y="-175"/>
                      <a:pt x="39563" y="7331"/>
                      <a:pt x="32947" y="17474"/>
                    </a:cubicBezTo>
                    <a:lnTo>
                      <a:pt x="32947" y="5581"/>
                    </a:lnTo>
                    <a:cubicBezTo>
                      <a:pt x="32947" y="3872"/>
                      <a:pt x="31552" y="2478"/>
                      <a:pt x="29843" y="2478"/>
                    </a:cubicBezTo>
                    <a:lnTo>
                      <a:pt x="3103" y="2478"/>
                    </a:lnTo>
                    <a:cubicBezTo>
                      <a:pt x="1394" y="2478"/>
                      <a:pt x="0" y="3872"/>
                      <a:pt x="0" y="5581"/>
                    </a:cubicBezTo>
                    <a:lnTo>
                      <a:pt x="0" y="116000"/>
                    </a:lnTo>
                    <a:cubicBezTo>
                      <a:pt x="0" y="117709"/>
                      <a:pt x="1394" y="119103"/>
                      <a:pt x="3103" y="119103"/>
                    </a:cubicBezTo>
                    <a:lnTo>
                      <a:pt x="29843" y="119103"/>
                    </a:lnTo>
                    <a:cubicBezTo>
                      <a:pt x="31552" y="119103"/>
                      <a:pt x="32947" y="117709"/>
                      <a:pt x="32947" y="116000"/>
                    </a:cubicBezTo>
                    <a:lnTo>
                      <a:pt x="32947" y="51788"/>
                    </a:lnTo>
                    <a:cubicBezTo>
                      <a:pt x="33685" y="39430"/>
                      <a:pt x="41518" y="31747"/>
                      <a:pt x="53740" y="31747"/>
                    </a:cubicBezTo>
                    <a:cubicBezTo>
                      <a:pt x="65961" y="31747"/>
                      <a:pt x="74547" y="40373"/>
                      <a:pt x="74547" y="53210"/>
                    </a:cubicBezTo>
                    <a:lnTo>
                      <a:pt x="74547" y="116014"/>
                    </a:lnTo>
                    <a:cubicBezTo>
                      <a:pt x="74547" y="117722"/>
                      <a:pt x="75941" y="119117"/>
                      <a:pt x="77650" y="119117"/>
                    </a:cubicBezTo>
                    <a:lnTo>
                      <a:pt x="104390" y="119117"/>
                    </a:lnTo>
                    <a:cubicBezTo>
                      <a:pt x="106099" y="119117"/>
                      <a:pt x="107493" y="117722"/>
                      <a:pt x="107493" y="116014"/>
                    </a:cubicBezTo>
                    <a:lnTo>
                      <a:pt x="107493" y="41890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70" name="Rectangle 69">
            <a:extLst>
              <a:ext uri="{FF2B5EF4-FFF2-40B4-BE49-F238E27FC236}">
                <a16:creationId xmlns:a16="http://schemas.microsoft.com/office/drawing/2014/main" id="{D3C74EDC-70D0-E57A-9A11-E626F91896E5}"/>
              </a:ext>
            </a:extLst>
          </p:cNvPr>
          <p:cNvSpPr/>
          <p:nvPr userDrawn="1"/>
        </p:nvSpPr>
        <p:spPr>
          <a:xfrm>
            <a:off x="0" y="0"/>
            <a:ext cx="12192000" cy="1476905"/>
          </a:xfrm>
          <a:prstGeom prst="rect">
            <a:avLst/>
          </a:prstGeom>
          <a:solidFill>
            <a:schemeClr val="accent2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Lato" panose="020F0502020204030203" pitchFamily="34" charset="77"/>
            </a:endParaRPr>
          </a:p>
        </p:txBody>
      </p:sp>
      <p:sp>
        <p:nvSpPr>
          <p:cNvPr id="71" name="Freeform: Shape 70">
            <a:extLst>
              <a:ext uri="{FF2B5EF4-FFF2-40B4-BE49-F238E27FC236}">
                <a16:creationId xmlns:a16="http://schemas.microsoft.com/office/drawing/2014/main" id="{5FBE632A-0B0F-8EE2-F2B0-E68FAFDF7E26}"/>
              </a:ext>
            </a:extLst>
          </p:cNvPr>
          <p:cNvSpPr/>
          <p:nvPr userDrawn="1"/>
        </p:nvSpPr>
        <p:spPr>
          <a:xfrm>
            <a:off x="3234463" y="-68580"/>
            <a:ext cx="4833773" cy="1543050"/>
          </a:xfrm>
          <a:custGeom>
            <a:avLst/>
            <a:gdLst>
              <a:gd name="connsiteX0" fmla="*/ 675918 w 4833773"/>
              <a:gd name="connsiteY0" fmla="*/ 0 h 1543050"/>
              <a:gd name="connsiteX1" fmla="*/ 4157855 w 4833773"/>
              <a:gd name="connsiteY1" fmla="*/ 0 h 1543050"/>
              <a:gd name="connsiteX2" fmla="*/ 4741820 w 4833773"/>
              <a:gd name="connsiteY2" fmla="*/ 583965 h 1543050"/>
              <a:gd name="connsiteX3" fmla="*/ 4741820 w 4833773"/>
              <a:gd name="connsiteY3" fmla="*/ 1028006 h 1543050"/>
              <a:gd name="connsiteX4" fmla="*/ 4226776 w 4833773"/>
              <a:gd name="connsiteY4" fmla="*/ 1543050 h 1543050"/>
              <a:gd name="connsiteX5" fmla="*/ 606997 w 4833773"/>
              <a:gd name="connsiteY5" fmla="*/ 1543050 h 1543050"/>
              <a:gd name="connsiteX6" fmla="*/ 91953 w 4833773"/>
              <a:gd name="connsiteY6" fmla="*/ 1028006 h 1543050"/>
              <a:gd name="connsiteX7" fmla="*/ 91953 w 4833773"/>
              <a:gd name="connsiteY7" fmla="*/ 583965 h 1543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833773" h="1543050">
                <a:moveTo>
                  <a:pt x="675918" y="0"/>
                </a:moveTo>
                <a:lnTo>
                  <a:pt x="4157855" y="0"/>
                </a:lnTo>
                <a:lnTo>
                  <a:pt x="4741820" y="583965"/>
                </a:lnTo>
                <a:cubicBezTo>
                  <a:pt x="4864424" y="706569"/>
                  <a:pt x="4864424" y="905403"/>
                  <a:pt x="4741820" y="1028006"/>
                </a:cubicBezTo>
                <a:lnTo>
                  <a:pt x="4226776" y="1543050"/>
                </a:lnTo>
                <a:lnTo>
                  <a:pt x="606997" y="1543050"/>
                </a:lnTo>
                <a:lnTo>
                  <a:pt x="91953" y="1028006"/>
                </a:lnTo>
                <a:cubicBezTo>
                  <a:pt x="-30651" y="905403"/>
                  <a:pt x="-30651" y="706569"/>
                  <a:pt x="91953" y="583965"/>
                </a:cubicBezTo>
                <a:close/>
              </a:path>
            </a:pathLst>
          </a:custGeom>
          <a:gradFill>
            <a:gsLst>
              <a:gs pos="12000">
                <a:srgbClr val="D9E1E2">
                  <a:alpha val="30000"/>
                </a:srgbClr>
              </a:gs>
              <a:gs pos="74000">
                <a:srgbClr val="D9E1E2">
                  <a:alpha val="0"/>
                </a:srgbClr>
              </a:gs>
            </a:gsLst>
            <a:lin ang="8100000" scaled="1"/>
          </a:gradFill>
          <a:ln w="685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5390277-5BEC-C3AA-2E1E-E0BF4C5ED8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978" y="297451"/>
            <a:ext cx="11118522" cy="630213"/>
          </a:xfrm>
          <a:prstGeom prst="rect">
            <a:avLst/>
          </a:prstGeom>
        </p:spPr>
        <p:txBody>
          <a:bodyPr/>
          <a:lstStyle>
            <a:lvl1pPr>
              <a:defRPr sz="3400" b="1" i="0" cap="all" baseline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r>
              <a:rPr lang="en-US"/>
              <a:t>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5FE8B5-2E05-549D-895E-1CC9CE4CC021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501983" y="941630"/>
            <a:ext cx="11118517" cy="397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kumimoji="0" lang="en-US" sz="2200" b="0" i="0" u="none" strike="noStrike" cap="all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Lato" panose="020F0502020204030203" pitchFamily="34" charset="77"/>
                <a:ea typeface="Roboto Slab" pitchFamily="2" charset="0"/>
                <a:cs typeface="Arial" panose="020B0604020202020204" pitchFamily="34" charset="0"/>
              </a:defRPr>
            </a:lvl1pPr>
          </a:lstStyle>
          <a:p>
            <a:pPr marL="228600" marR="0" lvl="0" indent="-22860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ubtitle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83BB45DE-0EE7-B48B-F73B-239F0722443E}"/>
              </a:ext>
            </a:extLst>
          </p:cNvPr>
          <p:cNvSpPr/>
          <p:nvPr/>
        </p:nvSpPr>
        <p:spPr>
          <a:xfrm rot="2700000">
            <a:off x="1388650" y="2367219"/>
            <a:ext cx="304884" cy="304884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959EF125-FABF-7486-EAE4-9D9ECEA65A29}"/>
              </a:ext>
            </a:extLst>
          </p:cNvPr>
          <p:cNvSpPr/>
          <p:nvPr/>
        </p:nvSpPr>
        <p:spPr>
          <a:xfrm>
            <a:off x="758813" y="1922227"/>
            <a:ext cx="1564558" cy="630127"/>
          </a:xfrm>
          <a:prstGeom prst="roundRect">
            <a:avLst>
              <a:gd name="adj" fmla="val 18228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0" i="0">
              <a:solidFill>
                <a:schemeClr val="tx1"/>
              </a:solidFill>
              <a:latin typeface="Lato" panose="020F0502020204030203" pitchFamily="34" charset="77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27AF1EFF-56CF-EB64-EDDD-8C4B9A6AF9EB}"/>
              </a:ext>
            </a:extLst>
          </p:cNvPr>
          <p:cNvSpPr/>
          <p:nvPr/>
        </p:nvSpPr>
        <p:spPr>
          <a:xfrm rot="2700000">
            <a:off x="3686687" y="2367219"/>
            <a:ext cx="304884" cy="304884"/>
          </a:xfrm>
          <a:prstGeom prst="roundRect">
            <a:avLst/>
          </a:prstGeom>
          <a:solidFill>
            <a:srgbClr val="FED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solidFill>
                <a:schemeClr val="tx1"/>
              </a:solidFill>
              <a:latin typeface="Lato" panose="020F0502020204030203" pitchFamily="34" charset="77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57BE9A3D-7456-BFF6-490C-4A3A02DD667B}"/>
              </a:ext>
            </a:extLst>
          </p:cNvPr>
          <p:cNvSpPr/>
          <p:nvPr/>
        </p:nvSpPr>
        <p:spPr>
          <a:xfrm>
            <a:off x="3056850" y="1922227"/>
            <a:ext cx="1564558" cy="630127"/>
          </a:xfrm>
          <a:prstGeom prst="roundRect">
            <a:avLst>
              <a:gd name="adj" fmla="val 18228"/>
            </a:avLst>
          </a:prstGeom>
          <a:solidFill>
            <a:srgbClr val="FED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0" i="0">
              <a:solidFill>
                <a:schemeClr val="tx1"/>
              </a:solidFill>
              <a:latin typeface="Lato" panose="020F0502020204030203" pitchFamily="34" charset="77"/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2D90CC66-6B0E-86CA-A3A6-E0FEA23D692A}"/>
              </a:ext>
            </a:extLst>
          </p:cNvPr>
          <p:cNvSpPr/>
          <p:nvPr/>
        </p:nvSpPr>
        <p:spPr>
          <a:xfrm rot="2700000">
            <a:off x="5984724" y="2367219"/>
            <a:ext cx="304884" cy="304884"/>
          </a:xfrm>
          <a:prstGeom prst="roundRect">
            <a:avLst/>
          </a:prstGeom>
          <a:solidFill>
            <a:srgbClr val="00BD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solidFill>
                <a:schemeClr val="bg1"/>
              </a:solidFill>
              <a:latin typeface="Lato" panose="020F0502020204030203" pitchFamily="34" charset="77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FE42F555-15CD-C1D4-7F6B-869F16FD68EA}"/>
              </a:ext>
            </a:extLst>
          </p:cNvPr>
          <p:cNvSpPr/>
          <p:nvPr/>
        </p:nvSpPr>
        <p:spPr>
          <a:xfrm>
            <a:off x="5354887" y="1922227"/>
            <a:ext cx="1564558" cy="630127"/>
          </a:xfrm>
          <a:prstGeom prst="roundRect">
            <a:avLst>
              <a:gd name="adj" fmla="val 18228"/>
            </a:avLst>
          </a:prstGeom>
          <a:solidFill>
            <a:srgbClr val="00BD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0" i="0">
              <a:solidFill>
                <a:schemeClr val="bg1"/>
              </a:solidFill>
              <a:latin typeface="Lato" panose="020F0502020204030203" pitchFamily="34" charset="77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101CC67-0637-5EF1-C464-C4164E35D21F}"/>
              </a:ext>
            </a:extLst>
          </p:cNvPr>
          <p:cNvSpPr/>
          <p:nvPr/>
        </p:nvSpPr>
        <p:spPr>
          <a:xfrm rot="2700000">
            <a:off x="8282761" y="2367219"/>
            <a:ext cx="304884" cy="304884"/>
          </a:xfrm>
          <a:prstGeom prst="roundRect">
            <a:avLst/>
          </a:prstGeom>
          <a:solidFill>
            <a:srgbClr val="00E2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solidFill>
                <a:schemeClr val="tx1"/>
              </a:solidFill>
              <a:latin typeface="Lato" panose="020F0502020204030203" pitchFamily="34" charset="77"/>
            </a:endParaRP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919F3CD9-6925-0B3B-5B6F-B600FBC1B980}"/>
              </a:ext>
            </a:extLst>
          </p:cNvPr>
          <p:cNvSpPr/>
          <p:nvPr/>
        </p:nvSpPr>
        <p:spPr>
          <a:xfrm>
            <a:off x="7652924" y="1922227"/>
            <a:ext cx="1564558" cy="630127"/>
          </a:xfrm>
          <a:prstGeom prst="roundRect">
            <a:avLst>
              <a:gd name="adj" fmla="val 18228"/>
            </a:avLst>
          </a:prstGeom>
          <a:solidFill>
            <a:srgbClr val="00E2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0" i="0">
              <a:solidFill>
                <a:schemeClr val="tx1"/>
              </a:solidFill>
              <a:latin typeface="Lato" panose="020F0502020204030203" pitchFamily="34" charset="77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DA03626B-9E12-A3CA-0644-A0399E193911}"/>
              </a:ext>
            </a:extLst>
          </p:cNvPr>
          <p:cNvSpPr/>
          <p:nvPr/>
        </p:nvSpPr>
        <p:spPr>
          <a:xfrm rot="2700000">
            <a:off x="10580797" y="2367219"/>
            <a:ext cx="304884" cy="304884"/>
          </a:xfrm>
          <a:prstGeom prst="roundRect">
            <a:avLst/>
          </a:prstGeom>
          <a:solidFill>
            <a:srgbClr val="7D97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solidFill>
                <a:schemeClr val="bg1"/>
              </a:solidFill>
              <a:latin typeface="Lato" panose="020F0502020204030203" pitchFamily="34" charset="77"/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D2F138F2-4B12-B09E-8E63-04E426063BAE}"/>
              </a:ext>
            </a:extLst>
          </p:cNvPr>
          <p:cNvSpPr/>
          <p:nvPr/>
        </p:nvSpPr>
        <p:spPr>
          <a:xfrm>
            <a:off x="9950960" y="1922227"/>
            <a:ext cx="1564558" cy="630127"/>
          </a:xfrm>
          <a:prstGeom prst="roundRect">
            <a:avLst>
              <a:gd name="adj" fmla="val 18228"/>
            </a:avLst>
          </a:prstGeom>
          <a:solidFill>
            <a:srgbClr val="7D97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0" i="0">
              <a:solidFill>
                <a:schemeClr val="bg1"/>
              </a:solidFill>
              <a:latin typeface="Lato" panose="020F0502020204030203" pitchFamily="34" charset="77"/>
            </a:endParaRPr>
          </a:p>
        </p:txBody>
      </p:sp>
      <p:sp>
        <p:nvSpPr>
          <p:cNvPr id="54" name="Text Placeholder 3">
            <a:extLst>
              <a:ext uri="{FF2B5EF4-FFF2-40B4-BE49-F238E27FC236}">
                <a16:creationId xmlns:a16="http://schemas.microsoft.com/office/drawing/2014/main" id="{0168E3CC-CA88-266A-8DF2-58E1C73A12E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56869" y="3101455"/>
            <a:ext cx="1705331" cy="270480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indent="0">
              <a:buNone/>
              <a:defRPr lang="en-US" sz="1500" b="0" i="0" dirty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US"/>
              <a:t>Click to edit Master text styles</a:t>
            </a:r>
          </a:p>
        </p:txBody>
      </p:sp>
      <p:sp>
        <p:nvSpPr>
          <p:cNvPr id="62" name="Text Placeholder 3">
            <a:extLst>
              <a:ext uri="{FF2B5EF4-FFF2-40B4-BE49-F238E27FC236}">
                <a16:creationId xmlns:a16="http://schemas.microsoft.com/office/drawing/2014/main" id="{CDBAC31F-27D4-91E6-321F-ECA3A36DB07B}"/>
              </a:ext>
            </a:extLst>
          </p:cNvPr>
          <p:cNvSpPr>
            <a:spLocks noGrp="1"/>
          </p:cNvSpPr>
          <p:nvPr>
            <p:ph type="body" sz="half" idx="17"/>
          </p:nvPr>
        </p:nvSpPr>
        <p:spPr>
          <a:xfrm>
            <a:off x="794216" y="1942287"/>
            <a:ext cx="1468694" cy="61006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indent="0" algn="ctr">
              <a:buNone/>
              <a:defRPr lang="en-US" sz="1600" b="0" i="0" dirty="0">
                <a:solidFill>
                  <a:schemeClr val="tx1"/>
                </a:solidFill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US"/>
              <a:t>Click to edit Master text styles</a:t>
            </a:r>
          </a:p>
        </p:txBody>
      </p:sp>
      <p:sp>
        <p:nvSpPr>
          <p:cNvPr id="63" name="Text Placeholder 3">
            <a:extLst>
              <a:ext uri="{FF2B5EF4-FFF2-40B4-BE49-F238E27FC236}">
                <a16:creationId xmlns:a16="http://schemas.microsoft.com/office/drawing/2014/main" id="{C206456F-B2D1-D2CB-4584-A53EA675BA5F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3095385" y="1942287"/>
            <a:ext cx="1468694" cy="61006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indent="0" algn="ctr">
              <a:buNone/>
              <a:defRPr lang="en-US" sz="1600" b="0" i="0" dirty="0">
                <a:solidFill>
                  <a:schemeClr val="tx1"/>
                </a:solidFill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US"/>
              <a:t>Click to edit Master text styles</a:t>
            </a:r>
          </a:p>
        </p:txBody>
      </p:sp>
      <p:sp>
        <p:nvSpPr>
          <p:cNvPr id="64" name="Text Placeholder 3">
            <a:extLst>
              <a:ext uri="{FF2B5EF4-FFF2-40B4-BE49-F238E27FC236}">
                <a16:creationId xmlns:a16="http://schemas.microsoft.com/office/drawing/2014/main" id="{7637B0F8-176E-894E-F2D2-0361B4D3D510}"/>
              </a:ext>
            </a:extLst>
          </p:cNvPr>
          <p:cNvSpPr>
            <a:spLocks noGrp="1"/>
          </p:cNvSpPr>
          <p:nvPr>
            <p:ph type="body" sz="half" idx="19"/>
          </p:nvPr>
        </p:nvSpPr>
        <p:spPr>
          <a:xfrm>
            <a:off x="5396554" y="1942287"/>
            <a:ext cx="1468694" cy="61006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indent="0" algn="ctr">
              <a:buNone/>
              <a:defRPr lang="en-US" sz="1600" b="0" i="0" dirty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US"/>
              <a:t>Click to edit Master text styles</a:t>
            </a:r>
          </a:p>
        </p:txBody>
      </p:sp>
      <p:sp>
        <p:nvSpPr>
          <p:cNvPr id="65" name="Text Placeholder 3">
            <a:extLst>
              <a:ext uri="{FF2B5EF4-FFF2-40B4-BE49-F238E27FC236}">
                <a16:creationId xmlns:a16="http://schemas.microsoft.com/office/drawing/2014/main" id="{9F32EB4B-5826-975D-2B84-87CAF9F7BABC}"/>
              </a:ext>
            </a:extLst>
          </p:cNvPr>
          <p:cNvSpPr>
            <a:spLocks noGrp="1"/>
          </p:cNvSpPr>
          <p:nvPr>
            <p:ph type="body" sz="half" idx="20"/>
          </p:nvPr>
        </p:nvSpPr>
        <p:spPr>
          <a:xfrm>
            <a:off x="7697723" y="1942287"/>
            <a:ext cx="1468694" cy="61006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indent="0" algn="ctr">
              <a:buNone/>
              <a:defRPr lang="en-US" sz="1600" b="0" i="0" dirty="0">
                <a:solidFill>
                  <a:schemeClr val="tx1"/>
                </a:solidFill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US"/>
              <a:t>Click to edit Master text styles</a:t>
            </a:r>
          </a:p>
        </p:txBody>
      </p:sp>
      <p:sp>
        <p:nvSpPr>
          <p:cNvPr id="66" name="Text Placeholder 3">
            <a:extLst>
              <a:ext uri="{FF2B5EF4-FFF2-40B4-BE49-F238E27FC236}">
                <a16:creationId xmlns:a16="http://schemas.microsoft.com/office/drawing/2014/main" id="{B23E086D-C138-AB24-83CF-475863044D62}"/>
              </a:ext>
            </a:extLst>
          </p:cNvPr>
          <p:cNvSpPr>
            <a:spLocks noGrp="1"/>
          </p:cNvSpPr>
          <p:nvPr>
            <p:ph type="body" sz="half" idx="21"/>
          </p:nvPr>
        </p:nvSpPr>
        <p:spPr>
          <a:xfrm>
            <a:off x="9998892" y="1942287"/>
            <a:ext cx="1468694" cy="61006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indent="0" algn="ctr">
              <a:buNone/>
              <a:defRPr lang="en-US" sz="1600" b="0" i="0" dirty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US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B7BA1430-1AC0-16F8-7B7A-DD37AC12D8D3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2980969" y="3101455"/>
            <a:ext cx="1705331" cy="270480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indent="0">
              <a:buNone/>
              <a:defRPr lang="en-US" sz="1500" b="0" i="0" dirty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US"/>
              <a:t>Click to edit Master text styles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9426405-742B-9D4E-FE02-38DA759652C0}"/>
              </a:ext>
            </a:extLst>
          </p:cNvPr>
          <p:cNvSpPr>
            <a:spLocks noGrp="1"/>
          </p:cNvSpPr>
          <p:nvPr>
            <p:ph type="body" sz="half" idx="23"/>
          </p:nvPr>
        </p:nvSpPr>
        <p:spPr>
          <a:xfrm>
            <a:off x="5286019" y="3101455"/>
            <a:ext cx="1705331" cy="270480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indent="0">
              <a:buNone/>
              <a:defRPr lang="en-US" sz="1500" b="0" i="0" dirty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US"/>
              <a:t>Click to edit Master text styles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C0A84B43-61EB-8380-86D3-2D6C65E21BA5}"/>
              </a:ext>
            </a:extLst>
          </p:cNvPr>
          <p:cNvSpPr>
            <a:spLocks noGrp="1"/>
          </p:cNvSpPr>
          <p:nvPr>
            <p:ph type="body" sz="half" idx="24"/>
          </p:nvPr>
        </p:nvSpPr>
        <p:spPr>
          <a:xfrm>
            <a:off x="7581544" y="3101455"/>
            <a:ext cx="1705331" cy="270480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indent="0">
              <a:buNone/>
              <a:defRPr lang="en-US" sz="1500" b="0" i="0" dirty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US"/>
              <a:t>Click to edit Master text styles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8B569253-EE2E-C1F2-3948-BBB8A6BAE973}"/>
              </a:ext>
            </a:extLst>
          </p:cNvPr>
          <p:cNvSpPr>
            <a:spLocks noGrp="1"/>
          </p:cNvSpPr>
          <p:nvPr>
            <p:ph type="body" sz="half" idx="25"/>
          </p:nvPr>
        </p:nvSpPr>
        <p:spPr>
          <a:xfrm>
            <a:off x="9886594" y="3101455"/>
            <a:ext cx="1705331" cy="270480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indent="0">
              <a:buNone/>
              <a:defRPr lang="en-US" sz="1500" b="0" i="0" dirty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US"/>
              <a:t>Click to edit Master text styles</a:t>
            </a:r>
          </a:p>
        </p:txBody>
      </p:sp>
      <p:sp>
        <p:nvSpPr>
          <p:cNvPr id="44" name="Google Shape;1454;p274">
            <a:extLst>
              <a:ext uri="{FF2B5EF4-FFF2-40B4-BE49-F238E27FC236}">
                <a16:creationId xmlns:a16="http://schemas.microsoft.com/office/drawing/2014/main" id="{8DCA682B-5785-A2FA-4EA2-31554F2B00B8}"/>
              </a:ext>
            </a:extLst>
          </p:cNvPr>
          <p:cNvSpPr/>
          <p:nvPr userDrawn="1"/>
        </p:nvSpPr>
        <p:spPr>
          <a:xfrm>
            <a:off x="2836701" y="2903930"/>
            <a:ext cx="2017562" cy="2266477"/>
          </a:xfrm>
          <a:custGeom>
            <a:avLst/>
            <a:gdLst/>
            <a:ahLst/>
            <a:cxnLst/>
            <a:rect l="l" t="t" r="r" b="b"/>
            <a:pathLst>
              <a:path w="2017562" h="2266477" extrusionOk="0">
                <a:moveTo>
                  <a:pt x="0" y="2266477"/>
                </a:moveTo>
                <a:lnTo>
                  <a:pt x="0" y="143668"/>
                </a:lnTo>
                <a:cubicBezTo>
                  <a:pt x="0" y="64289"/>
                  <a:pt x="64289" y="0"/>
                  <a:pt x="143668" y="0"/>
                </a:cubicBezTo>
                <a:lnTo>
                  <a:pt x="1873895" y="0"/>
                </a:lnTo>
                <a:cubicBezTo>
                  <a:pt x="1953274" y="0"/>
                  <a:pt x="2017563" y="64289"/>
                  <a:pt x="2017563" y="143668"/>
                </a:cubicBezTo>
                <a:lnTo>
                  <a:pt x="2017563" y="1603044"/>
                </a:lnTo>
              </a:path>
            </a:pathLst>
          </a:custGeom>
          <a:noFill/>
          <a:ln w="19000" cap="flat" cmpd="sng">
            <a:solidFill>
              <a:srgbClr val="FDDD00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dk1"/>
              </a:solidFill>
              <a:latin typeface="Lato" panose="020F0502020204030203" pitchFamily="34" charset="77"/>
              <a:ea typeface="Lato Light"/>
              <a:cs typeface="Lato Light"/>
              <a:sym typeface="Lato Light"/>
            </a:endParaRPr>
          </a:p>
        </p:txBody>
      </p:sp>
      <p:sp>
        <p:nvSpPr>
          <p:cNvPr id="45" name="Google Shape;1455;p274">
            <a:extLst>
              <a:ext uri="{FF2B5EF4-FFF2-40B4-BE49-F238E27FC236}">
                <a16:creationId xmlns:a16="http://schemas.microsoft.com/office/drawing/2014/main" id="{F8C76576-3787-0794-9C38-7F58EE30C813}"/>
              </a:ext>
            </a:extLst>
          </p:cNvPr>
          <p:cNvSpPr/>
          <p:nvPr userDrawn="1"/>
        </p:nvSpPr>
        <p:spPr>
          <a:xfrm>
            <a:off x="9720584" y="2903930"/>
            <a:ext cx="2017562" cy="3052402"/>
          </a:xfrm>
          <a:custGeom>
            <a:avLst/>
            <a:gdLst/>
            <a:ahLst/>
            <a:cxnLst/>
            <a:rect l="l" t="t" r="r" b="b"/>
            <a:pathLst>
              <a:path w="2017562" h="3052402" extrusionOk="0">
                <a:moveTo>
                  <a:pt x="0" y="276177"/>
                </a:moveTo>
                <a:lnTo>
                  <a:pt x="0" y="143668"/>
                </a:lnTo>
                <a:cubicBezTo>
                  <a:pt x="0" y="64289"/>
                  <a:pt x="64288" y="0"/>
                  <a:pt x="143667" y="0"/>
                </a:cubicBezTo>
                <a:lnTo>
                  <a:pt x="1873895" y="0"/>
                </a:lnTo>
                <a:cubicBezTo>
                  <a:pt x="1953274" y="0"/>
                  <a:pt x="2017563" y="64289"/>
                  <a:pt x="2017563" y="143668"/>
                </a:cubicBezTo>
                <a:lnTo>
                  <a:pt x="2017563" y="2908735"/>
                </a:lnTo>
                <a:cubicBezTo>
                  <a:pt x="2017563" y="2988113"/>
                  <a:pt x="1953274" y="3052402"/>
                  <a:pt x="1873895" y="3052402"/>
                </a:cubicBezTo>
                <a:lnTo>
                  <a:pt x="143667" y="3052402"/>
                </a:lnTo>
                <a:cubicBezTo>
                  <a:pt x="64288" y="3052402"/>
                  <a:pt x="0" y="2988113"/>
                  <a:pt x="0" y="2908735"/>
                </a:cubicBezTo>
                <a:lnTo>
                  <a:pt x="0" y="785925"/>
                </a:lnTo>
              </a:path>
            </a:pathLst>
          </a:custGeom>
          <a:noFill/>
          <a:ln w="19000" cap="flat" cmpd="sng">
            <a:solidFill>
              <a:srgbClr val="8292C9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dk1"/>
              </a:solidFill>
              <a:latin typeface="Lato" panose="020F0502020204030203" pitchFamily="34" charset="77"/>
              <a:ea typeface="Lato Light"/>
              <a:cs typeface="Lato Light"/>
              <a:sym typeface="Lato Light"/>
            </a:endParaRPr>
          </a:p>
        </p:txBody>
      </p:sp>
      <p:sp>
        <p:nvSpPr>
          <p:cNvPr id="46" name="Google Shape;1456;p274">
            <a:extLst>
              <a:ext uri="{FF2B5EF4-FFF2-40B4-BE49-F238E27FC236}">
                <a16:creationId xmlns:a16="http://schemas.microsoft.com/office/drawing/2014/main" id="{9A7A2951-6803-2B2B-897E-6F4A40E89E88}"/>
              </a:ext>
            </a:extLst>
          </p:cNvPr>
          <p:cNvSpPr/>
          <p:nvPr userDrawn="1"/>
        </p:nvSpPr>
        <p:spPr>
          <a:xfrm>
            <a:off x="7425956" y="2903930"/>
            <a:ext cx="2017562" cy="939610"/>
          </a:xfrm>
          <a:custGeom>
            <a:avLst/>
            <a:gdLst/>
            <a:ahLst/>
            <a:cxnLst/>
            <a:rect l="l" t="t" r="r" b="b"/>
            <a:pathLst>
              <a:path w="2017562" h="939610" extrusionOk="0">
                <a:moveTo>
                  <a:pt x="0" y="939610"/>
                </a:moveTo>
                <a:lnTo>
                  <a:pt x="0" y="143668"/>
                </a:lnTo>
                <a:cubicBezTo>
                  <a:pt x="0" y="64289"/>
                  <a:pt x="64289" y="0"/>
                  <a:pt x="143668" y="0"/>
                </a:cubicBezTo>
                <a:lnTo>
                  <a:pt x="1873895" y="0"/>
                </a:lnTo>
                <a:cubicBezTo>
                  <a:pt x="1953274" y="0"/>
                  <a:pt x="2017563" y="64289"/>
                  <a:pt x="2017563" y="143668"/>
                </a:cubicBezTo>
                <a:lnTo>
                  <a:pt x="2017563" y="276177"/>
                </a:lnTo>
              </a:path>
            </a:pathLst>
          </a:custGeom>
          <a:noFill/>
          <a:ln w="19000" cap="flat" cmpd="sng">
            <a:solidFill>
              <a:srgbClr val="57C7D8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dk1"/>
              </a:solidFill>
              <a:latin typeface="Lato" panose="020F0502020204030203" pitchFamily="34" charset="77"/>
              <a:ea typeface="Lato Light"/>
              <a:cs typeface="Lato Light"/>
              <a:sym typeface="Lato Light"/>
            </a:endParaRPr>
          </a:p>
        </p:txBody>
      </p:sp>
      <p:sp>
        <p:nvSpPr>
          <p:cNvPr id="47" name="Google Shape;1457;p274">
            <a:extLst>
              <a:ext uri="{FF2B5EF4-FFF2-40B4-BE49-F238E27FC236}">
                <a16:creationId xmlns:a16="http://schemas.microsoft.com/office/drawing/2014/main" id="{7AFF8D91-0EFD-40E5-82FD-E5733DD22D03}"/>
              </a:ext>
            </a:extLst>
          </p:cNvPr>
          <p:cNvSpPr/>
          <p:nvPr userDrawn="1"/>
        </p:nvSpPr>
        <p:spPr>
          <a:xfrm>
            <a:off x="2766199" y="5249912"/>
            <a:ext cx="176002" cy="351751"/>
          </a:xfrm>
          <a:custGeom>
            <a:avLst/>
            <a:gdLst/>
            <a:ahLst/>
            <a:cxnLst/>
            <a:rect l="l" t="t" r="r" b="b"/>
            <a:pathLst>
              <a:path w="176002" h="351751" extrusionOk="0">
                <a:moveTo>
                  <a:pt x="0" y="0"/>
                </a:moveTo>
                <a:lnTo>
                  <a:pt x="176003" y="175876"/>
                </a:lnTo>
                <a:lnTo>
                  <a:pt x="0" y="351752"/>
                </a:lnTo>
              </a:path>
            </a:pathLst>
          </a:custGeom>
          <a:noFill/>
          <a:ln w="19000" cap="flat" cmpd="sng">
            <a:solidFill>
              <a:srgbClr val="D9E1E2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dk1"/>
              </a:solidFill>
              <a:latin typeface="Lato" panose="020F0502020204030203" pitchFamily="34" charset="77"/>
              <a:ea typeface="Lato Light"/>
              <a:cs typeface="Lato Light"/>
              <a:sym typeface="Lato Light"/>
            </a:endParaRPr>
          </a:p>
        </p:txBody>
      </p:sp>
      <p:sp>
        <p:nvSpPr>
          <p:cNvPr id="48" name="Google Shape;1458;p274">
            <a:extLst>
              <a:ext uri="{FF2B5EF4-FFF2-40B4-BE49-F238E27FC236}">
                <a16:creationId xmlns:a16="http://schemas.microsoft.com/office/drawing/2014/main" id="{63C78010-FCC1-3E1F-2A2D-4F3AC4C1E759}"/>
              </a:ext>
            </a:extLst>
          </p:cNvPr>
          <p:cNvSpPr/>
          <p:nvPr userDrawn="1"/>
        </p:nvSpPr>
        <p:spPr>
          <a:xfrm>
            <a:off x="542074" y="2903930"/>
            <a:ext cx="2400254" cy="3052402"/>
          </a:xfrm>
          <a:custGeom>
            <a:avLst/>
            <a:gdLst/>
            <a:ahLst/>
            <a:cxnLst/>
            <a:rect l="l" t="t" r="r" b="b"/>
            <a:pathLst>
              <a:path w="2400254" h="3052402" extrusionOk="0">
                <a:moveTo>
                  <a:pt x="2400254" y="2522873"/>
                </a:moveTo>
                <a:lnTo>
                  <a:pt x="2017690" y="2522873"/>
                </a:lnTo>
                <a:cubicBezTo>
                  <a:pt x="2017690" y="2522873"/>
                  <a:pt x="2017690" y="2908735"/>
                  <a:pt x="2017690" y="2908735"/>
                </a:cubicBezTo>
                <a:cubicBezTo>
                  <a:pt x="2017690" y="2988113"/>
                  <a:pt x="1953401" y="3052402"/>
                  <a:pt x="1874022" y="3052402"/>
                </a:cubicBezTo>
                <a:lnTo>
                  <a:pt x="143668" y="3052402"/>
                </a:lnTo>
                <a:cubicBezTo>
                  <a:pt x="64289" y="3052402"/>
                  <a:pt x="0" y="2988113"/>
                  <a:pt x="0" y="2908735"/>
                </a:cubicBezTo>
                <a:lnTo>
                  <a:pt x="0" y="143668"/>
                </a:lnTo>
                <a:cubicBezTo>
                  <a:pt x="0" y="64289"/>
                  <a:pt x="64289" y="0"/>
                  <a:pt x="143668" y="0"/>
                </a:cubicBezTo>
                <a:lnTo>
                  <a:pt x="1874022" y="0"/>
                </a:lnTo>
                <a:cubicBezTo>
                  <a:pt x="1953401" y="0"/>
                  <a:pt x="2017690" y="64289"/>
                  <a:pt x="2017690" y="143668"/>
                </a:cubicBezTo>
                <a:lnTo>
                  <a:pt x="2017690" y="2266477"/>
                </a:lnTo>
              </a:path>
            </a:pathLst>
          </a:custGeom>
          <a:noFill/>
          <a:ln w="19000" cap="flat" cmpd="sng">
            <a:solidFill>
              <a:srgbClr val="D9E1E2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dk1"/>
              </a:solidFill>
              <a:latin typeface="Lato" panose="020F0502020204030203" pitchFamily="34" charset="77"/>
              <a:ea typeface="Lato Light"/>
              <a:cs typeface="Lato Light"/>
              <a:sym typeface="Lato Light"/>
            </a:endParaRPr>
          </a:p>
        </p:txBody>
      </p:sp>
      <p:sp>
        <p:nvSpPr>
          <p:cNvPr id="49" name="Google Shape;1459;p274">
            <a:extLst>
              <a:ext uri="{FF2B5EF4-FFF2-40B4-BE49-F238E27FC236}">
                <a16:creationId xmlns:a16="http://schemas.microsoft.com/office/drawing/2014/main" id="{817801AE-6B28-A55C-62C4-05FD9462E829}"/>
              </a:ext>
            </a:extLst>
          </p:cNvPr>
          <p:cNvSpPr/>
          <p:nvPr userDrawn="1"/>
        </p:nvSpPr>
        <p:spPr>
          <a:xfrm>
            <a:off x="5055627" y="4586352"/>
            <a:ext cx="175875" cy="351878"/>
          </a:xfrm>
          <a:custGeom>
            <a:avLst/>
            <a:gdLst/>
            <a:ahLst/>
            <a:cxnLst/>
            <a:rect l="l" t="t" r="r" b="b"/>
            <a:pathLst>
              <a:path w="175875" h="351878" extrusionOk="0">
                <a:moveTo>
                  <a:pt x="0" y="0"/>
                </a:moveTo>
                <a:lnTo>
                  <a:pt x="175876" y="175876"/>
                </a:lnTo>
                <a:lnTo>
                  <a:pt x="0" y="351878"/>
                </a:lnTo>
              </a:path>
            </a:pathLst>
          </a:custGeom>
          <a:noFill/>
          <a:ln w="19000" cap="flat" cmpd="sng">
            <a:solidFill>
              <a:srgbClr val="FDDD00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dk1"/>
              </a:solidFill>
              <a:latin typeface="Lato" panose="020F0502020204030203" pitchFamily="34" charset="77"/>
              <a:ea typeface="Lato Light"/>
              <a:cs typeface="Lato Light"/>
              <a:sym typeface="Lato Light"/>
            </a:endParaRPr>
          </a:p>
        </p:txBody>
      </p:sp>
      <p:sp>
        <p:nvSpPr>
          <p:cNvPr id="50" name="Google Shape;1460;p274">
            <a:extLst>
              <a:ext uri="{FF2B5EF4-FFF2-40B4-BE49-F238E27FC236}">
                <a16:creationId xmlns:a16="http://schemas.microsoft.com/office/drawing/2014/main" id="{A033853B-9349-9CAC-DD4E-7CE9CDCC2BBC}"/>
              </a:ext>
            </a:extLst>
          </p:cNvPr>
          <p:cNvSpPr/>
          <p:nvPr userDrawn="1"/>
        </p:nvSpPr>
        <p:spPr>
          <a:xfrm>
            <a:off x="2836701" y="4763369"/>
            <a:ext cx="2395689" cy="1192962"/>
          </a:xfrm>
          <a:custGeom>
            <a:avLst/>
            <a:gdLst/>
            <a:ahLst/>
            <a:cxnLst/>
            <a:rect l="l" t="t" r="r" b="b"/>
            <a:pathLst>
              <a:path w="2395689" h="1192962" extrusionOk="0">
                <a:moveTo>
                  <a:pt x="2395690" y="0"/>
                </a:moveTo>
                <a:lnTo>
                  <a:pt x="2017689" y="0"/>
                </a:lnTo>
                <a:cubicBezTo>
                  <a:pt x="2017689" y="0"/>
                  <a:pt x="2017689" y="1049295"/>
                  <a:pt x="2017689" y="1049295"/>
                </a:cubicBezTo>
                <a:cubicBezTo>
                  <a:pt x="2017689" y="1128674"/>
                  <a:pt x="1953401" y="1192963"/>
                  <a:pt x="1874022" y="1192963"/>
                </a:cubicBezTo>
                <a:lnTo>
                  <a:pt x="143668" y="1192963"/>
                </a:lnTo>
                <a:cubicBezTo>
                  <a:pt x="64289" y="1192963"/>
                  <a:pt x="0" y="1128674"/>
                  <a:pt x="0" y="1049295"/>
                </a:cubicBezTo>
                <a:lnTo>
                  <a:pt x="0" y="918307"/>
                </a:lnTo>
              </a:path>
            </a:pathLst>
          </a:custGeom>
          <a:noFill/>
          <a:ln w="19000" cap="flat" cmpd="sng">
            <a:solidFill>
              <a:srgbClr val="FDDD00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dk1"/>
              </a:solidFill>
              <a:latin typeface="Lato" panose="020F0502020204030203" pitchFamily="34" charset="77"/>
              <a:ea typeface="Lato Light"/>
              <a:cs typeface="Lato Light"/>
              <a:sym typeface="Lato Light"/>
            </a:endParaRPr>
          </a:p>
        </p:txBody>
      </p:sp>
      <p:sp>
        <p:nvSpPr>
          <p:cNvPr id="51" name="Google Shape;1461;p274">
            <a:extLst>
              <a:ext uri="{FF2B5EF4-FFF2-40B4-BE49-F238E27FC236}">
                <a16:creationId xmlns:a16="http://schemas.microsoft.com/office/drawing/2014/main" id="{A9467D15-26E0-4B1B-7E3E-71E16AA9BBE6}"/>
              </a:ext>
            </a:extLst>
          </p:cNvPr>
          <p:cNvSpPr/>
          <p:nvPr userDrawn="1"/>
        </p:nvSpPr>
        <p:spPr>
          <a:xfrm>
            <a:off x="7347211" y="3922919"/>
            <a:ext cx="175875" cy="351751"/>
          </a:xfrm>
          <a:custGeom>
            <a:avLst/>
            <a:gdLst/>
            <a:ahLst/>
            <a:cxnLst/>
            <a:rect l="l" t="t" r="r" b="b"/>
            <a:pathLst>
              <a:path w="175875" h="351751" extrusionOk="0">
                <a:moveTo>
                  <a:pt x="0" y="0"/>
                </a:moveTo>
                <a:lnTo>
                  <a:pt x="175876" y="175876"/>
                </a:lnTo>
                <a:lnTo>
                  <a:pt x="0" y="351752"/>
                </a:lnTo>
              </a:path>
            </a:pathLst>
          </a:custGeom>
          <a:noFill/>
          <a:ln w="19000" cap="flat" cmpd="sng">
            <a:solidFill>
              <a:srgbClr val="30B44E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dk1"/>
              </a:solidFill>
              <a:latin typeface="Lato" panose="020F0502020204030203" pitchFamily="34" charset="77"/>
              <a:ea typeface="Lato Light"/>
              <a:cs typeface="Lato Light"/>
              <a:sym typeface="Lato Light"/>
            </a:endParaRPr>
          </a:p>
        </p:txBody>
      </p:sp>
      <p:sp>
        <p:nvSpPr>
          <p:cNvPr id="52" name="Google Shape;1462;p274">
            <a:extLst>
              <a:ext uri="{FF2B5EF4-FFF2-40B4-BE49-F238E27FC236}">
                <a16:creationId xmlns:a16="http://schemas.microsoft.com/office/drawing/2014/main" id="{2994EDD3-EAF3-CA3E-0325-FF438A1C2A53}"/>
              </a:ext>
            </a:extLst>
          </p:cNvPr>
          <p:cNvSpPr/>
          <p:nvPr userDrawn="1"/>
        </p:nvSpPr>
        <p:spPr>
          <a:xfrm>
            <a:off x="5131329" y="2903930"/>
            <a:ext cx="2017563" cy="1603043"/>
          </a:xfrm>
          <a:custGeom>
            <a:avLst/>
            <a:gdLst/>
            <a:ahLst/>
            <a:cxnLst/>
            <a:rect l="l" t="t" r="r" b="b"/>
            <a:pathLst>
              <a:path w="2017563" h="1603043" extrusionOk="0">
                <a:moveTo>
                  <a:pt x="0" y="1603044"/>
                </a:moveTo>
                <a:lnTo>
                  <a:pt x="0" y="143668"/>
                </a:lnTo>
                <a:cubicBezTo>
                  <a:pt x="0" y="64289"/>
                  <a:pt x="64289" y="0"/>
                  <a:pt x="143668" y="0"/>
                </a:cubicBezTo>
                <a:lnTo>
                  <a:pt x="1873895" y="0"/>
                </a:lnTo>
                <a:cubicBezTo>
                  <a:pt x="1953274" y="0"/>
                  <a:pt x="2017563" y="64289"/>
                  <a:pt x="2017563" y="143668"/>
                </a:cubicBezTo>
                <a:lnTo>
                  <a:pt x="2017563" y="939610"/>
                </a:lnTo>
              </a:path>
            </a:pathLst>
          </a:custGeom>
          <a:noFill/>
          <a:ln w="19000" cap="flat" cmpd="sng">
            <a:solidFill>
              <a:srgbClr val="30B44E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dk1"/>
              </a:solidFill>
              <a:latin typeface="Lato" panose="020F0502020204030203" pitchFamily="34" charset="77"/>
              <a:ea typeface="Lato Light"/>
              <a:cs typeface="Lato Light"/>
              <a:sym typeface="Lato Light"/>
            </a:endParaRPr>
          </a:p>
        </p:txBody>
      </p:sp>
      <p:sp>
        <p:nvSpPr>
          <p:cNvPr id="55" name="Google Shape;1463;p274">
            <a:extLst>
              <a:ext uri="{FF2B5EF4-FFF2-40B4-BE49-F238E27FC236}">
                <a16:creationId xmlns:a16="http://schemas.microsoft.com/office/drawing/2014/main" id="{5949E0A4-1A4D-25F5-0B0A-227C6C944B06}"/>
              </a:ext>
            </a:extLst>
          </p:cNvPr>
          <p:cNvSpPr/>
          <p:nvPr userDrawn="1"/>
        </p:nvSpPr>
        <p:spPr>
          <a:xfrm>
            <a:off x="5131455" y="4099936"/>
            <a:ext cx="2392519" cy="1856396"/>
          </a:xfrm>
          <a:custGeom>
            <a:avLst/>
            <a:gdLst/>
            <a:ahLst/>
            <a:cxnLst/>
            <a:rect l="l" t="t" r="r" b="b"/>
            <a:pathLst>
              <a:path w="2392519" h="1856396" extrusionOk="0">
                <a:moveTo>
                  <a:pt x="2392519" y="0"/>
                </a:moveTo>
                <a:lnTo>
                  <a:pt x="2017563" y="0"/>
                </a:lnTo>
                <a:cubicBezTo>
                  <a:pt x="2017563" y="0"/>
                  <a:pt x="2017563" y="1712728"/>
                  <a:pt x="2017563" y="1712728"/>
                </a:cubicBezTo>
                <a:cubicBezTo>
                  <a:pt x="2017563" y="1792107"/>
                  <a:pt x="1953274" y="1856396"/>
                  <a:pt x="1873895" y="1856396"/>
                </a:cubicBezTo>
                <a:lnTo>
                  <a:pt x="143668" y="1856396"/>
                </a:lnTo>
                <a:cubicBezTo>
                  <a:pt x="64289" y="1856396"/>
                  <a:pt x="0" y="1792107"/>
                  <a:pt x="0" y="1712728"/>
                </a:cubicBezTo>
                <a:lnTo>
                  <a:pt x="0" y="918308"/>
                </a:lnTo>
              </a:path>
            </a:pathLst>
          </a:custGeom>
          <a:noFill/>
          <a:ln w="19000" cap="flat" cmpd="sng">
            <a:solidFill>
              <a:srgbClr val="30B44E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dk1"/>
              </a:solidFill>
              <a:latin typeface="Lato" panose="020F0502020204030203" pitchFamily="34" charset="77"/>
              <a:ea typeface="Lato Light"/>
              <a:cs typeface="Lato Light"/>
              <a:sym typeface="Lato Light"/>
            </a:endParaRPr>
          </a:p>
        </p:txBody>
      </p:sp>
      <p:sp>
        <p:nvSpPr>
          <p:cNvPr id="56" name="Google Shape;1464;p274">
            <a:extLst>
              <a:ext uri="{FF2B5EF4-FFF2-40B4-BE49-F238E27FC236}">
                <a16:creationId xmlns:a16="http://schemas.microsoft.com/office/drawing/2014/main" id="{4C01F7EC-C130-5357-331A-4C673A56ECA5}"/>
              </a:ext>
            </a:extLst>
          </p:cNvPr>
          <p:cNvSpPr/>
          <p:nvPr userDrawn="1"/>
        </p:nvSpPr>
        <p:spPr>
          <a:xfrm>
            <a:off x="9638796" y="3259359"/>
            <a:ext cx="175875" cy="351878"/>
          </a:xfrm>
          <a:custGeom>
            <a:avLst/>
            <a:gdLst/>
            <a:ahLst/>
            <a:cxnLst/>
            <a:rect l="l" t="t" r="r" b="b"/>
            <a:pathLst>
              <a:path w="175875" h="351878" extrusionOk="0">
                <a:moveTo>
                  <a:pt x="0" y="0"/>
                </a:moveTo>
                <a:lnTo>
                  <a:pt x="175876" y="176003"/>
                </a:lnTo>
                <a:lnTo>
                  <a:pt x="0" y="351878"/>
                </a:lnTo>
              </a:path>
            </a:pathLst>
          </a:custGeom>
          <a:noFill/>
          <a:ln w="19000" cap="flat" cmpd="sng">
            <a:solidFill>
              <a:srgbClr val="57C7D8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dk1"/>
              </a:solidFill>
              <a:latin typeface="Lato" panose="020F0502020204030203" pitchFamily="34" charset="77"/>
              <a:ea typeface="Lato Light"/>
              <a:cs typeface="Lato Light"/>
              <a:sym typeface="Lato Light"/>
            </a:endParaRPr>
          </a:p>
        </p:txBody>
      </p:sp>
      <p:sp>
        <p:nvSpPr>
          <p:cNvPr id="57" name="Google Shape;1465;p274">
            <a:extLst>
              <a:ext uri="{FF2B5EF4-FFF2-40B4-BE49-F238E27FC236}">
                <a16:creationId xmlns:a16="http://schemas.microsoft.com/office/drawing/2014/main" id="{B77BC13E-0970-B6F6-B7ED-6C695569D873}"/>
              </a:ext>
            </a:extLst>
          </p:cNvPr>
          <p:cNvSpPr/>
          <p:nvPr userDrawn="1"/>
        </p:nvSpPr>
        <p:spPr>
          <a:xfrm>
            <a:off x="7426083" y="3434981"/>
            <a:ext cx="2389476" cy="2521351"/>
          </a:xfrm>
          <a:custGeom>
            <a:avLst/>
            <a:gdLst/>
            <a:ahLst/>
            <a:cxnLst/>
            <a:rect l="l" t="t" r="r" b="b"/>
            <a:pathLst>
              <a:path w="2389476" h="2521351" extrusionOk="0">
                <a:moveTo>
                  <a:pt x="2389476" y="1522"/>
                </a:moveTo>
                <a:lnTo>
                  <a:pt x="2017563" y="0"/>
                </a:lnTo>
                <a:lnTo>
                  <a:pt x="2017563" y="2377683"/>
                </a:lnTo>
                <a:cubicBezTo>
                  <a:pt x="2017563" y="2457062"/>
                  <a:pt x="1953274" y="2521351"/>
                  <a:pt x="1873895" y="2521351"/>
                </a:cubicBezTo>
                <a:lnTo>
                  <a:pt x="143667" y="2521351"/>
                </a:lnTo>
                <a:cubicBezTo>
                  <a:pt x="64289" y="2521351"/>
                  <a:pt x="0" y="2457062"/>
                  <a:pt x="0" y="2377683"/>
                </a:cubicBezTo>
                <a:lnTo>
                  <a:pt x="0" y="929213"/>
                </a:lnTo>
              </a:path>
            </a:pathLst>
          </a:custGeom>
          <a:noFill/>
          <a:ln w="19000" cap="flat" cmpd="sng">
            <a:solidFill>
              <a:srgbClr val="57C7D8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dk1"/>
              </a:solidFill>
              <a:latin typeface="Lato" panose="020F0502020204030203" pitchFamily="34" charset="77"/>
              <a:ea typeface="Lato Light"/>
              <a:cs typeface="Lato Light"/>
              <a:sym typeface="Lato Light"/>
            </a:endParaRPr>
          </a:p>
        </p:txBody>
      </p:sp>
    </p:spTree>
    <p:extLst>
      <p:ext uri="{BB962C8B-B14F-4D97-AF65-F5344CB8AC3E}">
        <p14:creationId xmlns:p14="http://schemas.microsoft.com/office/powerpoint/2010/main" val="3362337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2 Matr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98A7786-1F21-675B-764D-B4F4A5CCBE8F}"/>
              </a:ext>
            </a:extLst>
          </p:cNvPr>
          <p:cNvSpPr/>
          <p:nvPr userDrawn="1"/>
        </p:nvSpPr>
        <p:spPr>
          <a:xfrm>
            <a:off x="4285672" y="635000"/>
            <a:ext cx="7495429" cy="5321300"/>
          </a:xfrm>
          <a:prstGeom prst="rect">
            <a:avLst/>
          </a:prstGeom>
          <a:solidFill>
            <a:srgbClr val="D9E1E2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Lato" panose="020F0502020204030203" pitchFamily="34" charset="77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26D180D-1FAA-1D7C-4AB4-F001CE46F196}"/>
              </a:ext>
            </a:extLst>
          </p:cNvPr>
          <p:cNvGrpSpPr/>
          <p:nvPr userDrawn="1"/>
        </p:nvGrpSpPr>
        <p:grpSpPr>
          <a:xfrm>
            <a:off x="11122821" y="6472473"/>
            <a:ext cx="799629" cy="166100"/>
            <a:chOff x="11122821" y="6472473"/>
            <a:chExt cx="799629" cy="166100"/>
          </a:xfrm>
        </p:grpSpPr>
        <p:sp>
          <p:nvSpPr>
            <p:cNvPr id="9" name="Freeform: Shape 11">
              <a:extLst>
                <a:ext uri="{FF2B5EF4-FFF2-40B4-BE49-F238E27FC236}">
                  <a16:creationId xmlns:a16="http://schemas.microsoft.com/office/drawing/2014/main" id="{6EED6B5E-3F33-DDD7-75DD-4F1453DC1B1B}"/>
                </a:ext>
              </a:extLst>
            </p:cNvPr>
            <p:cNvSpPr/>
            <p:nvPr/>
          </p:nvSpPr>
          <p:spPr>
            <a:xfrm rot="18900000">
              <a:off x="11134957" y="6473485"/>
              <a:ext cx="35147" cy="35147"/>
            </a:xfrm>
            <a:custGeom>
              <a:avLst/>
              <a:gdLst>
                <a:gd name="connsiteX0" fmla="*/ 32044 w 35147"/>
                <a:gd name="connsiteY0" fmla="*/ 0 h 35147"/>
                <a:gd name="connsiteX1" fmla="*/ 35148 w 35147"/>
                <a:gd name="connsiteY1" fmla="*/ 3103 h 35147"/>
                <a:gd name="connsiteX2" fmla="*/ 35148 w 35147"/>
                <a:gd name="connsiteY2" fmla="*/ 32044 h 35147"/>
                <a:gd name="connsiteX3" fmla="*/ 32044 w 35147"/>
                <a:gd name="connsiteY3" fmla="*/ 35148 h 35147"/>
                <a:gd name="connsiteX4" fmla="*/ 3103 w 35147"/>
                <a:gd name="connsiteY4" fmla="*/ 35148 h 35147"/>
                <a:gd name="connsiteX5" fmla="*/ 0 w 35147"/>
                <a:gd name="connsiteY5" fmla="*/ 32044 h 35147"/>
                <a:gd name="connsiteX6" fmla="*/ 0 w 35147"/>
                <a:gd name="connsiteY6" fmla="*/ 3103 h 35147"/>
                <a:gd name="connsiteX7" fmla="*/ 3103 w 35147"/>
                <a:gd name="connsiteY7" fmla="*/ 0 h 35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147" h="35147">
                  <a:moveTo>
                    <a:pt x="32044" y="0"/>
                  </a:moveTo>
                  <a:cubicBezTo>
                    <a:pt x="33758" y="0"/>
                    <a:pt x="35148" y="1389"/>
                    <a:pt x="35148" y="3103"/>
                  </a:cubicBezTo>
                  <a:lnTo>
                    <a:pt x="35148" y="32044"/>
                  </a:lnTo>
                  <a:cubicBezTo>
                    <a:pt x="35148" y="33758"/>
                    <a:pt x="33758" y="35148"/>
                    <a:pt x="32044" y="35148"/>
                  </a:cubicBezTo>
                  <a:lnTo>
                    <a:pt x="3103" y="35148"/>
                  </a:lnTo>
                  <a:cubicBezTo>
                    <a:pt x="1389" y="35148"/>
                    <a:pt x="0" y="33758"/>
                    <a:pt x="0" y="32044"/>
                  </a:cubicBezTo>
                  <a:lnTo>
                    <a:pt x="0" y="3103"/>
                  </a:lnTo>
                  <a:cubicBezTo>
                    <a:pt x="0" y="1389"/>
                    <a:pt x="1389" y="0"/>
                    <a:pt x="3103" y="0"/>
                  </a:cubicBezTo>
                  <a:close/>
                </a:path>
              </a:pathLst>
            </a:custGeom>
            <a:solidFill>
              <a:srgbClr val="00BD4D"/>
            </a:solidFill>
            <a:ln w="135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25041B09-AB3D-1D76-7665-F71C53BAEC43}"/>
                </a:ext>
              </a:extLst>
            </p:cNvPr>
            <p:cNvGrpSpPr/>
            <p:nvPr/>
          </p:nvGrpSpPr>
          <p:grpSpPr>
            <a:xfrm>
              <a:off x="11122821" y="6472473"/>
              <a:ext cx="799629" cy="166100"/>
              <a:chOff x="11122821" y="6472473"/>
              <a:chExt cx="799629" cy="166100"/>
            </a:xfrm>
            <a:solidFill>
              <a:schemeClr val="bg1"/>
            </a:solidFill>
          </p:grpSpPr>
          <p:sp>
            <p:nvSpPr>
              <p:cNvPr id="11" name="Freeform: Shape 13">
                <a:extLst>
                  <a:ext uri="{FF2B5EF4-FFF2-40B4-BE49-F238E27FC236}">
                    <a16:creationId xmlns:a16="http://schemas.microsoft.com/office/drawing/2014/main" id="{1DD95AB8-18D7-7A2B-3882-9C10274CE2E2}"/>
                  </a:ext>
                </a:extLst>
              </p:cNvPr>
              <p:cNvSpPr/>
              <p:nvPr/>
            </p:nvSpPr>
            <p:spPr>
              <a:xfrm>
                <a:off x="11774281" y="6519597"/>
                <a:ext cx="119385" cy="116611"/>
              </a:xfrm>
              <a:custGeom>
                <a:avLst/>
                <a:gdLst>
                  <a:gd name="connsiteX0" fmla="*/ 82523 w 119385"/>
                  <a:gd name="connsiteY0" fmla="*/ 58306 h 116611"/>
                  <a:gd name="connsiteX1" fmla="*/ 118887 w 119385"/>
                  <a:gd name="connsiteY1" fmla="*/ 112265 h 116611"/>
                  <a:gd name="connsiteX2" fmla="*/ 116385 w 119385"/>
                  <a:gd name="connsiteY2" fmla="*/ 116612 h 116611"/>
                  <a:gd name="connsiteX3" fmla="*/ 85831 w 119385"/>
                  <a:gd name="connsiteY3" fmla="*/ 116612 h 116611"/>
                  <a:gd name="connsiteX4" fmla="*/ 80718 w 119385"/>
                  <a:gd name="connsiteY4" fmla="*/ 113919 h 116611"/>
                  <a:gd name="connsiteX5" fmla="*/ 59693 w 119385"/>
                  <a:gd name="connsiteY5" fmla="*/ 81751 h 116611"/>
                  <a:gd name="connsiteX6" fmla="*/ 38667 w 119385"/>
                  <a:gd name="connsiteY6" fmla="*/ 113919 h 116611"/>
                  <a:gd name="connsiteX7" fmla="*/ 33554 w 119385"/>
                  <a:gd name="connsiteY7" fmla="*/ 116612 h 116611"/>
                  <a:gd name="connsiteX8" fmla="*/ 3000 w 119385"/>
                  <a:gd name="connsiteY8" fmla="*/ 116612 h 116611"/>
                  <a:gd name="connsiteX9" fmla="*/ 498 w 119385"/>
                  <a:gd name="connsiteY9" fmla="*/ 112265 h 116611"/>
                  <a:gd name="connsiteX10" fmla="*/ 36753 w 119385"/>
                  <a:gd name="connsiteY10" fmla="*/ 58306 h 116611"/>
                  <a:gd name="connsiteX11" fmla="*/ 498 w 119385"/>
                  <a:gd name="connsiteY11" fmla="*/ 4347 h 116611"/>
                  <a:gd name="connsiteX12" fmla="*/ 3000 w 119385"/>
                  <a:gd name="connsiteY12" fmla="*/ 0 h 116611"/>
                  <a:gd name="connsiteX13" fmla="*/ 34853 w 119385"/>
                  <a:gd name="connsiteY13" fmla="*/ 0 h 116611"/>
                  <a:gd name="connsiteX14" fmla="*/ 37778 w 119385"/>
                  <a:gd name="connsiteY14" fmla="*/ 1449 h 116611"/>
                  <a:gd name="connsiteX15" fmla="*/ 59679 w 119385"/>
                  <a:gd name="connsiteY15" fmla="*/ 34806 h 116611"/>
                  <a:gd name="connsiteX16" fmla="*/ 80240 w 119385"/>
                  <a:gd name="connsiteY16" fmla="*/ 1463 h 116611"/>
                  <a:gd name="connsiteX17" fmla="*/ 83165 w 119385"/>
                  <a:gd name="connsiteY17" fmla="*/ 0 h 116611"/>
                  <a:gd name="connsiteX18" fmla="*/ 115333 w 119385"/>
                  <a:gd name="connsiteY18" fmla="*/ 0 h 116611"/>
                  <a:gd name="connsiteX19" fmla="*/ 117834 w 119385"/>
                  <a:gd name="connsiteY19" fmla="*/ 4334 h 116611"/>
                  <a:gd name="connsiteX20" fmla="*/ 82495 w 119385"/>
                  <a:gd name="connsiteY20" fmla="*/ 58306 h 116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19385" h="116611">
                    <a:moveTo>
                      <a:pt x="82523" y="58306"/>
                    </a:moveTo>
                    <a:lnTo>
                      <a:pt x="118887" y="112265"/>
                    </a:lnTo>
                    <a:cubicBezTo>
                      <a:pt x="120199" y="114124"/>
                      <a:pt x="118764" y="116612"/>
                      <a:pt x="116385" y="116612"/>
                    </a:cubicBezTo>
                    <a:lnTo>
                      <a:pt x="85831" y="116612"/>
                    </a:lnTo>
                    <a:cubicBezTo>
                      <a:pt x="83794" y="116612"/>
                      <a:pt x="81880" y="115600"/>
                      <a:pt x="80718" y="113919"/>
                    </a:cubicBezTo>
                    <a:lnTo>
                      <a:pt x="59693" y="81751"/>
                    </a:lnTo>
                    <a:lnTo>
                      <a:pt x="38667" y="113919"/>
                    </a:lnTo>
                    <a:cubicBezTo>
                      <a:pt x="37505" y="115600"/>
                      <a:pt x="35605" y="116612"/>
                      <a:pt x="33554" y="116612"/>
                    </a:cubicBezTo>
                    <a:lnTo>
                      <a:pt x="3000" y="116612"/>
                    </a:lnTo>
                    <a:cubicBezTo>
                      <a:pt x="621" y="116612"/>
                      <a:pt x="-814" y="114138"/>
                      <a:pt x="498" y="112265"/>
                    </a:cubicBezTo>
                    <a:lnTo>
                      <a:pt x="36753" y="58306"/>
                    </a:lnTo>
                    <a:lnTo>
                      <a:pt x="498" y="4347"/>
                    </a:lnTo>
                    <a:cubicBezTo>
                      <a:pt x="-814" y="2488"/>
                      <a:pt x="621" y="0"/>
                      <a:pt x="3000" y="0"/>
                    </a:cubicBezTo>
                    <a:lnTo>
                      <a:pt x="34853" y="0"/>
                    </a:lnTo>
                    <a:cubicBezTo>
                      <a:pt x="36042" y="0"/>
                      <a:pt x="37149" y="547"/>
                      <a:pt x="37778" y="1449"/>
                    </a:cubicBezTo>
                    <a:lnTo>
                      <a:pt x="59679" y="34806"/>
                    </a:lnTo>
                    <a:lnTo>
                      <a:pt x="80240" y="1463"/>
                    </a:lnTo>
                    <a:cubicBezTo>
                      <a:pt x="80855" y="561"/>
                      <a:pt x="81976" y="0"/>
                      <a:pt x="83165" y="0"/>
                    </a:cubicBezTo>
                    <a:lnTo>
                      <a:pt x="115333" y="0"/>
                    </a:lnTo>
                    <a:cubicBezTo>
                      <a:pt x="117711" y="0"/>
                      <a:pt x="119133" y="2474"/>
                      <a:pt x="117834" y="4334"/>
                    </a:cubicBezTo>
                    <a:lnTo>
                      <a:pt x="82495" y="58306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" name="Freeform: Shape 14">
                <a:extLst>
                  <a:ext uri="{FF2B5EF4-FFF2-40B4-BE49-F238E27FC236}">
                    <a16:creationId xmlns:a16="http://schemas.microsoft.com/office/drawing/2014/main" id="{13998754-EB2C-C817-C891-58C2773F47DD}"/>
                  </a:ext>
                </a:extLst>
              </p:cNvPr>
              <p:cNvSpPr/>
              <p:nvPr/>
            </p:nvSpPr>
            <p:spPr>
              <a:xfrm>
                <a:off x="11284928" y="6472473"/>
                <a:ext cx="78825" cy="163762"/>
              </a:xfrm>
              <a:custGeom>
                <a:avLst/>
                <a:gdLst>
                  <a:gd name="connsiteX0" fmla="*/ 75722 w 78825"/>
                  <a:gd name="connsiteY0" fmla="*/ 14 h 163762"/>
                  <a:gd name="connsiteX1" fmla="*/ 50377 w 78825"/>
                  <a:gd name="connsiteY1" fmla="*/ 14 h 163762"/>
                  <a:gd name="connsiteX2" fmla="*/ 43801 w 78825"/>
                  <a:gd name="connsiteY2" fmla="*/ 2734 h 163762"/>
                  <a:gd name="connsiteX3" fmla="*/ 19987 w 78825"/>
                  <a:gd name="connsiteY3" fmla="*/ 26549 h 163762"/>
                  <a:gd name="connsiteX4" fmla="*/ 17266 w 78825"/>
                  <a:gd name="connsiteY4" fmla="*/ 33124 h 163762"/>
                  <a:gd name="connsiteX5" fmla="*/ 17266 w 78825"/>
                  <a:gd name="connsiteY5" fmla="*/ 51867 h 163762"/>
                  <a:gd name="connsiteX6" fmla="*/ 3049 w 78825"/>
                  <a:gd name="connsiteY6" fmla="*/ 51867 h 163762"/>
                  <a:gd name="connsiteX7" fmla="*/ 0 w 78825"/>
                  <a:gd name="connsiteY7" fmla="*/ 54916 h 163762"/>
                  <a:gd name="connsiteX8" fmla="*/ 0 w 78825"/>
                  <a:gd name="connsiteY8" fmla="*/ 75955 h 163762"/>
                  <a:gd name="connsiteX9" fmla="*/ 3049 w 78825"/>
                  <a:gd name="connsiteY9" fmla="*/ 79004 h 163762"/>
                  <a:gd name="connsiteX10" fmla="*/ 17266 w 78825"/>
                  <a:gd name="connsiteY10" fmla="*/ 79004 h 163762"/>
                  <a:gd name="connsiteX11" fmla="*/ 17266 w 78825"/>
                  <a:gd name="connsiteY11" fmla="*/ 160659 h 163762"/>
                  <a:gd name="connsiteX12" fmla="*/ 20369 w 78825"/>
                  <a:gd name="connsiteY12" fmla="*/ 163763 h 163762"/>
                  <a:gd name="connsiteX13" fmla="*/ 47109 w 78825"/>
                  <a:gd name="connsiteY13" fmla="*/ 163763 h 163762"/>
                  <a:gd name="connsiteX14" fmla="*/ 50213 w 78825"/>
                  <a:gd name="connsiteY14" fmla="*/ 160659 h 163762"/>
                  <a:gd name="connsiteX15" fmla="*/ 50213 w 78825"/>
                  <a:gd name="connsiteY15" fmla="*/ 78990 h 163762"/>
                  <a:gd name="connsiteX16" fmla="*/ 71443 w 78825"/>
                  <a:gd name="connsiteY16" fmla="*/ 78990 h 163762"/>
                  <a:gd name="connsiteX17" fmla="*/ 74492 w 78825"/>
                  <a:gd name="connsiteY17" fmla="*/ 75941 h 163762"/>
                  <a:gd name="connsiteX18" fmla="*/ 74492 w 78825"/>
                  <a:gd name="connsiteY18" fmla="*/ 54902 h 163762"/>
                  <a:gd name="connsiteX19" fmla="*/ 71443 w 78825"/>
                  <a:gd name="connsiteY19" fmla="*/ 51853 h 163762"/>
                  <a:gd name="connsiteX20" fmla="*/ 50213 w 78825"/>
                  <a:gd name="connsiteY20" fmla="*/ 51853 h 163762"/>
                  <a:gd name="connsiteX21" fmla="*/ 50213 w 78825"/>
                  <a:gd name="connsiteY21" fmla="*/ 38565 h 163762"/>
                  <a:gd name="connsiteX22" fmla="*/ 59509 w 78825"/>
                  <a:gd name="connsiteY22" fmla="*/ 29269 h 163762"/>
                  <a:gd name="connsiteX23" fmla="*/ 75722 w 78825"/>
                  <a:gd name="connsiteY23" fmla="*/ 29269 h 163762"/>
                  <a:gd name="connsiteX24" fmla="*/ 78826 w 78825"/>
                  <a:gd name="connsiteY24" fmla="*/ 26166 h 163762"/>
                  <a:gd name="connsiteX25" fmla="*/ 78826 w 78825"/>
                  <a:gd name="connsiteY25" fmla="*/ 3103 h 163762"/>
                  <a:gd name="connsiteX26" fmla="*/ 75722 w 78825"/>
                  <a:gd name="connsiteY26" fmla="*/ 0 h 163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78825" h="163762">
                    <a:moveTo>
                      <a:pt x="75722" y="14"/>
                    </a:moveTo>
                    <a:lnTo>
                      <a:pt x="50377" y="14"/>
                    </a:lnTo>
                    <a:cubicBezTo>
                      <a:pt x="47916" y="14"/>
                      <a:pt x="45551" y="998"/>
                      <a:pt x="43801" y="2734"/>
                    </a:cubicBezTo>
                    <a:lnTo>
                      <a:pt x="19987" y="26549"/>
                    </a:lnTo>
                    <a:cubicBezTo>
                      <a:pt x="18237" y="28299"/>
                      <a:pt x="17266" y="30664"/>
                      <a:pt x="17266" y="33124"/>
                    </a:cubicBezTo>
                    <a:lnTo>
                      <a:pt x="17266" y="51867"/>
                    </a:lnTo>
                    <a:lnTo>
                      <a:pt x="3049" y="51867"/>
                    </a:lnTo>
                    <a:cubicBezTo>
                      <a:pt x="1367" y="51867"/>
                      <a:pt x="0" y="53234"/>
                      <a:pt x="0" y="54916"/>
                    </a:cubicBezTo>
                    <a:lnTo>
                      <a:pt x="0" y="75955"/>
                    </a:lnTo>
                    <a:cubicBezTo>
                      <a:pt x="0" y="77636"/>
                      <a:pt x="1367" y="79004"/>
                      <a:pt x="3049" y="79004"/>
                    </a:cubicBezTo>
                    <a:lnTo>
                      <a:pt x="17266" y="79004"/>
                    </a:lnTo>
                    <a:lnTo>
                      <a:pt x="17266" y="160659"/>
                    </a:lnTo>
                    <a:cubicBezTo>
                      <a:pt x="17266" y="162368"/>
                      <a:pt x="18661" y="163763"/>
                      <a:pt x="20369" y="163763"/>
                    </a:cubicBezTo>
                    <a:lnTo>
                      <a:pt x="47109" y="163763"/>
                    </a:lnTo>
                    <a:cubicBezTo>
                      <a:pt x="48818" y="163763"/>
                      <a:pt x="50213" y="162368"/>
                      <a:pt x="50213" y="160659"/>
                    </a:cubicBezTo>
                    <a:lnTo>
                      <a:pt x="50213" y="78990"/>
                    </a:lnTo>
                    <a:lnTo>
                      <a:pt x="71443" y="78990"/>
                    </a:lnTo>
                    <a:cubicBezTo>
                      <a:pt x="73125" y="78990"/>
                      <a:pt x="74492" y="77623"/>
                      <a:pt x="74492" y="75941"/>
                    </a:cubicBezTo>
                    <a:lnTo>
                      <a:pt x="74492" y="54902"/>
                    </a:lnTo>
                    <a:cubicBezTo>
                      <a:pt x="74492" y="53220"/>
                      <a:pt x="73125" y="51853"/>
                      <a:pt x="71443" y="51853"/>
                    </a:cubicBezTo>
                    <a:lnTo>
                      <a:pt x="50213" y="51853"/>
                    </a:lnTo>
                    <a:lnTo>
                      <a:pt x="50213" y="38565"/>
                    </a:lnTo>
                    <a:cubicBezTo>
                      <a:pt x="50213" y="33425"/>
                      <a:pt x="54382" y="29269"/>
                      <a:pt x="59509" y="29269"/>
                    </a:cubicBezTo>
                    <a:lnTo>
                      <a:pt x="75722" y="29269"/>
                    </a:lnTo>
                    <a:cubicBezTo>
                      <a:pt x="77431" y="29269"/>
                      <a:pt x="78826" y="27875"/>
                      <a:pt x="78826" y="26166"/>
                    </a:cubicBezTo>
                    <a:lnTo>
                      <a:pt x="78826" y="3103"/>
                    </a:lnTo>
                    <a:cubicBezTo>
                      <a:pt x="78826" y="1394"/>
                      <a:pt x="77431" y="0"/>
                      <a:pt x="75722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" name="Freeform: Shape 15">
                <a:extLst>
                  <a:ext uri="{FF2B5EF4-FFF2-40B4-BE49-F238E27FC236}">
                    <a16:creationId xmlns:a16="http://schemas.microsoft.com/office/drawing/2014/main" id="{99B66098-9F25-D903-DF1C-15EABF21B362}"/>
                  </a:ext>
                </a:extLst>
              </p:cNvPr>
              <p:cNvSpPr/>
              <p:nvPr/>
            </p:nvSpPr>
            <p:spPr>
              <a:xfrm>
                <a:off x="11896791" y="6612367"/>
                <a:ext cx="25659" cy="25660"/>
              </a:xfrm>
              <a:custGeom>
                <a:avLst/>
                <a:gdLst>
                  <a:gd name="connsiteX0" fmla="*/ 25660 w 25659"/>
                  <a:gd name="connsiteY0" fmla="*/ 12810 h 25660"/>
                  <a:gd name="connsiteX1" fmla="*/ 12782 w 25659"/>
                  <a:gd name="connsiteY1" fmla="*/ 25660 h 25660"/>
                  <a:gd name="connsiteX2" fmla="*/ 0 w 25659"/>
                  <a:gd name="connsiteY2" fmla="*/ 12810 h 25660"/>
                  <a:gd name="connsiteX3" fmla="*/ 12823 w 25659"/>
                  <a:gd name="connsiteY3" fmla="*/ 0 h 25660"/>
                  <a:gd name="connsiteX4" fmla="*/ 25646 w 25659"/>
                  <a:gd name="connsiteY4" fmla="*/ 12810 h 25660"/>
                  <a:gd name="connsiteX5" fmla="*/ 23691 w 25659"/>
                  <a:gd name="connsiteY5" fmla="*/ 12864 h 25660"/>
                  <a:gd name="connsiteX6" fmla="*/ 12837 w 25659"/>
                  <a:gd name="connsiteY6" fmla="*/ 1832 h 25660"/>
                  <a:gd name="connsiteX7" fmla="*/ 1982 w 25659"/>
                  <a:gd name="connsiteY7" fmla="*/ 12851 h 25660"/>
                  <a:gd name="connsiteX8" fmla="*/ 12782 w 25659"/>
                  <a:gd name="connsiteY8" fmla="*/ 23856 h 25660"/>
                  <a:gd name="connsiteX9" fmla="*/ 23691 w 25659"/>
                  <a:gd name="connsiteY9" fmla="*/ 12864 h 25660"/>
                  <a:gd name="connsiteX10" fmla="*/ 15585 w 25659"/>
                  <a:gd name="connsiteY10" fmla="*/ 14888 h 25660"/>
                  <a:gd name="connsiteX11" fmla="*/ 18811 w 25659"/>
                  <a:gd name="connsiteY11" fmla="*/ 19905 h 25660"/>
                  <a:gd name="connsiteX12" fmla="*/ 16678 w 25659"/>
                  <a:gd name="connsiteY12" fmla="*/ 19905 h 25660"/>
                  <a:gd name="connsiteX13" fmla="*/ 13097 w 25659"/>
                  <a:gd name="connsiteY13" fmla="*/ 14218 h 25660"/>
                  <a:gd name="connsiteX14" fmla="*/ 9829 w 25659"/>
                  <a:gd name="connsiteY14" fmla="*/ 14218 h 25660"/>
                  <a:gd name="connsiteX15" fmla="*/ 9829 w 25659"/>
                  <a:gd name="connsiteY15" fmla="*/ 19905 h 25660"/>
                  <a:gd name="connsiteX16" fmla="*/ 8038 w 25659"/>
                  <a:gd name="connsiteY16" fmla="*/ 19905 h 25660"/>
                  <a:gd name="connsiteX17" fmla="*/ 8038 w 25659"/>
                  <a:gd name="connsiteY17" fmla="*/ 5523 h 25660"/>
                  <a:gd name="connsiteX18" fmla="*/ 13616 w 25659"/>
                  <a:gd name="connsiteY18" fmla="*/ 5523 h 25660"/>
                  <a:gd name="connsiteX19" fmla="*/ 18155 w 25659"/>
                  <a:gd name="connsiteY19" fmla="*/ 9761 h 25660"/>
                  <a:gd name="connsiteX20" fmla="*/ 14887 w 25659"/>
                  <a:gd name="connsiteY20" fmla="*/ 13917 h 25660"/>
                  <a:gd name="connsiteX21" fmla="*/ 15585 w 25659"/>
                  <a:gd name="connsiteY21" fmla="*/ 14901 h 25660"/>
                  <a:gd name="connsiteX22" fmla="*/ 13015 w 25659"/>
                  <a:gd name="connsiteY22" fmla="*/ 12522 h 25660"/>
                  <a:gd name="connsiteX23" fmla="*/ 16282 w 25659"/>
                  <a:gd name="connsiteY23" fmla="*/ 9870 h 25660"/>
                  <a:gd name="connsiteX24" fmla="*/ 13657 w 25659"/>
                  <a:gd name="connsiteY24" fmla="*/ 7191 h 25660"/>
                  <a:gd name="connsiteX25" fmla="*/ 9816 w 25659"/>
                  <a:gd name="connsiteY25" fmla="*/ 7191 h 25660"/>
                  <a:gd name="connsiteX26" fmla="*/ 9816 w 25659"/>
                  <a:gd name="connsiteY26" fmla="*/ 12509 h 25660"/>
                  <a:gd name="connsiteX27" fmla="*/ 13015 w 25659"/>
                  <a:gd name="connsiteY27" fmla="*/ 12509 h 25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25659" h="25660">
                    <a:moveTo>
                      <a:pt x="25660" y="12810"/>
                    </a:moveTo>
                    <a:cubicBezTo>
                      <a:pt x="25660" y="19946"/>
                      <a:pt x="19946" y="25660"/>
                      <a:pt x="12782" y="25660"/>
                    </a:cubicBezTo>
                    <a:cubicBezTo>
                      <a:pt x="5619" y="25660"/>
                      <a:pt x="0" y="19891"/>
                      <a:pt x="0" y="12810"/>
                    </a:cubicBezTo>
                    <a:cubicBezTo>
                      <a:pt x="0" y="5728"/>
                      <a:pt x="5714" y="0"/>
                      <a:pt x="12823" y="0"/>
                    </a:cubicBezTo>
                    <a:cubicBezTo>
                      <a:pt x="19932" y="0"/>
                      <a:pt x="25646" y="5687"/>
                      <a:pt x="25646" y="12810"/>
                    </a:cubicBezTo>
                    <a:close/>
                    <a:moveTo>
                      <a:pt x="23691" y="12864"/>
                    </a:moveTo>
                    <a:cubicBezTo>
                      <a:pt x="23691" y="6712"/>
                      <a:pt x="18838" y="1832"/>
                      <a:pt x="12837" y="1832"/>
                    </a:cubicBezTo>
                    <a:cubicBezTo>
                      <a:pt x="6835" y="1832"/>
                      <a:pt x="1982" y="6658"/>
                      <a:pt x="1982" y="12851"/>
                    </a:cubicBezTo>
                    <a:cubicBezTo>
                      <a:pt x="1982" y="19043"/>
                      <a:pt x="6890" y="23856"/>
                      <a:pt x="12782" y="23856"/>
                    </a:cubicBezTo>
                    <a:cubicBezTo>
                      <a:pt x="18674" y="23856"/>
                      <a:pt x="23691" y="19002"/>
                      <a:pt x="23691" y="12864"/>
                    </a:cubicBezTo>
                    <a:close/>
                    <a:moveTo>
                      <a:pt x="15585" y="14888"/>
                    </a:moveTo>
                    <a:lnTo>
                      <a:pt x="18811" y="19905"/>
                    </a:lnTo>
                    <a:lnTo>
                      <a:pt x="16678" y="19905"/>
                    </a:lnTo>
                    <a:lnTo>
                      <a:pt x="13097" y="14218"/>
                    </a:lnTo>
                    <a:lnTo>
                      <a:pt x="9829" y="14218"/>
                    </a:lnTo>
                    <a:lnTo>
                      <a:pt x="9829" y="19905"/>
                    </a:lnTo>
                    <a:lnTo>
                      <a:pt x="8038" y="19905"/>
                    </a:lnTo>
                    <a:lnTo>
                      <a:pt x="8038" y="5523"/>
                    </a:lnTo>
                    <a:lnTo>
                      <a:pt x="13616" y="5523"/>
                    </a:lnTo>
                    <a:cubicBezTo>
                      <a:pt x="16364" y="5523"/>
                      <a:pt x="18155" y="6999"/>
                      <a:pt x="18155" y="9761"/>
                    </a:cubicBezTo>
                    <a:cubicBezTo>
                      <a:pt x="18155" y="11989"/>
                      <a:pt x="16801" y="13370"/>
                      <a:pt x="14887" y="13917"/>
                    </a:cubicBezTo>
                    <a:cubicBezTo>
                      <a:pt x="15147" y="14204"/>
                      <a:pt x="15407" y="14559"/>
                      <a:pt x="15585" y="14901"/>
                    </a:cubicBezTo>
                    <a:close/>
                    <a:moveTo>
                      <a:pt x="13015" y="12522"/>
                    </a:moveTo>
                    <a:cubicBezTo>
                      <a:pt x="15038" y="12522"/>
                      <a:pt x="16282" y="11565"/>
                      <a:pt x="16282" y="9870"/>
                    </a:cubicBezTo>
                    <a:cubicBezTo>
                      <a:pt x="16282" y="8175"/>
                      <a:pt x="15421" y="7191"/>
                      <a:pt x="13657" y="7191"/>
                    </a:cubicBezTo>
                    <a:lnTo>
                      <a:pt x="9816" y="7191"/>
                    </a:lnTo>
                    <a:lnTo>
                      <a:pt x="9816" y="12509"/>
                    </a:lnTo>
                    <a:lnTo>
                      <a:pt x="13015" y="12509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" name="Freeform: Shape 16">
                <a:extLst>
                  <a:ext uri="{FF2B5EF4-FFF2-40B4-BE49-F238E27FC236}">
                    <a16:creationId xmlns:a16="http://schemas.microsoft.com/office/drawing/2014/main" id="{CBFB1EA4-51A7-47F5-DC48-56F4653812CF}"/>
                  </a:ext>
                </a:extLst>
              </p:cNvPr>
              <p:cNvSpPr/>
              <p:nvPr/>
            </p:nvSpPr>
            <p:spPr>
              <a:xfrm>
                <a:off x="11620956" y="6472487"/>
                <a:ext cx="32932" cy="163721"/>
              </a:xfrm>
              <a:custGeom>
                <a:avLst/>
                <a:gdLst>
                  <a:gd name="connsiteX0" fmla="*/ 29830 w 32932"/>
                  <a:gd name="connsiteY0" fmla="*/ 0 h 163721"/>
                  <a:gd name="connsiteX1" fmla="*/ 32933 w 32932"/>
                  <a:gd name="connsiteY1" fmla="*/ 3103 h 163721"/>
                  <a:gd name="connsiteX2" fmla="*/ 32933 w 32932"/>
                  <a:gd name="connsiteY2" fmla="*/ 160618 h 163721"/>
                  <a:gd name="connsiteX3" fmla="*/ 29830 w 32932"/>
                  <a:gd name="connsiteY3" fmla="*/ 163722 h 163721"/>
                  <a:gd name="connsiteX4" fmla="*/ 3103 w 32932"/>
                  <a:gd name="connsiteY4" fmla="*/ 163722 h 163721"/>
                  <a:gd name="connsiteX5" fmla="*/ 0 w 32932"/>
                  <a:gd name="connsiteY5" fmla="*/ 160618 h 163721"/>
                  <a:gd name="connsiteX6" fmla="*/ 0 w 32932"/>
                  <a:gd name="connsiteY6" fmla="*/ 3103 h 163721"/>
                  <a:gd name="connsiteX7" fmla="*/ 3103 w 32932"/>
                  <a:gd name="connsiteY7" fmla="*/ 0 h 163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2932" h="163721">
                    <a:moveTo>
                      <a:pt x="29830" y="0"/>
                    </a:moveTo>
                    <a:cubicBezTo>
                      <a:pt x="31544" y="0"/>
                      <a:pt x="32933" y="1389"/>
                      <a:pt x="32933" y="3103"/>
                    </a:cubicBezTo>
                    <a:lnTo>
                      <a:pt x="32933" y="160618"/>
                    </a:lnTo>
                    <a:cubicBezTo>
                      <a:pt x="32933" y="162332"/>
                      <a:pt x="31543" y="163722"/>
                      <a:pt x="29830" y="163722"/>
                    </a:cubicBezTo>
                    <a:lnTo>
                      <a:pt x="3103" y="163722"/>
                    </a:lnTo>
                    <a:cubicBezTo>
                      <a:pt x="1389" y="163722"/>
                      <a:pt x="0" y="162332"/>
                      <a:pt x="0" y="160618"/>
                    </a:cubicBezTo>
                    <a:lnTo>
                      <a:pt x="0" y="3103"/>
                    </a:lnTo>
                    <a:cubicBezTo>
                      <a:pt x="0" y="1389"/>
                      <a:pt x="1389" y="0"/>
                      <a:pt x="3103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" name="Freeform: Shape 17">
                <a:extLst>
                  <a:ext uri="{FF2B5EF4-FFF2-40B4-BE49-F238E27FC236}">
                    <a16:creationId xmlns:a16="http://schemas.microsoft.com/office/drawing/2014/main" id="{75AA7F34-2406-4A35-0CE5-B1D8D9E591BD}"/>
                  </a:ext>
                </a:extLst>
              </p:cNvPr>
              <p:cNvSpPr/>
              <p:nvPr/>
            </p:nvSpPr>
            <p:spPr>
              <a:xfrm>
                <a:off x="11488486" y="6472473"/>
                <a:ext cx="123638" cy="166086"/>
              </a:xfrm>
              <a:custGeom>
                <a:avLst/>
                <a:gdLst>
                  <a:gd name="connsiteX0" fmla="*/ 68737 w 123638"/>
                  <a:gd name="connsiteY0" fmla="*/ 44663 h 166086"/>
                  <a:gd name="connsiteX1" fmla="*/ 32947 w 123638"/>
                  <a:gd name="connsiteY1" fmla="*/ 62052 h 166086"/>
                  <a:gd name="connsiteX2" fmla="*/ 32947 w 123638"/>
                  <a:gd name="connsiteY2" fmla="*/ 3103 h 166086"/>
                  <a:gd name="connsiteX3" fmla="*/ 29843 w 123638"/>
                  <a:gd name="connsiteY3" fmla="*/ 0 h 166086"/>
                  <a:gd name="connsiteX4" fmla="*/ 3103 w 123638"/>
                  <a:gd name="connsiteY4" fmla="*/ 0 h 166086"/>
                  <a:gd name="connsiteX5" fmla="*/ 0 w 123638"/>
                  <a:gd name="connsiteY5" fmla="*/ 3103 h 166086"/>
                  <a:gd name="connsiteX6" fmla="*/ 0 w 123638"/>
                  <a:gd name="connsiteY6" fmla="*/ 160632 h 166086"/>
                  <a:gd name="connsiteX7" fmla="*/ 3103 w 123638"/>
                  <a:gd name="connsiteY7" fmla="*/ 163735 h 166086"/>
                  <a:gd name="connsiteX8" fmla="*/ 29843 w 123638"/>
                  <a:gd name="connsiteY8" fmla="*/ 163735 h 166086"/>
                  <a:gd name="connsiteX9" fmla="*/ 32947 w 123638"/>
                  <a:gd name="connsiteY9" fmla="*/ 160632 h 166086"/>
                  <a:gd name="connsiteX10" fmla="*/ 32947 w 123638"/>
                  <a:gd name="connsiteY10" fmla="*/ 149025 h 166086"/>
                  <a:gd name="connsiteX11" fmla="*/ 68983 w 123638"/>
                  <a:gd name="connsiteY11" fmla="*/ 166087 h 166086"/>
                  <a:gd name="connsiteX12" fmla="*/ 123638 w 123638"/>
                  <a:gd name="connsiteY12" fmla="*/ 105539 h 166086"/>
                  <a:gd name="connsiteX13" fmla="*/ 68750 w 123638"/>
                  <a:gd name="connsiteY13" fmla="*/ 44663 h 166086"/>
                  <a:gd name="connsiteX14" fmla="*/ 62188 w 123638"/>
                  <a:gd name="connsiteY14" fmla="*/ 135163 h 166086"/>
                  <a:gd name="connsiteX15" fmla="*/ 32947 w 123638"/>
                  <a:gd name="connsiteY15" fmla="*/ 105552 h 166086"/>
                  <a:gd name="connsiteX16" fmla="*/ 62188 w 123638"/>
                  <a:gd name="connsiteY16" fmla="*/ 76174 h 166086"/>
                  <a:gd name="connsiteX17" fmla="*/ 90965 w 123638"/>
                  <a:gd name="connsiteY17" fmla="*/ 105552 h 166086"/>
                  <a:gd name="connsiteX18" fmla="*/ 62188 w 123638"/>
                  <a:gd name="connsiteY18" fmla="*/ 135163 h 166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23638" h="166086">
                    <a:moveTo>
                      <a:pt x="68737" y="44663"/>
                    </a:moveTo>
                    <a:cubicBezTo>
                      <a:pt x="53535" y="44663"/>
                      <a:pt x="40889" y="51252"/>
                      <a:pt x="32947" y="62052"/>
                    </a:cubicBezTo>
                    <a:lnTo>
                      <a:pt x="32947" y="3103"/>
                    </a:lnTo>
                    <a:cubicBezTo>
                      <a:pt x="32947" y="1394"/>
                      <a:pt x="31552" y="0"/>
                      <a:pt x="29843" y="0"/>
                    </a:cubicBezTo>
                    <a:lnTo>
                      <a:pt x="3103" y="0"/>
                    </a:lnTo>
                    <a:cubicBezTo>
                      <a:pt x="1394" y="0"/>
                      <a:pt x="0" y="1394"/>
                      <a:pt x="0" y="3103"/>
                    </a:cubicBezTo>
                    <a:lnTo>
                      <a:pt x="0" y="160632"/>
                    </a:lnTo>
                    <a:cubicBezTo>
                      <a:pt x="0" y="162341"/>
                      <a:pt x="1394" y="163735"/>
                      <a:pt x="3103" y="163735"/>
                    </a:cubicBezTo>
                    <a:lnTo>
                      <a:pt x="29843" y="163735"/>
                    </a:lnTo>
                    <a:cubicBezTo>
                      <a:pt x="31552" y="163735"/>
                      <a:pt x="32947" y="162341"/>
                      <a:pt x="32947" y="160632"/>
                    </a:cubicBezTo>
                    <a:lnTo>
                      <a:pt x="32947" y="149025"/>
                    </a:lnTo>
                    <a:cubicBezTo>
                      <a:pt x="40903" y="159839"/>
                      <a:pt x="53535" y="166087"/>
                      <a:pt x="68983" y="166087"/>
                    </a:cubicBezTo>
                    <a:cubicBezTo>
                      <a:pt x="101505" y="166087"/>
                      <a:pt x="123638" y="139852"/>
                      <a:pt x="123638" y="105539"/>
                    </a:cubicBezTo>
                    <a:cubicBezTo>
                      <a:pt x="123638" y="71225"/>
                      <a:pt x="101505" y="44663"/>
                      <a:pt x="68750" y="44663"/>
                    </a:cubicBezTo>
                    <a:close/>
                    <a:moveTo>
                      <a:pt x="62188" y="135163"/>
                    </a:moveTo>
                    <a:cubicBezTo>
                      <a:pt x="45346" y="135163"/>
                      <a:pt x="32947" y="121533"/>
                      <a:pt x="32947" y="105552"/>
                    </a:cubicBezTo>
                    <a:cubicBezTo>
                      <a:pt x="32947" y="89571"/>
                      <a:pt x="45346" y="76174"/>
                      <a:pt x="62188" y="76174"/>
                    </a:cubicBezTo>
                    <a:cubicBezTo>
                      <a:pt x="79031" y="76174"/>
                      <a:pt x="90965" y="89571"/>
                      <a:pt x="90965" y="105552"/>
                    </a:cubicBezTo>
                    <a:cubicBezTo>
                      <a:pt x="90965" y="121533"/>
                      <a:pt x="78798" y="135163"/>
                      <a:pt x="62188" y="13516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" name="Freeform: Shape 18">
                <a:extLst>
                  <a:ext uri="{FF2B5EF4-FFF2-40B4-BE49-F238E27FC236}">
                    <a16:creationId xmlns:a16="http://schemas.microsoft.com/office/drawing/2014/main" id="{341FBFB5-8F7E-A9AD-073C-D6B575E279B3}"/>
                  </a:ext>
                </a:extLst>
              </p:cNvPr>
              <p:cNvSpPr/>
              <p:nvPr/>
            </p:nvSpPr>
            <p:spPr>
              <a:xfrm>
                <a:off x="11359421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" name="Freeform: Shape 19">
                <a:extLst>
                  <a:ext uri="{FF2B5EF4-FFF2-40B4-BE49-F238E27FC236}">
                    <a16:creationId xmlns:a16="http://schemas.microsoft.com/office/drawing/2014/main" id="{3BAC99DD-F3C0-42F8-41E7-75B9E6DE1816}"/>
                  </a:ext>
                </a:extLst>
              </p:cNvPr>
              <p:cNvSpPr/>
              <p:nvPr/>
            </p:nvSpPr>
            <p:spPr>
              <a:xfrm>
                <a:off x="11662542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" name="Freeform: Shape 20">
                <a:extLst>
                  <a:ext uri="{FF2B5EF4-FFF2-40B4-BE49-F238E27FC236}">
                    <a16:creationId xmlns:a16="http://schemas.microsoft.com/office/drawing/2014/main" id="{4F14D1BD-1A83-AE6C-BCA8-3F97B83CFE6C}"/>
                  </a:ext>
                </a:extLst>
              </p:cNvPr>
              <p:cNvSpPr/>
              <p:nvPr/>
            </p:nvSpPr>
            <p:spPr>
              <a:xfrm>
                <a:off x="11122821" y="6519528"/>
                <a:ext cx="32932" cy="116680"/>
              </a:xfrm>
              <a:custGeom>
                <a:avLst/>
                <a:gdLst>
                  <a:gd name="connsiteX0" fmla="*/ 29843 w 32932"/>
                  <a:gd name="connsiteY0" fmla="*/ 116680 h 116680"/>
                  <a:gd name="connsiteX1" fmla="*/ 3103 w 32932"/>
                  <a:gd name="connsiteY1" fmla="*/ 116680 h 116680"/>
                  <a:gd name="connsiteX2" fmla="*/ 0 w 32932"/>
                  <a:gd name="connsiteY2" fmla="*/ 113577 h 116680"/>
                  <a:gd name="connsiteX3" fmla="*/ 0 w 32932"/>
                  <a:gd name="connsiteY3" fmla="*/ 30554 h 116680"/>
                  <a:gd name="connsiteX4" fmla="*/ 1859 w 32932"/>
                  <a:gd name="connsiteY4" fmla="*/ 26125 h 116680"/>
                  <a:gd name="connsiteX5" fmla="*/ 27670 w 32932"/>
                  <a:gd name="connsiteY5" fmla="*/ 888 h 116680"/>
                  <a:gd name="connsiteX6" fmla="*/ 32933 w 32932"/>
                  <a:gd name="connsiteY6" fmla="*/ 3103 h 116680"/>
                  <a:gd name="connsiteX7" fmla="*/ 32933 w 32932"/>
                  <a:gd name="connsiteY7" fmla="*/ 113577 h 116680"/>
                  <a:gd name="connsiteX8" fmla="*/ 29830 w 32932"/>
                  <a:gd name="connsiteY8" fmla="*/ 116680 h 116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932" h="116680">
                    <a:moveTo>
                      <a:pt x="29843" y="116680"/>
                    </a:moveTo>
                    <a:lnTo>
                      <a:pt x="3103" y="116680"/>
                    </a:lnTo>
                    <a:cubicBezTo>
                      <a:pt x="1394" y="116680"/>
                      <a:pt x="0" y="115286"/>
                      <a:pt x="0" y="113577"/>
                    </a:cubicBezTo>
                    <a:lnTo>
                      <a:pt x="0" y="30554"/>
                    </a:lnTo>
                    <a:cubicBezTo>
                      <a:pt x="0" y="28886"/>
                      <a:pt x="670" y="27287"/>
                      <a:pt x="1859" y="26125"/>
                    </a:cubicBezTo>
                    <a:lnTo>
                      <a:pt x="27670" y="888"/>
                    </a:lnTo>
                    <a:cubicBezTo>
                      <a:pt x="29638" y="-1026"/>
                      <a:pt x="32933" y="355"/>
                      <a:pt x="32933" y="3103"/>
                    </a:cubicBezTo>
                    <a:lnTo>
                      <a:pt x="32933" y="113577"/>
                    </a:lnTo>
                    <a:cubicBezTo>
                      <a:pt x="32933" y="115286"/>
                      <a:pt x="31538" y="116680"/>
                      <a:pt x="29830" y="11668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" name="Freeform: Shape 21">
                <a:extLst>
                  <a:ext uri="{FF2B5EF4-FFF2-40B4-BE49-F238E27FC236}">
                    <a16:creationId xmlns:a16="http://schemas.microsoft.com/office/drawing/2014/main" id="{F01E6236-56F1-B38C-2A6B-E012B0A8B59F}"/>
                  </a:ext>
                </a:extLst>
              </p:cNvPr>
              <p:cNvSpPr/>
              <p:nvPr/>
            </p:nvSpPr>
            <p:spPr>
              <a:xfrm>
                <a:off x="11173074" y="6517105"/>
                <a:ext cx="107493" cy="119116"/>
              </a:xfrm>
              <a:custGeom>
                <a:avLst/>
                <a:gdLst>
                  <a:gd name="connsiteX0" fmla="*/ 107480 w 107493"/>
                  <a:gd name="connsiteY0" fmla="*/ 41877 h 119116"/>
                  <a:gd name="connsiteX1" fmla="*/ 65237 w 107493"/>
                  <a:gd name="connsiteY1" fmla="*/ 3 h 119116"/>
                  <a:gd name="connsiteX2" fmla="*/ 32947 w 107493"/>
                  <a:gd name="connsiteY2" fmla="*/ 17474 h 119116"/>
                  <a:gd name="connsiteX3" fmla="*/ 32947 w 107493"/>
                  <a:gd name="connsiteY3" fmla="*/ 5581 h 119116"/>
                  <a:gd name="connsiteX4" fmla="*/ 29843 w 107493"/>
                  <a:gd name="connsiteY4" fmla="*/ 2478 h 119116"/>
                  <a:gd name="connsiteX5" fmla="*/ 3103 w 107493"/>
                  <a:gd name="connsiteY5" fmla="*/ 2478 h 119116"/>
                  <a:gd name="connsiteX6" fmla="*/ 0 w 107493"/>
                  <a:gd name="connsiteY6" fmla="*/ 5581 h 119116"/>
                  <a:gd name="connsiteX7" fmla="*/ 0 w 107493"/>
                  <a:gd name="connsiteY7" fmla="*/ 116000 h 119116"/>
                  <a:gd name="connsiteX8" fmla="*/ 3103 w 107493"/>
                  <a:gd name="connsiteY8" fmla="*/ 119103 h 119116"/>
                  <a:gd name="connsiteX9" fmla="*/ 29843 w 107493"/>
                  <a:gd name="connsiteY9" fmla="*/ 119103 h 119116"/>
                  <a:gd name="connsiteX10" fmla="*/ 32947 w 107493"/>
                  <a:gd name="connsiteY10" fmla="*/ 116000 h 119116"/>
                  <a:gd name="connsiteX11" fmla="*/ 32947 w 107493"/>
                  <a:gd name="connsiteY11" fmla="*/ 51788 h 119116"/>
                  <a:gd name="connsiteX12" fmla="*/ 53740 w 107493"/>
                  <a:gd name="connsiteY12" fmla="*/ 31747 h 119116"/>
                  <a:gd name="connsiteX13" fmla="*/ 74547 w 107493"/>
                  <a:gd name="connsiteY13" fmla="*/ 53210 h 119116"/>
                  <a:gd name="connsiteX14" fmla="*/ 74547 w 107493"/>
                  <a:gd name="connsiteY14" fmla="*/ 116014 h 119116"/>
                  <a:gd name="connsiteX15" fmla="*/ 77650 w 107493"/>
                  <a:gd name="connsiteY15" fmla="*/ 119117 h 119116"/>
                  <a:gd name="connsiteX16" fmla="*/ 104390 w 107493"/>
                  <a:gd name="connsiteY16" fmla="*/ 119117 h 119116"/>
                  <a:gd name="connsiteX17" fmla="*/ 107493 w 107493"/>
                  <a:gd name="connsiteY17" fmla="*/ 116014 h 119116"/>
                  <a:gd name="connsiteX18" fmla="*/ 107493 w 107493"/>
                  <a:gd name="connsiteY18" fmla="*/ 41890 h 119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7493" h="119116">
                    <a:moveTo>
                      <a:pt x="107480" y="41877"/>
                    </a:moveTo>
                    <a:cubicBezTo>
                      <a:pt x="107480" y="19252"/>
                      <a:pt x="88792" y="277"/>
                      <a:pt x="65237" y="3"/>
                    </a:cubicBezTo>
                    <a:cubicBezTo>
                      <a:pt x="49912" y="-175"/>
                      <a:pt x="39563" y="7331"/>
                      <a:pt x="32947" y="17474"/>
                    </a:cubicBezTo>
                    <a:lnTo>
                      <a:pt x="32947" y="5581"/>
                    </a:lnTo>
                    <a:cubicBezTo>
                      <a:pt x="32947" y="3872"/>
                      <a:pt x="31552" y="2478"/>
                      <a:pt x="29843" y="2478"/>
                    </a:cubicBezTo>
                    <a:lnTo>
                      <a:pt x="3103" y="2478"/>
                    </a:lnTo>
                    <a:cubicBezTo>
                      <a:pt x="1394" y="2478"/>
                      <a:pt x="0" y="3872"/>
                      <a:pt x="0" y="5581"/>
                    </a:cubicBezTo>
                    <a:lnTo>
                      <a:pt x="0" y="116000"/>
                    </a:lnTo>
                    <a:cubicBezTo>
                      <a:pt x="0" y="117709"/>
                      <a:pt x="1394" y="119103"/>
                      <a:pt x="3103" y="119103"/>
                    </a:cubicBezTo>
                    <a:lnTo>
                      <a:pt x="29843" y="119103"/>
                    </a:lnTo>
                    <a:cubicBezTo>
                      <a:pt x="31552" y="119103"/>
                      <a:pt x="32947" y="117709"/>
                      <a:pt x="32947" y="116000"/>
                    </a:cubicBezTo>
                    <a:lnTo>
                      <a:pt x="32947" y="51788"/>
                    </a:lnTo>
                    <a:cubicBezTo>
                      <a:pt x="33685" y="39430"/>
                      <a:pt x="41518" y="31747"/>
                      <a:pt x="53740" y="31747"/>
                    </a:cubicBezTo>
                    <a:cubicBezTo>
                      <a:pt x="65961" y="31747"/>
                      <a:pt x="74547" y="40373"/>
                      <a:pt x="74547" y="53210"/>
                    </a:cubicBezTo>
                    <a:lnTo>
                      <a:pt x="74547" y="116014"/>
                    </a:lnTo>
                    <a:cubicBezTo>
                      <a:pt x="74547" y="117722"/>
                      <a:pt x="75941" y="119117"/>
                      <a:pt x="77650" y="119117"/>
                    </a:cubicBezTo>
                    <a:lnTo>
                      <a:pt x="104390" y="119117"/>
                    </a:lnTo>
                    <a:cubicBezTo>
                      <a:pt x="106099" y="119117"/>
                      <a:pt x="107493" y="117722"/>
                      <a:pt x="107493" y="116014"/>
                    </a:cubicBezTo>
                    <a:lnTo>
                      <a:pt x="107493" y="41890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EF0D9C6-F32B-2472-DEF5-74D8D7976532}"/>
              </a:ext>
            </a:extLst>
          </p:cNvPr>
          <p:cNvCxnSpPr>
            <a:cxnSpLocks/>
          </p:cNvCxnSpPr>
          <p:nvPr userDrawn="1"/>
        </p:nvCxnSpPr>
        <p:spPr>
          <a:xfrm>
            <a:off x="8033386" y="669686"/>
            <a:ext cx="0" cy="5251928"/>
          </a:xfrm>
          <a:prstGeom prst="line">
            <a:avLst/>
          </a:prstGeom>
          <a:ln w="25400" cap="rnd">
            <a:solidFill>
              <a:schemeClr val="accent2">
                <a:alpha val="3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A4F6A28-F6E7-9495-B8A0-072419DD5E49}"/>
              </a:ext>
            </a:extLst>
          </p:cNvPr>
          <p:cNvCxnSpPr>
            <a:cxnSpLocks/>
          </p:cNvCxnSpPr>
          <p:nvPr userDrawn="1"/>
        </p:nvCxnSpPr>
        <p:spPr>
          <a:xfrm flipH="1">
            <a:off x="4285672" y="3295650"/>
            <a:ext cx="3703783" cy="0"/>
          </a:xfrm>
          <a:prstGeom prst="line">
            <a:avLst/>
          </a:prstGeom>
          <a:ln w="25400" cap="rnd">
            <a:solidFill>
              <a:schemeClr val="accent2">
                <a:alpha val="3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20697B61-48D3-1117-2E84-ACEFAACB8824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427332" y="2857500"/>
            <a:ext cx="3164622" cy="112278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>
              <a:defRPr kumimoji="0" lang="en-US" sz="3400" b="1" i="0" u="none" strike="noStrike" cap="all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Lato" panose="020F0502020204030203" pitchFamily="34" charset="77"/>
                <a:ea typeface="Lato" panose="020F0502020204030203" pitchFamily="34" charset="77"/>
                <a:cs typeface="Arial" panose="020B0604020202020204" pitchFamily="34" charset="0"/>
              </a:defRPr>
            </a:lvl1pPr>
          </a:lstStyle>
          <a:p>
            <a:pPr marL="0"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title sty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21060C3-D853-6492-5901-926B690852C0}"/>
              </a:ext>
            </a:extLst>
          </p:cNvPr>
          <p:cNvCxnSpPr>
            <a:cxnSpLocks/>
          </p:cNvCxnSpPr>
          <p:nvPr userDrawn="1"/>
        </p:nvCxnSpPr>
        <p:spPr>
          <a:xfrm flipH="1">
            <a:off x="8040373" y="3295650"/>
            <a:ext cx="3703783" cy="0"/>
          </a:xfrm>
          <a:prstGeom prst="line">
            <a:avLst/>
          </a:prstGeom>
          <a:ln w="25400" cap="rnd">
            <a:solidFill>
              <a:schemeClr val="accent2">
                <a:alpha val="3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E924C4C0-CB08-311F-8C51-563D083F824E}"/>
              </a:ext>
            </a:extLst>
          </p:cNvPr>
          <p:cNvSpPr>
            <a:spLocks noGrp="1"/>
          </p:cNvSpPr>
          <p:nvPr>
            <p:ph type="body" sz="half" idx="17"/>
          </p:nvPr>
        </p:nvSpPr>
        <p:spPr>
          <a:xfrm>
            <a:off x="4591050" y="890635"/>
            <a:ext cx="3190578" cy="58718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indent="0">
              <a:spcBef>
                <a:spcPts val="600"/>
              </a:spcBef>
              <a:buClr>
                <a:srgbClr val="00BD4D"/>
              </a:buClr>
              <a:buFont typeface="Arial" panose="020B0604020202020204" pitchFamily="34" charset="0"/>
              <a:buNone/>
              <a:defRPr lang="en-US" sz="1800" cap="all" baseline="0" dirty="0">
                <a:solidFill>
                  <a:schemeClr val="bg1"/>
                </a:solidFill>
                <a:latin typeface="Lato" panose="020F0502020204030203" pitchFamily="34" charset="0"/>
              </a:defRPr>
            </a:lvl1pPr>
          </a:lstStyle>
          <a:p>
            <a:pPr marL="0" lvl="0"/>
            <a:r>
              <a:rPr lang="en-US"/>
              <a:t>Click to edit Master text styles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C91006D7-AA85-6AA4-F873-91F9A29B626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91050" y="1625600"/>
            <a:ext cx="3190574" cy="1385455"/>
          </a:xfrm>
          <a:prstGeom prst="rect">
            <a:avLst/>
          </a:prstGeom>
        </p:spPr>
        <p:txBody>
          <a:bodyPr/>
          <a:lstStyle>
            <a:lvl1pPr marL="216000" indent="-216000">
              <a:buClr>
                <a:schemeClr val="accent1"/>
              </a:buClr>
              <a:defRPr sz="1600" b="0" i="0">
                <a:solidFill>
                  <a:schemeClr val="bg1"/>
                </a:solidFill>
                <a:latin typeface="Lato" panose="020F0502020204030203" pitchFamily="34" charset="77"/>
              </a:defRPr>
            </a:lvl1pPr>
            <a:lvl2pPr marL="457200" indent="0">
              <a:buNone/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C66E84D2-1E37-4DAF-C5CD-3F5B671D2C7F}"/>
              </a:ext>
            </a:extLst>
          </p:cNvPr>
          <p:cNvSpPr>
            <a:spLocks noGrp="1"/>
          </p:cNvSpPr>
          <p:nvPr>
            <p:ph type="body" sz="half" idx="19"/>
          </p:nvPr>
        </p:nvSpPr>
        <p:spPr>
          <a:xfrm>
            <a:off x="8283420" y="890635"/>
            <a:ext cx="3190578" cy="58718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indent="0">
              <a:spcBef>
                <a:spcPts val="600"/>
              </a:spcBef>
              <a:buClr>
                <a:srgbClr val="00BD4D"/>
              </a:buClr>
              <a:buFont typeface="Arial" panose="020B0604020202020204" pitchFamily="34" charset="0"/>
              <a:buNone/>
              <a:defRPr lang="en-US" sz="1800" cap="all" baseline="0" dirty="0">
                <a:solidFill>
                  <a:schemeClr val="bg1"/>
                </a:solidFill>
                <a:latin typeface="Lato" panose="020F0502020204030203" pitchFamily="34" charset="0"/>
              </a:defRPr>
            </a:lvl1pPr>
          </a:lstStyle>
          <a:p>
            <a:pPr marL="0" lvl="0"/>
            <a:r>
              <a:rPr lang="en-US"/>
              <a:t>Click to edit Master text styles</a:t>
            </a:r>
          </a:p>
        </p:txBody>
      </p:sp>
      <p:sp>
        <p:nvSpPr>
          <p:cNvPr id="37" name="Text Placeholder 33">
            <a:extLst>
              <a:ext uri="{FF2B5EF4-FFF2-40B4-BE49-F238E27FC236}">
                <a16:creationId xmlns:a16="http://schemas.microsoft.com/office/drawing/2014/main" id="{4A8DF3D4-4379-5270-6A61-A661F30C3FD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83420" y="1625600"/>
            <a:ext cx="3190574" cy="1385455"/>
          </a:xfrm>
          <a:prstGeom prst="rect">
            <a:avLst/>
          </a:prstGeom>
        </p:spPr>
        <p:txBody>
          <a:bodyPr/>
          <a:lstStyle>
            <a:lvl1pPr marL="216000" indent="-216000">
              <a:buClr>
                <a:schemeClr val="accent1"/>
              </a:buClr>
              <a:defRPr sz="1600" b="0" i="0">
                <a:solidFill>
                  <a:schemeClr val="bg1"/>
                </a:solidFill>
                <a:latin typeface="Lato" panose="020F0502020204030203" pitchFamily="34" charset="77"/>
              </a:defRPr>
            </a:lvl1pPr>
            <a:lvl2pPr marL="457200" indent="0">
              <a:buNone/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33">
            <a:extLst>
              <a:ext uri="{FF2B5EF4-FFF2-40B4-BE49-F238E27FC236}">
                <a16:creationId xmlns:a16="http://schemas.microsoft.com/office/drawing/2014/main" id="{63A19723-E3C6-0EF6-BA1E-A6C96F2E669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 rot="16200000">
            <a:off x="1367065" y="3166996"/>
            <a:ext cx="5321300" cy="257307"/>
          </a:xfrm>
          <a:prstGeom prst="rect">
            <a:avLst/>
          </a:prstGeom>
        </p:spPr>
        <p:txBody>
          <a:bodyPr anchor="ctr"/>
          <a:lstStyle>
            <a:lvl1pPr marL="0" indent="0" algn="ctr">
              <a:buClr>
                <a:schemeClr val="accent1"/>
              </a:buClr>
              <a:buNone/>
              <a:defRPr sz="1400" b="0" i="0">
                <a:solidFill>
                  <a:schemeClr val="bg1"/>
                </a:solidFill>
                <a:latin typeface="Lato" panose="020F0502020204030203" pitchFamily="34" charset="77"/>
              </a:defRPr>
            </a:lvl1pPr>
            <a:lvl2pPr marL="457200" indent="0">
              <a:buNone/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33">
            <a:extLst>
              <a:ext uri="{FF2B5EF4-FFF2-40B4-BE49-F238E27FC236}">
                <a16:creationId xmlns:a16="http://schemas.microsoft.com/office/drawing/2014/main" id="{F92BC133-A951-5375-206C-8FE483CEE74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230253" y="6022781"/>
            <a:ext cx="7550847" cy="257307"/>
          </a:xfrm>
          <a:prstGeom prst="rect">
            <a:avLst/>
          </a:prstGeom>
        </p:spPr>
        <p:txBody>
          <a:bodyPr anchor="ctr"/>
          <a:lstStyle>
            <a:lvl1pPr marL="0" indent="0" algn="ctr">
              <a:buClr>
                <a:schemeClr val="accent1"/>
              </a:buClr>
              <a:buNone/>
              <a:defRPr sz="1400" b="0" i="0">
                <a:solidFill>
                  <a:schemeClr val="bg1"/>
                </a:solidFill>
                <a:latin typeface="Lato" panose="020F0502020204030203" pitchFamily="34" charset="77"/>
              </a:defRPr>
            </a:lvl1pPr>
            <a:lvl2pPr marL="457200" indent="0">
              <a:buNone/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6D14519B-31F4-7EC9-3DA4-E4EE039E2A76}"/>
              </a:ext>
            </a:extLst>
          </p:cNvPr>
          <p:cNvSpPr>
            <a:spLocks noGrp="1"/>
          </p:cNvSpPr>
          <p:nvPr>
            <p:ph type="body" sz="half" idx="23"/>
          </p:nvPr>
        </p:nvSpPr>
        <p:spPr>
          <a:xfrm>
            <a:off x="4591050" y="3478762"/>
            <a:ext cx="3190578" cy="58718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indent="0">
              <a:spcBef>
                <a:spcPts val="600"/>
              </a:spcBef>
              <a:buClr>
                <a:srgbClr val="00BD4D"/>
              </a:buClr>
              <a:buFont typeface="Arial" panose="020B0604020202020204" pitchFamily="34" charset="0"/>
              <a:buNone/>
              <a:defRPr lang="en-US" sz="1800" cap="all" baseline="0" dirty="0">
                <a:solidFill>
                  <a:schemeClr val="bg1"/>
                </a:solidFill>
                <a:latin typeface="Lato" panose="020F0502020204030203" pitchFamily="34" charset="0"/>
              </a:defRPr>
            </a:lvl1pPr>
          </a:lstStyle>
          <a:p>
            <a:pPr marL="0" lvl="0"/>
            <a:r>
              <a:rPr lang="en-US"/>
              <a:t>Click to edit Master text styles</a:t>
            </a:r>
          </a:p>
        </p:txBody>
      </p:sp>
      <p:sp>
        <p:nvSpPr>
          <p:cNvPr id="42" name="Text Placeholder 33">
            <a:extLst>
              <a:ext uri="{FF2B5EF4-FFF2-40B4-BE49-F238E27FC236}">
                <a16:creationId xmlns:a16="http://schemas.microsoft.com/office/drawing/2014/main" id="{8343B14C-D2D3-281C-84A0-2C434EA7D3C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91050" y="4213727"/>
            <a:ext cx="3190574" cy="1385455"/>
          </a:xfrm>
          <a:prstGeom prst="rect">
            <a:avLst/>
          </a:prstGeom>
        </p:spPr>
        <p:txBody>
          <a:bodyPr/>
          <a:lstStyle>
            <a:lvl1pPr marL="216000" indent="-216000">
              <a:buClr>
                <a:schemeClr val="accent1"/>
              </a:buClr>
              <a:defRPr sz="1600" b="0" i="0">
                <a:solidFill>
                  <a:schemeClr val="bg1"/>
                </a:solidFill>
                <a:latin typeface="Lato" panose="020F0502020204030203" pitchFamily="34" charset="77"/>
              </a:defRPr>
            </a:lvl1pPr>
            <a:lvl2pPr marL="457200" indent="0">
              <a:buNone/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E7892623-B56E-298A-038D-3ADBDF521A29}"/>
              </a:ext>
            </a:extLst>
          </p:cNvPr>
          <p:cNvSpPr>
            <a:spLocks noGrp="1"/>
          </p:cNvSpPr>
          <p:nvPr>
            <p:ph type="body" sz="half" idx="25"/>
          </p:nvPr>
        </p:nvSpPr>
        <p:spPr>
          <a:xfrm>
            <a:off x="8283420" y="3478762"/>
            <a:ext cx="3190578" cy="58718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indent="0">
              <a:spcBef>
                <a:spcPts val="600"/>
              </a:spcBef>
              <a:buClr>
                <a:srgbClr val="00BD4D"/>
              </a:buClr>
              <a:buFont typeface="Arial" panose="020B0604020202020204" pitchFamily="34" charset="0"/>
              <a:buNone/>
              <a:defRPr lang="en-US" sz="1800" cap="all" baseline="0" dirty="0">
                <a:solidFill>
                  <a:schemeClr val="bg1"/>
                </a:solidFill>
                <a:latin typeface="Lato" panose="020F0502020204030203" pitchFamily="34" charset="0"/>
              </a:defRPr>
            </a:lvl1pPr>
          </a:lstStyle>
          <a:p>
            <a:pPr marL="0" lvl="0"/>
            <a:r>
              <a:rPr lang="en-US"/>
              <a:t>Click to edit Master text styles</a:t>
            </a:r>
          </a:p>
        </p:txBody>
      </p:sp>
      <p:sp>
        <p:nvSpPr>
          <p:cNvPr id="44" name="Text Placeholder 33">
            <a:extLst>
              <a:ext uri="{FF2B5EF4-FFF2-40B4-BE49-F238E27FC236}">
                <a16:creationId xmlns:a16="http://schemas.microsoft.com/office/drawing/2014/main" id="{DCECBFB8-ACF8-198D-005E-4924A791E54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283420" y="4213727"/>
            <a:ext cx="3190574" cy="1385455"/>
          </a:xfrm>
          <a:prstGeom prst="rect">
            <a:avLst/>
          </a:prstGeom>
        </p:spPr>
        <p:txBody>
          <a:bodyPr/>
          <a:lstStyle>
            <a:lvl1pPr marL="216000" indent="-216000">
              <a:buClr>
                <a:schemeClr val="accent1"/>
              </a:buClr>
              <a:defRPr sz="1600" b="0" i="0">
                <a:solidFill>
                  <a:schemeClr val="bg1"/>
                </a:solidFill>
                <a:latin typeface="Lato" panose="020F0502020204030203" pitchFamily="34" charset="77"/>
              </a:defRPr>
            </a:lvl1pPr>
            <a:lvl2pPr marL="457200" indent="0">
              <a:buNone/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0CFB9ED1-7678-8B1C-EC5F-EE836ABEB6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0252" y="5770351"/>
            <a:ext cx="7735576" cy="265351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02185A44-C609-C609-9480-9E4D163E01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573599" y="3117081"/>
            <a:ext cx="5413065" cy="265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8474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: 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FF9DF94D-73A5-45A6-A088-42942BAC00B6}"/>
              </a:ext>
            </a:extLst>
          </p:cNvPr>
          <p:cNvGrpSpPr/>
          <p:nvPr userDrawn="1"/>
        </p:nvGrpSpPr>
        <p:grpSpPr>
          <a:xfrm>
            <a:off x="11122821" y="6472473"/>
            <a:ext cx="799629" cy="166100"/>
            <a:chOff x="11122821" y="6472473"/>
            <a:chExt cx="799629" cy="166100"/>
          </a:xfrm>
        </p:grpSpPr>
        <p:sp>
          <p:nvSpPr>
            <p:cNvPr id="14" name="Freeform: Shape 11">
              <a:extLst>
                <a:ext uri="{FF2B5EF4-FFF2-40B4-BE49-F238E27FC236}">
                  <a16:creationId xmlns:a16="http://schemas.microsoft.com/office/drawing/2014/main" id="{C69495A3-AF61-631D-C126-6483F63E3156}"/>
                </a:ext>
              </a:extLst>
            </p:cNvPr>
            <p:cNvSpPr/>
            <p:nvPr/>
          </p:nvSpPr>
          <p:spPr>
            <a:xfrm rot="18900000">
              <a:off x="11134957" y="6473485"/>
              <a:ext cx="35147" cy="35147"/>
            </a:xfrm>
            <a:custGeom>
              <a:avLst/>
              <a:gdLst>
                <a:gd name="connsiteX0" fmla="*/ 32044 w 35147"/>
                <a:gd name="connsiteY0" fmla="*/ 0 h 35147"/>
                <a:gd name="connsiteX1" fmla="*/ 35148 w 35147"/>
                <a:gd name="connsiteY1" fmla="*/ 3103 h 35147"/>
                <a:gd name="connsiteX2" fmla="*/ 35148 w 35147"/>
                <a:gd name="connsiteY2" fmla="*/ 32044 h 35147"/>
                <a:gd name="connsiteX3" fmla="*/ 32044 w 35147"/>
                <a:gd name="connsiteY3" fmla="*/ 35148 h 35147"/>
                <a:gd name="connsiteX4" fmla="*/ 3103 w 35147"/>
                <a:gd name="connsiteY4" fmla="*/ 35148 h 35147"/>
                <a:gd name="connsiteX5" fmla="*/ 0 w 35147"/>
                <a:gd name="connsiteY5" fmla="*/ 32044 h 35147"/>
                <a:gd name="connsiteX6" fmla="*/ 0 w 35147"/>
                <a:gd name="connsiteY6" fmla="*/ 3103 h 35147"/>
                <a:gd name="connsiteX7" fmla="*/ 3103 w 35147"/>
                <a:gd name="connsiteY7" fmla="*/ 0 h 35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147" h="35147">
                  <a:moveTo>
                    <a:pt x="32044" y="0"/>
                  </a:moveTo>
                  <a:cubicBezTo>
                    <a:pt x="33758" y="0"/>
                    <a:pt x="35148" y="1389"/>
                    <a:pt x="35148" y="3103"/>
                  </a:cubicBezTo>
                  <a:lnTo>
                    <a:pt x="35148" y="32044"/>
                  </a:lnTo>
                  <a:cubicBezTo>
                    <a:pt x="35148" y="33758"/>
                    <a:pt x="33758" y="35148"/>
                    <a:pt x="32044" y="35148"/>
                  </a:cubicBezTo>
                  <a:lnTo>
                    <a:pt x="3103" y="35148"/>
                  </a:lnTo>
                  <a:cubicBezTo>
                    <a:pt x="1389" y="35148"/>
                    <a:pt x="0" y="33758"/>
                    <a:pt x="0" y="32044"/>
                  </a:cubicBezTo>
                  <a:lnTo>
                    <a:pt x="0" y="3103"/>
                  </a:lnTo>
                  <a:cubicBezTo>
                    <a:pt x="0" y="1389"/>
                    <a:pt x="1389" y="0"/>
                    <a:pt x="3103" y="0"/>
                  </a:cubicBezTo>
                  <a:close/>
                </a:path>
              </a:pathLst>
            </a:custGeom>
            <a:solidFill>
              <a:srgbClr val="00BD4D"/>
            </a:solidFill>
            <a:ln w="135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9FE6482C-2A6E-D0FC-02D6-CC6EEEE202B4}"/>
                </a:ext>
              </a:extLst>
            </p:cNvPr>
            <p:cNvGrpSpPr/>
            <p:nvPr/>
          </p:nvGrpSpPr>
          <p:grpSpPr>
            <a:xfrm>
              <a:off x="11122821" y="6472473"/>
              <a:ext cx="799629" cy="166100"/>
              <a:chOff x="11122821" y="6472473"/>
              <a:chExt cx="799629" cy="166100"/>
            </a:xfrm>
            <a:solidFill>
              <a:schemeClr val="bg1"/>
            </a:solidFill>
          </p:grpSpPr>
          <p:sp>
            <p:nvSpPr>
              <p:cNvPr id="17" name="Freeform: Shape 13">
                <a:extLst>
                  <a:ext uri="{FF2B5EF4-FFF2-40B4-BE49-F238E27FC236}">
                    <a16:creationId xmlns:a16="http://schemas.microsoft.com/office/drawing/2014/main" id="{DE4859F1-57AA-200C-E0C9-497F12661A20}"/>
                  </a:ext>
                </a:extLst>
              </p:cNvPr>
              <p:cNvSpPr/>
              <p:nvPr/>
            </p:nvSpPr>
            <p:spPr>
              <a:xfrm>
                <a:off x="11774281" y="6519597"/>
                <a:ext cx="119385" cy="116611"/>
              </a:xfrm>
              <a:custGeom>
                <a:avLst/>
                <a:gdLst>
                  <a:gd name="connsiteX0" fmla="*/ 82523 w 119385"/>
                  <a:gd name="connsiteY0" fmla="*/ 58306 h 116611"/>
                  <a:gd name="connsiteX1" fmla="*/ 118887 w 119385"/>
                  <a:gd name="connsiteY1" fmla="*/ 112265 h 116611"/>
                  <a:gd name="connsiteX2" fmla="*/ 116385 w 119385"/>
                  <a:gd name="connsiteY2" fmla="*/ 116612 h 116611"/>
                  <a:gd name="connsiteX3" fmla="*/ 85831 w 119385"/>
                  <a:gd name="connsiteY3" fmla="*/ 116612 h 116611"/>
                  <a:gd name="connsiteX4" fmla="*/ 80718 w 119385"/>
                  <a:gd name="connsiteY4" fmla="*/ 113919 h 116611"/>
                  <a:gd name="connsiteX5" fmla="*/ 59693 w 119385"/>
                  <a:gd name="connsiteY5" fmla="*/ 81751 h 116611"/>
                  <a:gd name="connsiteX6" fmla="*/ 38667 w 119385"/>
                  <a:gd name="connsiteY6" fmla="*/ 113919 h 116611"/>
                  <a:gd name="connsiteX7" fmla="*/ 33554 w 119385"/>
                  <a:gd name="connsiteY7" fmla="*/ 116612 h 116611"/>
                  <a:gd name="connsiteX8" fmla="*/ 3000 w 119385"/>
                  <a:gd name="connsiteY8" fmla="*/ 116612 h 116611"/>
                  <a:gd name="connsiteX9" fmla="*/ 498 w 119385"/>
                  <a:gd name="connsiteY9" fmla="*/ 112265 h 116611"/>
                  <a:gd name="connsiteX10" fmla="*/ 36753 w 119385"/>
                  <a:gd name="connsiteY10" fmla="*/ 58306 h 116611"/>
                  <a:gd name="connsiteX11" fmla="*/ 498 w 119385"/>
                  <a:gd name="connsiteY11" fmla="*/ 4347 h 116611"/>
                  <a:gd name="connsiteX12" fmla="*/ 3000 w 119385"/>
                  <a:gd name="connsiteY12" fmla="*/ 0 h 116611"/>
                  <a:gd name="connsiteX13" fmla="*/ 34853 w 119385"/>
                  <a:gd name="connsiteY13" fmla="*/ 0 h 116611"/>
                  <a:gd name="connsiteX14" fmla="*/ 37778 w 119385"/>
                  <a:gd name="connsiteY14" fmla="*/ 1449 h 116611"/>
                  <a:gd name="connsiteX15" fmla="*/ 59679 w 119385"/>
                  <a:gd name="connsiteY15" fmla="*/ 34806 h 116611"/>
                  <a:gd name="connsiteX16" fmla="*/ 80240 w 119385"/>
                  <a:gd name="connsiteY16" fmla="*/ 1463 h 116611"/>
                  <a:gd name="connsiteX17" fmla="*/ 83165 w 119385"/>
                  <a:gd name="connsiteY17" fmla="*/ 0 h 116611"/>
                  <a:gd name="connsiteX18" fmla="*/ 115333 w 119385"/>
                  <a:gd name="connsiteY18" fmla="*/ 0 h 116611"/>
                  <a:gd name="connsiteX19" fmla="*/ 117834 w 119385"/>
                  <a:gd name="connsiteY19" fmla="*/ 4334 h 116611"/>
                  <a:gd name="connsiteX20" fmla="*/ 82495 w 119385"/>
                  <a:gd name="connsiteY20" fmla="*/ 58306 h 116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19385" h="116611">
                    <a:moveTo>
                      <a:pt x="82523" y="58306"/>
                    </a:moveTo>
                    <a:lnTo>
                      <a:pt x="118887" y="112265"/>
                    </a:lnTo>
                    <a:cubicBezTo>
                      <a:pt x="120199" y="114124"/>
                      <a:pt x="118764" y="116612"/>
                      <a:pt x="116385" y="116612"/>
                    </a:cubicBezTo>
                    <a:lnTo>
                      <a:pt x="85831" y="116612"/>
                    </a:lnTo>
                    <a:cubicBezTo>
                      <a:pt x="83794" y="116612"/>
                      <a:pt x="81880" y="115600"/>
                      <a:pt x="80718" y="113919"/>
                    </a:cubicBezTo>
                    <a:lnTo>
                      <a:pt x="59693" y="81751"/>
                    </a:lnTo>
                    <a:lnTo>
                      <a:pt x="38667" y="113919"/>
                    </a:lnTo>
                    <a:cubicBezTo>
                      <a:pt x="37505" y="115600"/>
                      <a:pt x="35605" y="116612"/>
                      <a:pt x="33554" y="116612"/>
                    </a:cubicBezTo>
                    <a:lnTo>
                      <a:pt x="3000" y="116612"/>
                    </a:lnTo>
                    <a:cubicBezTo>
                      <a:pt x="621" y="116612"/>
                      <a:pt x="-814" y="114138"/>
                      <a:pt x="498" y="112265"/>
                    </a:cubicBezTo>
                    <a:lnTo>
                      <a:pt x="36753" y="58306"/>
                    </a:lnTo>
                    <a:lnTo>
                      <a:pt x="498" y="4347"/>
                    </a:lnTo>
                    <a:cubicBezTo>
                      <a:pt x="-814" y="2488"/>
                      <a:pt x="621" y="0"/>
                      <a:pt x="3000" y="0"/>
                    </a:cubicBezTo>
                    <a:lnTo>
                      <a:pt x="34853" y="0"/>
                    </a:lnTo>
                    <a:cubicBezTo>
                      <a:pt x="36042" y="0"/>
                      <a:pt x="37149" y="547"/>
                      <a:pt x="37778" y="1449"/>
                    </a:cubicBezTo>
                    <a:lnTo>
                      <a:pt x="59679" y="34806"/>
                    </a:lnTo>
                    <a:lnTo>
                      <a:pt x="80240" y="1463"/>
                    </a:lnTo>
                    <a:cubicBezTo>
                      <a:pt x="80855" y="561"/>
                      <a:pt x="81976" y="0"/>
                      <a:pt x="83165" y="0"/>
                    </a:cubicBezTo>
                    <a:lnTo>
                      <a:pt x="115333" y="0"/>
                    </a:lnTo>
                    <a:cubicBezTo>
                      <a:pt x="117711" y="0"/>
                      <a:pt x="119133" y="2474"/>
                      <a:pt x="117834" y="4334"/>
                    </a:cubicBezTo>
                    <a:lnTo>
                      <a:pt x="82495" y="58306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" name="Freeform: Shape 14">
                <a:extLst>
                  <a:ext uri="{FF2B5EF4-FFF2-40B4-BE49-F238E27FC236}">
                    <a16:creationId xmlns:a16="http://schemas.microsoft.com/office/drawing/2014/main" id="{913B1AF7-C844-6D5A-2480-5E17C5D90124}"/>
                  </a:ext>
                </a:extLst>
              </p:cNvPr>
              <p:cNvSpPr/>
              <p:nvPr/>
            </p:nvSpPr>
            <p:spPr>
              <a:xfrm>
                <a:off x="11284928" y="6472473"/>
                <a:ext cx="78825" cy="163762"/>
              </a:xfrm>
              <a:custGeom>
                <a:avLst/>
                <a:gdLst>
                  <a:gd name="connsiteX0" fmla="*/ 75722 w 78825"/>
                  <a:gd name="connsiteY0" fmla="*/ 14 h 163762"/>
                  <a:gd name="connsiteX1" fmla="*/ 50377 w 78825"/>
                  <a:gd name="connsiteY1" fmla="*/ 14 h 163762"/>
                  <a:gd name="connsiteX2" fmla="*/ 43801 w 78825"/>
                  <a:gd name="connsiteY2" fmla="*/ 2734 h 163762"/>
                  <a:gd name="connsiteX3" fmla="*/ 19987 w 78825"/>
                  <a:gd name="connsiteY3" fmla="*/ 26549 h 163762"/>
                  <a:gd name="connsiteX4" fmla="*/ 17266 w 78825"/>
                  <a:gd name="connsiteY4" fmla="*/ 33124 h 163762"/>
                  <a:gd name="connsiteX5" fmla="*/ 17266 w 78825"/>
                  <a:gd name="connsiteY5" fmla="*/ 51867 h 163762"/>
                  <a:gd name="connsiteX6" fmla="*/ 3049 w 78825"/>
                  <a:gd name="connsiteY6" fmla="*/ 51867 h 163762"/>
                  <a:gd name="connsiteX7" fmla="*/ 0 w 78825"/>
                  <a:gd name="connsiteY7" fmla="*/ 54916 h 163762"/>
                  <a:gd name="connsiteX8" fmla="*/ 0 w 78825"/>
                  <a:gd name="connsiteY8" fmla="*/ 75955 h 163762"/>
                  <a:gd name="connsiteX9" fmla="*/ 3049 w 78825"/>
                  <a:gd name="connsiteY9" fmla="*/ 79004 h 163762"/>
                  <a:gd name="connsiteX10" fmla="*/ 17266 w 78825"/>
                  <a:gd name="connsiteY10" fmla="*/ 79004 h 163762"/>
                  <a:gd name="connsiteX11" fmla="*/ 17266 w 78825"/>
                  <a:gd name="connsiteY11" fmla="*/ 160659 h 163762"/>
                  <a:gd name="connsiteX12" fmla="*/ 20369 w 78825"/>
                  <a:gd name="connsiteY12" fmla="*/ 163763 h 163762"/>
                  <a:gd name="connsiteX13" fmla="*/ 47109 w 78825"/>
                  <a:gd name="connsiteY13" fmla="*/ 163763 h 163762"/>
                  <a:gd name="connsiteX14" fmla="*/ 50213 w 78825"/>
                  <a:gd name="connsiteY14" fmla="*/ 160659 h 163762"/>
                  <a:gd name="connsiteX15" fmla="*/ 50213 w 78825"/>
                  <a:gd name="connsiteY15" fmla="*/ 78990 h 163762"/>
                  <a:gd name="connsiteX16" fmla="*/ 71443 w 78825"/>
                  <a:gd name="connsiteY16" fmla="*/ 78990 h 163762"/>
                  <a:gd name="connsiteX17" fmla="*/ 74492 w 78825"/>
                  <a:gd name="connsiteY17" fmla="*/ 75941 h 163762"/>
                  <a:gd name="connsiteX18" fmla="*/ 74492 w 78825"/>
                  <a:gd name="connsiteY18" fmla="*/ 54902 h 163762"/>
                  <a:gd name="connsiteX19" fmla="*/ 71443 w 78825"/>
                  <a:gd name="connsiteY19" fmla="*/ 51853 h 163762"/>
                  <a:gd name="connsiteX20" fmla="*/ 50213 w 78825"/>
                  <a:gd name="connsiteY20" fmla="*/ 51853 h 163762"/>
                  <a:gd name="connsiteX21" fmla="*/ 50213 w 78825"/>
                  <a:gd name="connsiteY21" fmla="*/ 38565 h 163762"/>
                  <a:gd name="connsiteX22" fmla="*/ 59509 w 78825"/>
                  <a:gd name="connsiteY22" fmla="*/ 29269 h 163762"/>
                  <a:gd name="connsiteX23" fmla="*/ 75722 w 78825"/>
                  <a:gd name="connsiteY23" fmla="*/ 29269 h 163762"/>
                  <a:gd name="connsiteX24" fmla="*/ 78826 w 78825"/>
                  <a:gd name="connsiteY24" fmla="*/ 26166 h 163762"/>
                  <a:gd name="connsiteX25" fmla="*/ 78826 w 78825"/>
                  <a:gd name="connsiteY25" fmla="*/ 3103 h 163762"/>
                  <a:gd name="connsiteX26" fmla="*/ 75722 w 78825"/>
                  <a:gd name="connsiteY26" fmla="*/ 0 h 163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78825" h="163762">
                    <a:moveTo>
                      <a:pt x="75722" y="14"/>
                    </a:moveTo>
                    <a:lnTo>
                      <a:pt x="50377" y="14"/>
                    </a:lnTo>
                    <a:cubicBezTo>
                      <a:pt x="47916" y="14"/>
                      <a:pt x="45551" y="998"/>
                      <a:pt x="43801" y="2734"/>
                    </a:cubicBezTo>
                    <a:lnTo>
                      <a:pt x="19987" y="26549"/>
                    </a:lnTo>
                    <a:cubicBezTo>
                      <a:pt x="18237" y="28299"/>
                      <a:pt x="17266" y="30664"/>
                      <a:pt x="17266" y="33124"/>
                    </a:cubicBezTo>
                    <a:lnTo>
                      <a:pt x="17266" y="51867"/>
                    </a:lnTo>
                    <a:lnTo>
                      <a:pt x="3049" y="51867"/>
                    </a:lnTo>
                    <a:cubicBezTo>
                      <a:pt x="1367" y="51867"/>
                      <a:pt x="0" y="53234"/>
                      <a:pt x="0" y="54916"/>
                    </a:cubicBezTo>
                    <a:lnTo>
                      <a:pt x="0" y="75955"/>
                    </a:lnTo>
                    <a:cubicBezTo>
                      <a:pt x="0" y="77636"/>
                      <a:pt x="1367" y="79004"/>
                      <a:pt x="3049" y="79004"/>
                    </a:cubicBezTo>
                    <a:lnTo>
                      <a:pt x="17266" y="79004"/>
                    </a:lnTo>
                    <a:lnTo>
                      <a:pt x="17266" y="160659"/>
                    </a:lnTo>
                    <a:cubicBezTo>
                      <a:pt x="17266" y="162368"/>
                      <a:pt x="18661" y="163763"/>
                      <a:pt x="20369" y="163763"/>
                    </a:cubicBezTo>
                    <a:lnTo>
                      <a:pt x="47109" y="163763"/>
                    </a:lnTo>
                    <a:cubicBezTo>
                      <a:pt x="48818" y="163763"/>
                      <a:pt x="50213" y="162368"/>
                      <a:pt x="50213" y="160659"/>
                    </a:cubicBezTo>
                    <a:lnTo>
                      <a:pt x="50213" y="78990"/>
                    </a:lnTo>
                    <a:lnTo>
                      <a:pt x="71443" y="78990"/>
                    </a:lnTo>
                    <a:cubicBezTo>
                      <a:pt x="73125" y="78990"/>
                      <a:pt x="74492" y="77623"/>
                      <a:pt x="74492" y="75941"/>
                    </a:cubicBezTo>
                    <a:lnTo>
                      <a:pt x="74492" y="54902"/>
                    </a:lnTo>
                    <a:cubicBezTo>
                      <a:pt x="74492" y="53220"/>
                      <a:pt x="73125" y="51853"/>
                      <a:pt x="71443" y="51853"/>
                    </a:cubicBezTo>
                    <a:lnTo>
                      <a:pt x="50213" y="51853"/>
                    </a:lnTo>
                    <a:lnTo>
                      <a:pt x="50213" y="38565"/>
                    </a:lnTo>
                    <a:cubicBezTo>
                      <a:pt x="50213" y="33425"/>
                      <a:pt x="54382" y="29269"/>
                      <a:pt x="59509" y="29269"/>
                    </a:cubicBezTo>
                    <a:lnTo>
                      <a:pt x="75722" y="29269"/>
                    </a:lnTo>
                    <a:cubicBezTo>
                      <a:pt x="77431" y="29269"/>
                      <a:pt x="78826" y="27875"/>
                      <a:pt x="78826" y="26166"/>
                    </a:cubicBezTo>
                    <a:lnTo>
                      <a:pt x="78826" y="3103"/>
                    </a:lnTo>
                    <a:cubicBezTo>
                      <a:pt x="78826" y="1394"/>
                      <a:pt x="77431" y="0"/>
                      <a:pt x="75722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" name="Freeform: Shape 15">
                <a:extLst>
                  <a:ext uri="{FF2B5EF4-FFF2-40B4-BE49-F238E27FC236}">
                    <a16:creationId xmlns:a16="http://schemas.microsoft.com/office/drawing/2014/main" id="{F063154F-079E-CB83-0904-7DFF8D5E537D}"/>
                  </a:ext>
                </a:extLst>
              </p:cNvPr>
              <p:cNvSpPr/>
              <p:nvPr/>
            </p:nvSpPr>
            <p:spPr>
              <a:xfrm>
                <a:off x="11896791" y="6612367"/>
                <a:ext cx="25659" cy="25660"/>
              </a:xfrm>
              <a:custGeom>
                <a:avLst/>
                <a:gdLst>
                  <a:gd name="connsiteX0" fmla="*/ 25660 w 25659"/>
                  <a:gd name="connsiteY0" fmla="*/ 12810 h 25660"/>
                  <a:gd name="connsiteX1" fmla="*/ 12782 w 25659"/>
                  <a:gd name="connsiteY1" fmla="*/ 25660 h 25660"/>
                  <a:gd name="connsiteX2" fmla="*/ 0 w 25659"/>
                  <a:gd name="connsiteY2" fmla="*/ 12810 h 25660"/>
                  <a:gd name="connsiteX3" fmla="*/ 12823 w 25659"/>
                  <a:gd name="connsiteY3" fmla="*/ 0 h 25660"/>
                  <a:gd name="connsiteX4" fmla="*/ 25646 w 25659"/>
                  <a:gd name="connsiteY4" fmla="*/ 12810 h 25660"/>
                  <a:gd name="connsiteX5" fmla="*/ 23691 w 25659"/>
                  <a:gd name="connsiteY5" fmla="*/ 12864 h 25660"/>
                  <a:gd name="connsiteX6" fmla="*/ 12837 w 25659"/>
                  <a:gd name="connsiteY6" fmla="*/ 1832 h 25660"/>
                  <a:gd name="connsiteX7" fmla="*/ 1982 w 25659"/>
                  <a:gd name="connsiteY7" fmla="*/ 12851 h 25660"/>
                  <a:gd name="connsiteX8" fmla="*/ 12782 w 25659"/>
                  <a:gd name="connsiteY8" fmla="*/ 23856 h 25660"/>
                  <a:gd name="connsiteX9" fmla="*/ 23691 w 25659"/>
                  <a:gd name="connsiteY9" fmla="*/ 12864 h 25660"/>
                  <a:gd name="connsiteX10" fmla="*/ 15585 w 25659"/>
                  <a:gd name="connsiteY10" fmla="*/ 14888 h 25660"/>
                  <a:gd name="connsiteX11" fmla="*/ 18811 w 25659"/>
                  <a:gd name="connsiteY11" fmla="*/ 19905 h 25660"/>
                  <a:gd name="connsiteX12" fmla="*/ 16678 w 25659"/>
                  <a:gd name="connsiteY12" fmla="*/ 19905 h 25660"/>
                  <a:gd name="connsiteX13" fmla="*/ 13097 w 25659"/>
                  <a:gd name="connsiteY13" fmla="*/ 14218 h 25660"/>
                  <a:gd name="connsiteX14" fmla="*/ 9829 w 25659"/>
                  <a:gd name="connsiteY14" fmla="*/ 14218 h 25660"/>
                  <a:gd name="connsiteX15" fmla="*/ 9829 w 25659"/>
                  <a:gd name="connsiteY15" fmla="*/ 19905 h 25660"/>
                  <a:gd name="connsiteX16" fmla="*/ 8038 w 25659"/>
                  <a:gd name="connsiteY16" fmla="*/ 19905 h 25660"/>
                  <a:gd name="connsiteX17" fmla="*/ 8038 w 25659"/>
                  <a:gd name="connsiteY17" fmla="*/ 5523 h 25660"/>
                  <a:gd name="connsiteX18" fmla="*/ 13616 w 25659"/>
                  <a:gd name="connsiteY18" fmla="*/ 5523 h 25660"/>
                  <a:gd name="connsiteX19" fmla="*/ 18155 w 25659"/>
                  <a:gd name="connsiteY19" fmla="*/ 9761 h 25660"/>
                  <a:gd name="connsiteX20" fmla="*/ 14887 w 25659"/>
                  <a:gd name="connsiteY20" fmla="*/ 13917 h 25660"/>
                  <a:gd name="connsiteX21" fmla="*/ 15585 w 25659"/>
                  <a:gd name="connsiteY21" fmla="*/ 14901 h 25660"/>
                  <a:gd name="connsiteX22" fmla="*/ 13015 w 25659"/>
                  <a:gd name="connsiteY22" fmla="*/ 12522 h 25660"/>
                  <a:gd name="connsiteX23" fmla="*/ 16282 w 25659"/>
                  <a:gd name="connsiteY23" fmla="*/ 9870 h 25660"/>
                  <a:gd name="connsiteX24" fmla="*/ 13657 w 25659"/>
                  <a:gd name="connsiteY24" fmla="*/ 7191 h 25660"/>
                  <a:gd name="connsiteX25" fmla="*/ 9816 w 25659"/>
                  <a:gd name="connsiteY25" fmla="*/ 7191 h 25660"/>
                  <a:gd name="connsiteX26" fmla="*/ 9816 w 25659"/>
                  <a:gd name="connsiteY26" fmla="*/ 12509 h 25660"/>
                  <a:gd name="connsiteX27" fmla="*/ 13015 w 25659"/>
                  <a:gd name="connsiteY27" fmla="*/ 12509 h 25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25659" h="25660">
                    <a:moveTo>
                      <a:pt x="25660" y="12810"/>
                    </a:moveTo>
                    <a:cubicBezTo>
                      <a:pt x="25660" y="19946"/>
                      <a:pt x="19946" y="25660"/>
                      <a:pt x="12782" y="25660"/>
                    </a:cubicBezTo>
                    <a:cubicBezTo>
                      <a:pt x="5619" y="25660"/>
                      <a:pt x="0" y="19891"/>
                      <a:pt x="0" y="12810"/>
                    </a:cubicBezTo>
                    <a:cubicBezTo>
                      <a:pt x="0" y="5728"/>
                      <a:pt x="5714" y="0"/>
                      <a:pt x="12823" y="0"/>
                    </a:cubicBezTo>
                    <a:cubicBezTo>
                      <a:pt x="19932" y="0"/>
                      <a:pt x="25646" y="5687"/>
                      <a:pt x="25646" y="12810"/>
                    </a:cubicBezTo>
                    <a:close/>
                    <a:moveTo>
                      <a:pt x="23691" y="12864"/>
                    </a:moveTo>
                    <a:cubicBezTo>
                      <a:pt x="23691" y="6712"/>
                      <a:pt x="18838" y="1832"/>
                      <a:pt x="12837" y="1832"/>
                    </a:cubicBezTo>
                    <a:cubicBezTo>
                      <a:pt x="6835" y="1832"/>
                      <a:pt x="1982" y="6658"/>
                      <a:pt x="1982" y="12851"/>
                    </a:cubicBezTo>
                    <a:cubicBezTo>
                      <a:pt x="1982" y="19043"/>
                      <a:pt x="6890" y="23856"/>
                      <a:pt x="12782" y="23856"/>
                    </a:cubicBezTo>
                    <a:cubicBezTo>
                      <a:pt x="18674" y="23856"/>
                      <a:pt x="23691" y="19002"/>
                      <a:pt x="23691" y="12864"/>
                    </a:cubicBezTo>
                    <a:close/>
                    <a:moveTo>
                      <a:pt x="15585" y="14888"/>
                    </a:moveTo>
                    <a:lnTo>
                      <a:pt x="18811" y="19905"/>
                    </a:lnTo>
                    <a:lnTo>
                      <a:pt x="16678" y="19905"/>
                    </a:lnTo>
                    <a:lnTo>
                      <a:pt x="13097" y="14218"/>
                    </a:lnTo>
                    <a:lnTo>
                      <a:pt x="9829" y="14218"/>
                    </a:lnTo>
                    <a:lnTo>
                      <a:pt x="9829" y="19905"/>
                    </a:lnTo>
                    <a:lnTo>
                      <a:pt x="8038" y="19905"/>
                    </a:lnTo>
                    <a:lnTo>
                      <a:pt x="8038" y="5523"/>
                    </a:lnTo>
                    <a:lnTo>
                      <a:pt x="13616" y="5523"/>
                    </a:lnTo>
                    <a:cubicBezTo>
                      <a:pt x="16364" y="5523"/>
                      <a:pt x="18155" y="6999"/>
                      <a:pt x="18155" y="9761"/>
                    </a:cubicBezTo>
                    <a:cubicBezTo>
                      <a:pt x="18155" y="11989"/>
                      <a:pt x="16801" y="13370"/>
                      <a:pt x="14887" y="13917"/>
                    </a:cubicBezTo>
                    <a:cubicBezTo>
                      <a:pt x="15147" y="14204"/>
                      <a:pt x="15407" y="14559"/>
                      <a:pt x="15585" y="14901"/>
                    </a:cubicBezTo>
                    <a:close/>
                    <a:moveTo>
                      <a:pt x="13015" y="12522"/>
                    </a:moveTo>
                    <a:cubicBezTo>
                      <a:pt x="15038" y="12522"/>
                      <a:pt x="16282" y="11565"/>
                      <a:pt x="16282" y="9870"/>
                    </a:cubicBezTo>
                    <a:cubicBezTo>
                      <a:pt x="16282" y="8175"/>
                      <a:pt x="15421" y="7191"/>
                      <a:pt x="13657" y="7191"/>
                    </a:cubicBezTo>
                    <a:lnTo>
                      <a:pt x="9816" y="7191"/>
                    </a:lnTo>
                    <a:lnTo>
                      <a:pt x="9816" y="12509"/>
                    </a:lnTo>
                    <a:lnTo>
                      <a:pt x="13015" y="12509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" name="Freeform: Shape 16">
                <a:extLst>
                  <a:ext uri="{FF2B5EF4-FFF2-40B4-BE49-F238E27FC236}">
                    <a16:creationId xmlns:a16="http://schemas.microsoft.com/office/drawing/2014/main" id="{A086297F-855D-F353-885B-97D6B1F89E9E}"/>
                  </a:ext>
                </a:extLst>
              </p:cNvPr>
              <p:cNvSpPr/>
              <p:nvPr/>
            </p:nvSpPr>
            <p:spPr>
              <a:xfrm>
                <a:off x="11620956" y="6472487"/>
                <a:ext cx="32932" cy="163721"/>
              </a:xfrm>
              <a:custGeom>
                <a:avLst/>
                <a:gdLst>
                  <a:gd name="connsiteX0" fmla="*/ 29830 w 32932"/>
                  <a:gd name="connsiteY0" fmla="*/ 0 h 163721"/>
                  <a:gd name="connsiteX1" fmla="*/ 32933 w 32932"/>
                  <a:gd name="connsiteY1" fmla="*/ 3103 h 163721"/>
                  <a:gd name="connsiteX2" fmla="*/ 32933 w 32932"/>
                  <a:gd name="connsiteY2" fmla="*/ 160618 h 163721"/>
                  <a:gd name="connsiteX3" fmla="*/ 29830 w 32932"/>
                  <a:gd name="connsiteY3" fmla="*/ 163722 h 163721"/>
                  <a:gd name="connsiteX4" fmla="*/ 3103 w 32932"/>
                  <a:gd name="connsiteY4" fmla="*/ 163722 h 163721"/>
                  <a:gd name="connsiteX5" fmla="*/ 0 w 32932"/>
                  <a:gd name="connsiteY5" fmla="*/ 160618 h 163721"/>
                  <a:gd name="connsiteX6" fmla="*/ 0 w 32932"/>
                  <a:gd name="connsiteY6" fmla="*/ 3103 h 163721"/>
                  <a:gd name="connsiteX7" fmla="*/ 3103 w 32932"/>
                  <a:gd name="connsiteY7" fmla="*/ 0 h 163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2932" h="163721">
                    <a:moveTo>
                      <a:pt x="29830" y="0"/>
                    </a:moveTo>
                    <a:cubicBezTo>
                      <a:pt x="31544" y="0"/>
                      <a:pt x="32933" y="1389"/>
                      <a:pt x="32933" y="3103"/>
                    </a:cubicBezTo>
                    <a:lnTo>
                      <a:pt x="32933" y="160618"/>
                    </a:lnTo>
                    <a:cubicBezTo>
                      <a:pt x="32933" y="162332"/>
                      <a:pt x="31543" y="163722"/>
                      <a:pt x="29830" y="163722"/>
                    </a:cubicBezTo>
                    <a:lnTo>
                      <a:pt x="3103" y="163722"/>
                    </a:lnTo>
                    <a:cubicBezTo>
                      <a:pt x="1389" y="163722"/>
                      <a:pt x="0" y="162332"/>
                      <a:pt x="0" y="160618"/>
                    </a:cubicBezTo>
                    <a:lnTo>
                      <a:pt x="0" y="3103"/>
                    </a:lnTo>
                    <a:cubicBezTo>
                      <a:pt x="0" y="1389"/>
                      <a:pt x="1389" y="0"/>
                      <a:pt x="3103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" name="Freeform: Shape 17">
                <a:extLst>
                  <a:ext uri="{FF2B5EF4-FFF2-40B4-BE49-F238E27FC236}">
                    <a16:creationId xmlns:a16="http://schemas.microsoft.com/office/drawing/2014/main" id="{8B8F555A-4E1B-9949-C1DF-5D9C1A2F3807}"/>
                  </a:ext>
                </a:extLst>
              </p:cNvPr>
              <p:cNvSpPr/>
              <p:nvPr/>
            </p:nvSpPr>
            <p:spPr>
              <a:xfrm>
                <a:off x="11488486" y="6472473"/>
                <a:ext cx="123638" cy="166086"/>
              </a:xfrm>
              <a:custGeom>
                <a:avLst/>
                <a:gdLst>
                  <a:gd name="connsiteX0" fmla="*/ 68737 w 123638"/>
                  <a:gd name="connsiteY0" fmla="*/ 44663 h 166086"/>
                  <a:gd name="connsiteX1" fmla="*/ 32947 w 123638"/>
                  <a:gd name="connsiteY1" fmla="*/ 62052 h 166086"/>
                  <a:gd name="connsiteX2" fmla="*/ 32947 w 123638"/>
                  <a:gd name="connsiteY2" fmla="*/ 3103 h 166086"/>
                  <a:gd name="connsiteX3" fmla="*/ 29843 w 123638"/>
                  <a:gd name="connsiteY3" fmla="*/ 0 h 166086"/>
                  <a:gd name="connsiteX4" fmla="*/ 3103 w 123638"/>
                  <a:gd name="connsiteY4" fmla="*/ 0 h 166086"/>
                  <a:gd name="connsiteX5" fmla="*/ 0 w 123638"/>
                  <a:gd name="connsiteY5" fmla="*/ 3103 h 166086"/>
                  <a:gd name="connsiteX6" fmla="*/ 0 w 123638"/>
                  <a:gd name="connsiteY6" fmla="*/ 160632 h 166086"/>
                  <a:gd name="connsiteX7" fmla="*/ 3103 w 123638"/>
                  <a:gd name="connsiteY7" fmla="*/ 163735 h 166086"/>
                  <a:gd name="connsiteX8" fmla="*/ 29843 w 123638"/>
                  <a:gd name="connsiteY8" fmla="*/ 163735 h 166086"/>
                  <a:gd name="connsiteX9" fmla="*/ 32947 w 123638"/>
                  <a:gd name="connsiteY9" fmla="*/ 160632 h 166086"/>
                  <a:gd name="connsiteX10" fmla="*/ 32947 w 123638"/>
                  <a:gd name="connsiteY10" fmla="*/ 149025 h 166086"/>
                  <a:gd name="connsiteX11" fmla="*/ 68983 w 123638"/>
                  <a:gd name="connsiteY11" fmla="*/ 166087 h 166086"/>
                  <a:gd name="connsiteX12" fmla="*/ 123638 w 123638"/>
                  <a:gd name="connsiteY12" fmla="*/ 105539 h 166086"/>
                  <a:gd name="connsiteX13" fmla="*/ 68750 w 123638"/>
                  <a:gd name="connsiteY13" fmla="*/ 44663 h 166086"/>
                  <a:gd name="connsiteX14" fmla="*/ 62188 w 123638"/>
                  <a:gd name="connsiteY14" fmla="*/ 135163 h 166086"/>
                  <a:gd name="connsiteX15" fmla="*/ 32947 w 123638"/>
                  <a:gd name="connsiteY15" fmla="*/ 105552 h 166086"/>
                  <a:gd name="connsiteX16" fmla="*/ 62188 w 123638"/>
                  <a:gd name="connsiteY16" fmla="*/ 76174 h 166086"/>
                  <a:gd name="connsiteX17" fmla="*/ 90965 w 123638"/>
                  <a:gd name="connsiteY17" fmla="*/ 105552 h 166086"/>
                  <a:gd name="connsiteX18" fmla="*/ 62188 w 123638"/>
                  <a:gd name="connsiteY18" fmla="*/ 135163 h 166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23638" h="166086">
                    <a:moveTo>
                      <a:pt x="68737" y="44663"/>
                    </a:moveTo>
                    <a:cubicBezTo>
                      <a:pt x="53535" y="44663"/>
                      <a:pt x="40889" y="51252"/>
                      <a:pt x="32947" y="62052"/>
                    </a:cubicBezTo>
                    <a:lnTo>
                      <a:pt x="32947" y="3103"/>
                    </a:lnTo>
                    <a:cubicBezTo>
                      <a:pt x="32947" y="1394"/>
                      <a:pt x="31552" y="0"/>
                      <a:pt x="29843" y="0"/>
                    </a:cubicBezTo>
                    <a:lnTo>
                      <a:pt x="3103" y="0"/>
                    </a:lnTo>
                    <a:cubicBezTo>
                      <a:pt x="1394" y="0"/>
                      <a:pt x="0" y="1394"/>
                      <a:pt x="0" y="3103"/>
                    </a:cubicBezTo>
                    <a:lnTo>
                      <a:pt x="0" y="160632"/>
                    </a:lnTo>
                    <a:cubicBezTo>
                      <a:pt x="0" y="162341"/>
                      <a:pt x="1394" y="163735"/>
                      <a:pt x="3103" y="163735"/>
                    </a:cubicBezTo>
                    <a:lnTo>
                      <a:pt x="29843" y="163735"/>
                    </a:lnTo>
                    <a:cubicBezTo>
                      <a:pt x="31552" y="163735"/>
                      <a:pt x="32947" y="162341"/>
                      <a:pt x="32947" y="160632"/>
                    </a:cubicBezTo>
                    <a:lnTo>
                      <a:pt x="32947" y="149025"/>
                    </a:lnTo>
                    <a:cubicBezTo>
                      <a:pt x="40903" y="159839"/>
                      <a:pt x="53535" y="166087"/>
                      <a:pt x="68983" y="166087"/>
                    </a:cubicBezTo>
                    <a:cubicBezTo>
                      <a:pt x="101505" y="166087"/>
                      <a:pt x="123638" y="139852"/>
                      <a:pt x="123638" y="105539"/>
                    </a:cubicBezTo>
                    <a:cubicBezTo>
                      <a:pt x="123638" y="71225"/>
                      <a:pt x="101505" y="44663"/>
                      <a:pt x="68750" y="44663"/>
                    </a:cubicBezTo>
                    <a:close/>
                    <a:moveTo>
                      <a:pt x="62188" y="135163"/>
                    </a:moveTo>
                    <a:cubicBezTo>
                      <a:pt x="45346" y="135163"/>
                      <a:pt x="32947" y="121533"/>
                      <a:pt x="32947" y="105552"/>
                    </a:cubicBezTo>
                    <a:cubicBezTo>
                      <a:pt x="32947" y="89571"/>
                      <a:pt x="45346" y="76174"/>
                      <a:pt x="62188" y="76174"/>
                    </a:cubicBezTo>
                    <a:cubicBezTo>
                      <a:pt x="79031" y="76174"/>
                      <a:pt x="90965" y="89571"/>
                      <a:pt x="90965" y="105552"/>
                    </a:cubicBezTo>
                    <a:cubicBezTo>
                      <a:pt x="90965" y="121533"/>
                      <a:pt x="78798" y="135163"/>
                      <a:pt x="62188" y="13516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" name="Freeform: Shape 18">
                <a:extLst>
                  <a:ext uri="{FF2B5EF4-FFF2-40B4-BE49-F238E27FC236}">
                    <a16:creationId xmlns:a16="http://schemas.microsoft.com/office/drawing/2014/main" id="{7CBA7385-AE3B-164B-7454-252D140937E7}"/>
                  </a:ext>
                </a:extLst>
              </p:cNvPr>
              <p:cNvSpPr/>
              <p:nvPr/>
            </p:nvSpPr>
            <p:spPr>
              <a:xfrm>
                <a:off x="11359421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" name="Freeform: Shape 19">
                <a:extLst>
                  <a:ext uri="{FF2B5EF4-FFF2-40B4-BE49-F238E27FC236}">
                    <a16:creationId xmlns:a16="http://schemas.microsoft.com/office/drawing/2014/main" id="{24A8BFB3-1CA0-8521-0B24-2B7AE6223CAD}"/>
                  </a:ext>
                </a:extLst>
              </p:cNvPr>
              <p:cNvSpPr/>
              <p:nvPr/>
            </p:nvSpPr>
            <p:spPr>
              <a:xfrm>
                <a:off x="11662542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0">
                <a:extLst>
                  <a:ext uri="{FF2B5EF4-FFF2-40B4-BE49-F238E27FC236}">
                    <a16:creationId xmlns:a16="http://schemas.microsoft.com/office/drawing/2014/main" id="{3114D6A3-E645-0623-B9B2-32AE61A1EDCF}"/>
                  </a:ext>
                </a:extLst>
              </p:cNvPr>
              <p:cNvSpPr/>
              <p:nvPr/>
            </p:nvSpPr>
            <p:spPr>
              <a:xfrm>
                <a:off x="11122821" y="6519528"/>
                <a:ext cx="32932" cy="116680"/>
              </a:xfrm>
              <a:custGeom>
                <a:avLst/>
                <a:gdLst>
                  <a:gd name="connsiteX0" fmla="*/ 29843 w 32932"/>
                  <a:gd name="connsiteY0" fmla="*/ 116680 h 116680"/>
                  <a:gd name="connsiteX1" fmla="*/ 3103 w 32932"/>
                  <a:gd name="connsiteY1" fmla="*/ 116680 h 116680"/>
                  <a:gd name="connsiteX2" fmla="*/ 0 w 32932"/>
                  <a:gd name="connsiteY2" fmla="*/ 113577 h 116680"/>
                  <a:gd name="connsiteX3" fmla="*/ 0 w 32932"/>
                  <a:gd name="connsiteY3" fmla="*/ 30554 h 116680"/>
                  <a:gd name="connsiteX4" fmla="*/ 1859 w 32932"/>
                  <a:gd name="connsiteY4" fmla="*/ 26125 h 116680"/>
                  <a:gd name="connsiteX5" fmla="*/ 27670 w 32932"/>
                  <a:gd name="connsiteY5" fmla="*/ 888 h 116680"/>
                  <a:gd name="connsiteX6" fmla="*/ 32933 w 32932"/>
                  <a:gd name="connsiteY6" fmla="*/ 3103 h 116680"/>
                  <a:gd name="connsiteX7" fmla="*/ 32933 w 32932"/>
                  <a:gd name="connsiteY7" fmla="*/ 113577 h 116680"/>
                  <a:gd name="connsiteX8" fmla="*/ 29830 w 32932"/>
                  <a:gd name="connsiteY8" fmla="*/ 116680 h 116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932" h="116680">
                    <a:moveTo>
                      <a:pt x="29843" y="116680"/>
                    </a:moveTo>
                    <a:lnTo>
                      <a:pt x="3103" y="116680"/>
                    </a:lnTo>
                    <a:cubicBezTo>
                      <a:pt x="1394" y="116680"/>
                      <a:pt x="0" y="115286"/>
                      <a:pt x="0" y="113577"/>
                    </a:cubicBezTo>
                    <a:lnTo>
                      <a:pt x="0" y="30554"/>
                    </a:lnTo>
                    <a:cubicBezTo>
                      <a:pt x="0" y="28886"/>
                      <a:pt x="670" y="27287"/>
                      <a:pt x="1859" y="26125"/>
                    </a:cubicBezTo>
                    <a:lnTo>
                      <a:pt x="27670" y="888"/>
                    </a:lnTo>
                    <a:cubicBezTo>
                      <a:pt x="29638" y="-1026"/>
                      <a:pt x="32933" y="355"/>
                      <a:pt x="32933" y="3103"/>
                    </a:cubicBezTo>
                    <a:lnTo>
                      <a:pt x="32933" y="113577"/>
                    </a:lnTo>
                    <a:cubicBezTo>
                      <a:pt x="32933" y="115286"/>
                      <a:pt x="31538" y="116680"/>
                      <a:pt x="29830" y="11668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1">
                <a:extLst>
                  <a:ext uri="{FF2B5EF4-FFF2-40B4-BE49-F238E27FC236}">
                    <a16:creationId xmlns:a16="http://schemas.microsoft.com/office/drawing/2014/main" id="{FA67004F-92B1-EAD1-79C1-7E7A4DB75AFF}"/>
                  </a:ext>
                </a:extLst>
              </p:cNvPr>
              <p:cNvSpPr/>
              <p:nvPr/>
            </p:nvSpPr>
            <p:spPr>
              <a:xfrm>
                <a:off x="11173074" y="6517105"/>
                <a:ext cx="107493" cy="119116"/>
              </a:xfrm>
              <a:custGeom>
                <a:avLst/>
                <a:gdLst>
                  <a:gd name="connsiteX0" fmla="*/ 107480 w 107493"/>
                  <a:gd name="connsiteY0" fmla="*/ 41877 h 119116"/>
                  <a:gd name="connsiteX1" fmla="*/ 65237 w 107493"/>
                  <a:gd name="connsiteY1" fmla="*/ 3 h 119116"/>
                  <a:gd name="connsiteX2" fmla="*/ 32947 w 107493"/>
                  <a:gd name="connsiteY2" fmla="*/ 17474 h 119116"/>
                  <a:gd name="connsiteX3" fmla="*/ 32947 w 107493"/>
                  <a:gd name="connsiteY3" fmla="*/ 5581 h 119116"/>
                  <a:gd name="connsiteX4" fmla="*/ 29843 w 107493"/>
                  <a:gd name="connsiteY4" fmla="*/ 2478 h 119116"/>
                  <a:gd name="connsiteX5" fmla="*/ 3103 w 107493"/>
                  <a:gd name="connsiteY5" fmla="*/ 2478 h 119116"/>
                  <a:gd name="connsiteX6" fmla="*/ 0 w 107493"/>
                  <a:gd name="connsiteY6" fmla="*/ 5581 h 119116"/>
                  <a:gd name="connsiteX7" fmla="*/ 0 w 107493"/>
                  <a:gd name="connsiteY7" fmla="*/ 116000 h 119116"/>
                  <a:gd name="connsiteX8" fmla="*/ 3103 w 107493"/>
                  <a:gd name="connsiteY8" fmla="*/ 119103 h 119116"/>
                  <a:gd name="connsiteX9" fmla="*/ 29843 w 107493"/>
                  <a:gd name="connsiteY9" fmla="*/ 119103 h 119116"/>
                  <a:gd name="connsiteX10" fmla="*/ 32947 w 107493"/>
                  <a:gd name="connsiteY10" fmla="*/ 116000 h 119116"/>
                  <a:gd name="connsiteX11" fmla="*/ 32947 w 107493"/>
                  <a:gd name="connsiteY11" fmla="*/ 51788 h 119116"/>
                  <a:gd name="connsiteX12" fmla="*/ 53740 w 107493"/>
                  <a:gd name="connsiteY12" fmla="*/ 31747 h 119116"/>
                  <a:gd name="connsiteX13" fmla="*/ 74547 w 107493"/>
                  <a:gd name="connsiteY13" fmla="*/ 53210 h 119116"/>
                  <a:gd name="connsiteX14" fmla="*/ 74547 w 107493"/>
                  <a:gd name="connsiteY14" fmla="*/ 116014 h 119116"/>
                  <a:gd name="connsiteX15" fmla="*/ 77650 w 107493"/>
                  <a:gd name="connsiteY15" fmla="*/ 119117 h 119116"/>
                  <a:gd name="connsiteX16" fmla="*/ 104390 w 107493"/>
                  <a:gd name="connsiteY16" fmla="*/ 119117 h 119116"/>
                  <a:gd name="connsiteX17" fmla="*/ 107493 w 107493"/>
                  <a:gd name="connsiteY17" fmla="*/ 116014 h 119116"/>
                  <a:gd name="connsiteX18" fmla="*/ 107493 w 107493"/>
                  <a:gd name="connsiteY18" fmla="*/ 41890 h 119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7493" h="119116">
                    <a:moveTo>
                      <a:pt x="107480" y="41877"/>
                    </a:moveTo>
                    <a:cubicBezTo>
                      <a:pt x="107480" y="19252"/>
                      <a:pt x="88792" y="277"/>
                      <a:pt x="65237" y="3"/>
                    </a:cubicBezTo>
                    <a:cubicBezTo>
                      <a:pt x="49912" y="-175"/>
                      <a:pt x="39563" y="7331"/>
                      <a:pt x="32947" y="17474"/>
                    </a:cubicBezTo>
                    <a:lnTo>
                      <a:pt x="32947" y="5581"/>
                    </a:lnTo>
                    <a:cubicBezTo>
                      <a:pt x="32947" y="3872"/>
                      <a:pt x="31552" y="2478"/>
                      <a:pt x="29843" y="2478"/>
                    </a:cubicBezTo>
                    <a:lnTo>
                      <a:pt x="3103" y="2478"/>
                    </a:lnTo>
                    <a:cubicBezTo>
                      <a:pt x="1394" y="2478"/>
                      <a:pt x="0" y="3872"/>
                      <a:pt x="0" y="5581"/>
                    </a:cubicBezTo>
                    <a:lnTo>
                      <a:pt x="0" y="116000"/>
                    </a:lnTo>
                    <a:cubicBezTo>
                      <a:pt x="0" y="117709"/>
                      <a:pt x="1394" y="119103"/>
                      <a:pt x="3103" y="119103"/>
                    </a:cubicBezTo>
                    <a:lnTo>
                      <a:pt x="29843" y="119103"/>
                    </a:lnTo>
                    <a:cubicBezTo>
                      <a:pt x="31552" y="119103"/>
                      <a:pt x="32947" y="117709"/>
                      <a:pt x="32947" y="116000"/>
                    </a:cubicBezTo>
                    <a:lnTo>
                      <a:pt x="32947" y="51788"/>
                    </a:lnTo>
                    <a:cubicBezTo>
                      <a:pt x="33685" y="39430"/>
                      <a:pt x="41518" y="31747"/>
                      <a:pt x="53740" y="31747"/>
                    </a:cubicBezTo>
                    <a:cubicBezTo>
                      <a:pt x="65961" y="31747"/>
                      <a:pt x="74547" y="40373"/>
                      <a:pt x="74547" y="53210"/>
                    </a:cubicBezTo>
                    <a:lnTo>
                      <a:pt x="74547" y="116014"/>
                    </a:lnTo>
                    <a:cubicBezTo>
                      <a:pt x="74547" y="117722"/>
                      <a:pt x="75941" y="119117"/>
                      <a:pt x="77650" y="119117"/>
                    </a:cubicBezTo>
                    <a:lnTo>
                      <a:pt x="104390" y="119117"/>
                    </a:lnTo>
                    <a:cubicBezTo>
                      <a:pt x="106099" y="119117"/>
                      <a:pt x="107493" y="117722"/>
                      <a:pt x="107493" y="116014"/>
                    </a:cubicBezTo>
                    <a:lnTo>
                      <a:pt x="107493" y="41890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5E8C764A-01C9-FC6F-EE53-964759DEF8AE}"/>
              </a:ext>
            </a:extLst>
          </p:cNvPr>
          <p:cNvSpPr/>
          <p:nvPr userDrawn="1"/>
        </p:nvSpPr>
        <p:spPr>
          <a:xfrm rot="5400000">
            <a:off x="3390252" y="524538"/>
            <a:ext cx="4541546" cy="8172447"/>
          </a:xfrm>
          <a:custGeom>
            <a:avLst/>
            <a:gdLst>
              <a:gd name="connsiteX0" fmla="*/ 0 w 4541546"/>
              <a:gd name="connsiteY0" fmla="*/ 4086224 h 8172447"/>
              <a:gd name="connsiteX1" fmla="*/ 155465 w 4541546"/>
              <a:gd name="connsiteY1" fmla="*/ 3710855 h 8172447"/>
              <a:gd name="connsiteX2" fmla="*/ 3710857 w 4541546"/>
              <a:gd name="connsiteY2" fmla="*/ 155465 h 8172447"/>
              <a:gd name="connsiteX3" fmla="*/ 4461596 w 4541546"/>
              <a:gd name="connsiteY3" fmla="*/ 155465 h 8172447"/>
              <a:gd name="connsiteX4" fmla="*/ 4541546 w 4541546"/>
              <a:gd name="connsiteY4" fmla="*/ 235415 h 8172447"/>
              <a:gd name="connsiteX5" fmla="*/ 4541546 w 4541546"/>
              <a:gd name="connsiteY5" fmla="*/ 7937033 h 8172447"/>
              <a:gd name="connsiteX6" fmla="*/ 4461596 w 4541546"/>
              <a:gd name="connsiteY6" fmla="*/ 8016983 h 8172447"/>
              <a:gd name="connsiteX7" fmla="*/ 3710857 w 4541546"/>
              <a:gd name="connsiteY7" fmla="*/ 8016983 h 8172447"/>
              <a:gd name="connsiteX8" fmla="*/ 155465 w 4541546"/>
              <a:gd name="connsiteY8" fmla="*/ 4461594 h 8172447"/>
              <a:gd name="connsiteX9" fmla="*/ 0 w 4541546"/>
              <a:gd name="connsiteY9" fmla="*/ 4086224 h 8172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541546" h="8172447">
                <a:moveTo>
                  <a:pt x="0" y="4086224"/>
                </a:moveTo>
                <a:cubicBezTo>
                  <a:pt x="0" y="3950361"/>
                  <a:pt x="51822" y="3814498"/>
                  <a:pt x="155465" y="3710855"/>
                </a:cubicBezTo>
                <a:lnTo>
                  <a:pt x="3710857" y="155465"/>
                </a:lnTo>
                <a:cubicBezTo>
                  <a:pt x="3918143" y="-51822"/>
                  <a:pt x="4254309" y="-51822"/>
                  <a:pt x="4461596" y="155465"/>
                </a:cubicBezTo>
                <a:lnTo>
                  <a:pt x="4541546" y="235415"/>
                </a:lnTo>
                <a:lnTo>
                  <a:pt x="4541546" y="7937033"/>
                </a:lnTo>
                <a:lnTo>
                  <a:pt x="4461596" y="8016983"/>
                </a:lnTo>
                <a:cubicBezTo>
                  <a:pt x="4254309" y="8224269"/>
                  <a:pt x="3918143" y="8224269"/>
                  <a:pt x="3710857" y="8016983"/>
                </a:cubicBezTo>
                <a:lnTo>
                  <a:pt x="155465" y="4461594"/>
                </a:lnTo>
                <a:cubicBezTo>
                  <a:pt x="51822" y="4357950"/>
                  <a:pt x="0" y="4222087"/>
                  <a:pt x="0" y="4086224"/>
                </a:cubicBezTo>
                <a:close/>
              </a:path>
            </a:pathLst>
          </a:custGeom>
          <a:gradFill>
            <a:gsLst>
              <a:gs pos="12000">
                <a:srgbClr val="D9E1E2">
                  <a:alpha val="30000"/>
                </a:srgbClr>
              </a:gs>
              <a:gs pos="74000">
                <a:srgbClr val="D9E1E2">
                  <a:alpha val="0"/>
                </a:srgbClr>
              </a:gs>
            </a:gsLst>
            <a:lin ang="8100000" scaled="1"/>
          </a:gradFill>
          <a:ln w="685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38EA1BEB-E75C-1613-87F8-D74B7A31A397}"/>
              </a:ext>
            </a:extLst>
          </p:cNvPr>
          <p:cNvSpPr/>
          <p:nvPr userDrawn="1"/>
        </p:nvSpPr>
        <p:spPr>
          <a:xfrm>
            <a:off x="6096000" y="0"/>
            <a:ext cx="6096000" cy="5991238"/>
          </a:xfrm>
          <a:custGeom>
            <a:avLst/>
            <a:gdLst>
              <a:gd name="connsiteX0" fmla="*/ 1685111 w 6096000"/>
              <a:gd name="connsiteY0" fmla="*/ 0 h 5991238"/>
              <a:gd name="connsiteX1" fmla="*/ 6096000 w 6096000"/>
              <a:gd name="connsiteY1" fmla="*/ 0 h 5991238"/>
              <a:gd name="connsiteX2" fmla="*/ 6096000 w 6096000"/>
              <a:gd name="connsiteY2" fmla="*/ 4201371 h 5991238"/>
              <a:gd name="connsiteX3" fmla="*/ 4461596 w 6096000"/>
              <a:gd name="connsiteY3" fmla="*/ 5835774 h 5991238"/>
              <a:gd name="connsiteX4" fmla="*/ 3710856 w 6096000"/>
              <a:gd name="connsiteY4" fmla="*/ 5835774 h 5991238"/>
              <a:gd name="connsiteX5" fmla="*/ 155465 w 6096000"/>
              <a:gd name="connsiteY5" fmla="*/ 2280384 h 5991238"/>
              <a:gd name="connsiteX6" fmla="*/ 155465 w 6096000"/>
              <a:gd name="connsiteY6" fmla="*/ 1529645 h 5991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6000" h="5991238">
                <a:moveTo>
                  <a:pt x="1685111" y="0"/>
                </a:moveTo>
                <a:lnTo>
                  <a:pt x="6096000" y="0"/>
                </a:lnTo>
                <a:lnTo>
                  <a:pt x="6096000" y="4201371"/>
                </a:lnTo>
                <a:lnTo>
                  <a:pt x="4461596" y="5835774"/>
                </a:lnTo>
                <a:cubicBezTo>
                  <a:pt x="4254308" y="6043060"/>
                  <a:pt x="3918142" y="6043060"/>
                  <a:pt x="3710856" y="5835774"/>
                </a:cubicBezTo>
                <a:lnTo>
                  <a:pt x="155465" y="2280384"/>
                </a:lnTo>
                <a:cubicBezTo>
                  <a:pt x="-51822" y="2073097"/>
                  <a:pt x="-51822" y="1736931"/>
                  <a:pt x="155465" y="1529645"/>
                </a:cubicBezTo>
                <a:close/>
              </a:path>
            </a:pathLst>
          </a:custGeom>
          <a:solidFill>
            <a:srgbClr val="00BD4D"/>
          </a:solidFill>
          <a:ln w="685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" name="Picture 9" descr="Icon&#10;&#10;Description automatically generated with medium confidence">
            <a:extLst>
              <a:ext uri="{FF2B5EF4-FFF2-40B4-BE49-F238E27FC236}">
                <a16:creationId xmlns:a16="http://schemas.microsoft.com/office/drawing/2014/main" id="{7F1D67F8-99C3-0BF6-F1DD-6FB5A9ED7B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59400" y="419100"/>
            <a:ext cx="5187948" cy="6438900"/>
          </a:xfrm>
          <a:prstGeom prst="rect">
            <a:avLst/>
          </a:prstGeom>
        </p:spPr>
      </p:pic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AB256C78-3DA0-2598-3530-FE5AC5A3849E}"/>
              </a:ext>
            </a:extLst>
          </p:cNvPr>
          <p:cNvSpPr/>
          <p:nvPr userDrawn="1"/>
        </p:nvSpPr>
        <p:spPr>
          <a:xfrm>
            <a:off x="6772274" y="829559"/>
            <a:ext cx="2548479" cy="5389382"/>
          </a:xfrm>
          <a:prstGeom prst="roundRect">
            <a:avLst>
              <a:gd name="adj" fmla="val 10733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err="1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678B529-409C-2083-D55A-CBE6BD7D3F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6569" y="1449692"/>
            <a:ext cx="4549332" cy="1146630"/>
          </a:xfrm>
          <a:prstGeom prst="rect">
            <a:avLst/>
          </a:prstGeom>
        </p:spPr>
        <p:txBody>
          <a:bodyPr anchor="ctr"/>
          <a:lstStyle>
            <a:lvl1pPr>
              <a:defRPr lang="en-US" sz="3400" b="1" i="0" cap="all" baseline="0" dirty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pPr lvl="0"/>
            <a:r>
              <a:rPr lang="en-US"/>
              <a:t>title sty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8CBE91A-52BA-6CEE-5CAC-25BDE70A86F8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765553" y="2729679"/>
            <a:ext cx="4549331" cy="3816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0" i="0" cap="all" baseline="0">
                <a:solidFill>
                  <a:schemeClr val="bg1"/>
                </a:solidFill>
                <a:latin typeface="Lato" panose="020F0502020204030203" pitchFamily="34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13599550-2F18-4ED0-4402-1E4F6FC0C12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44694" y="3486618"/>
            <a:ext cx="4549331" cy="2634782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indent="0">
              <a:buNone/>
              <a:defRPr lang="en-US" sz="1800" b="0" i="0" dirty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US"/>
              <a:t>Click to edit Master text styles</a:t>
            </a:r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7AEFB484-AECA-8CD8-9099-5A65E28AA65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791702" y="876300"/>
            <a:ext cx="2504699" cy="5295900"/>
          </a:xfrm>
          <a:custGeom>
            <a:avLst/>
            <a:gdLst>
              <a:gd name="connsiteX0" fmla="*/ 268829 w 2504699"/>
              <a:gd name="connsiteY0" fmla="*/ 0 h 5295900"/>
              <a:gd name="connsiteX1" fmla="*/ 2235870 w 2504699"/>
              <a:gd name="connsiteY1" fmla="*/ 0 h 5295900"/>
              <a:gd name="connsiteX2" fmla="*/ 2504699 w 2504699"/>
              <a:gd name="connsiteY2" fmla="*/ 268829 h 5295900"/>
              <a:gd name="connsiteX3" fmla="*/ 2504699 w 2504699"/>
              <a:gd name="connsiteY3" fmla="*/ 5027071 h 5295900"/>
              <a:gd name="connsiteX4" fmla="*/ 2235870 w 2504699"/>
              <a:gd name="connsiteY4" fmla="*/ 5295900 h 5295900"/>
              <a:gd name="connsiteX5" fmla="*/ 268829 w 2504699"/>
              <a:gd name="connsiteY5" fmla="*/ 5295900 h 5295900"/>
              <a:gd name="connsiteX6" fmla="*/ 0 w 2504699"/>
              <a:gd name="connsiteY6" fmla="*/ 5027071 h 5295900"/>
              <a:gd name="connsiteX7" fmla="*/ 0 w 2504699"/>
              <a:gd name="connsiteY7" fmla="*/ 268829 h 5295900"/>
              <a:gd name="connsiteX8" fmla="*/ 268829 w 2504699"/>
              <a:gd name="connsiteY8" fmla="*/ 0 h 5295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04699" h="5295900">
                <a:moveTo>
                  <a:pt x="268829" y="0"/>
                </a:moveTo>
                <a:lnTo>
                  <a:pt x="2235870" y="0"/>
                </a:lnTo>
                <a:cubicBezTo>
                  <a:pt x="2384340" y="0"/>
                  <a:pt x="2504699" y="120359"/>
                  <a:pt x="2504699" y="268829"/>
                </a:cubicBezTo>
                <a:lnTo>
                  <a:pt x="2504699" y="5027071"/>
                </a:lnTo>
                <a:cubicBezTo>
                  <a:pt x="2504699" y="5175541"/>
                  <a:pt x="2384340" y="5295900"/>
                  <a:pt x="2235870" y="5295900"/>
                </a:cubicBezTo>
                <a:lnTo>
                  <a:pt x="268829" y="5295900"/>
                </a:lnTo>
                <a:cubicBezTo>
                  <a:pt x="120359" y="5295900"/>
                  <a:pt x="0" y="5175541"/>
                  <a:pt x="0" y="5027071"/>
                </a:cubicBezTo>
                <a:lnTo>
                  <a:pt x="0" y="268829"/>
                </a:lnTo>
                <a:cubicBezTo>
                  <a:pt x="0" y="120359"/>
                  <a:pt x="120359" y="0"/>
                  <a:pt x="26882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2000" b="0" i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35292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: 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D88448F7-08A6-BEA3-EDB6-6ED79981290A}"/>
              </a:ext>
            </a:extLst>
          </p:cNvPr>
          <p:cNvSpPr/>
          <p:nvPr userDrawn="1"/>
        </p:nvSpPr>
        <p:spPr>
          <a:xfrm rot="5400000">
            <a:off x="3390252" y="524538"/>
            <a:ext cx="4541546" cy="8172447"/>
          </a:xfrm>
          <a:custGeom>
            <a:avLst/>
            <a:gdLst>
              <a:gd name="connsiteX0" fmla="*/ 0 w 4541546"/>
              <a:gd name="connsiteY0" fmla="*/ 4086224 h 8172447"/>
              <a:gd name="connsiteX1" fmla="*/ 155465 w 4541546"/>
              <a:gd name="connsiteY1" fmla="*/ 3710855 h 8172447"/>
              <a:gd name="connsiteX2" fmla="*/ 3710857 w 4541546"/>
              <a:gd name="connsiteY2" fmla="*/ 155465 h 8172447"/>
              <a:gd name="connsiteX3" fmla="*/ 4461596 w 4541546"/>
              <a:gd name="connsiteY3" fmla="*/ 155465 h 8172447"/>
              <a:gd name="connsiteX4" fmla="*/ 4541546 w 4541546"/>
              <a:gd name="connsiteY4" fmla="*/ 235415 h 8172447"/>
              <a:gd name="connsiteX5" fmla="*/ 4541546 w 4541546"/>
              <a:gd name="connsiteY5" fmla="*/ 7937033 h 8172447"/>
              <a:gd name="connsiteX6" fmla="*/ 4461596 w 4541546"/>
              <a:gd name="connsiteY6" fmla="*/ 8016983 h 8172447"/>
              <a:gd name="connsiteX7" fmla="*/ 3710857 w 4541546"/>
              <a:gd name="connsiteY7" fmla="*/ 8016983 h 8172447"/>
              <a:gd name="connsiteX8" fmla="*/ 155465 w 4541546"/>
              <a:gd name="connsiteY8" fmla="*/ 4461594 h 8172447"/>
              <a:gd name="connsiteX9" fmla="*/ 0 w 4541546"/>
              <a:gd name="connsiteY9" fmla="*/ 4086224 h 8172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541546" h="8172447">
                <a:moveTo>
                  <a:pt x="0" y="4086224"/>
                </a:moveTo>
                <a:cubicBezTo>
                  <a:pt x="0" y="3950361"/>
                  <a:pt x="51822" y="3814498"/>
                  <a:pt x="155465" y="3710855"/>
                </a:cubicBezTo>
                <a:lnTo>
                  <a:pt x="3710857" y="155465"/>
                </a:lnTo>
                <a:cubicBezTo>
                  <a:pt x="3918143" y="-51822"/>
                  <a:pt x="4254309" y="-51822"/>
                  <a:pt x="4461596" y="155465"/>
                </a:cubicBezTo>
                <a:lnTo>
                  <a:pt x="4541546" y="235415"/>
                </a:lnTo>
                <a:lnTo>
                  <a:pt x="4541546" y="7937033"/>
                </a:lnTo>
                <a:lnTo>
                  <a:pt x="4461596" y="8016983"/>
                </a:lnTo>
                <a:cubicBezTo>
                  <a:pt x="4254309" y="8224269"/>
                  <a:pt x="3918143" y="8224269"/>
                  <a:pt x="3710857" y="8016983"/>
                </a:cubicBezTo>
                <a:lnTo>
                  <a:pt x="155465" y="4461594"/>
                </a:lnTo>
                <a:cubicBezTo>
                  <a:pt x="51822" y="4357950"/>
                  <a:pt x="0" y="4222087"/>
                  <a:pt x="0" y="4086224"/>
                </a:cubicBezTo>
                <a:close/>
              </a:path>
            </a:pathLst>
          </a:custGeom>
          <a:gradFill>
            <a:gsLst>
              <a:gs pos="12000">
                <a:srgbClr val="D9E1E2">
                  <a:alpha val="30000"/>
                </a:srgbClr>
              </a:gs>
              <a:gs pos="74000">
                <a:srgbClr val="D9E1E2">
                  <a:alpha val="0"/>
                </a:srgbClr>
              </a:gs>
            </a:gsLst>
            <a:lin ang="8100000" scaled="1"/>
          </a:gradFill>
          <a:ln w="685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5B35C3AB-53C4-AF72-E0E0-43BCA0E372E7}"/>
              </a:ext>
            </a:extLst>
          </p:cNvPr>
          <p:cNvSpPr/>
          <p:nvPr userDrawn="1"/>
        </p:nvSpPr>
        <p:spPr>
          <a:xfrm>
            <a:off x="6096000" y="0"/>
            <a:ext cx="6096000" cy="5991238"/>
          </a:xfrm>
          <a:custGeom>
            <a:avLst/>
            <a:gdLst>
              <a:gd name="connsiteX0" fmla="*/ 1685111 w 6096000"/>
              <a:gd name="connsiteY0" fmla="*/ 0 h 5991238"/>
              <a:gd name="connsiteX1" fmla="*/ 6096000 w 6096000"/>
              <a:gd name="connsiteY1" fmla="*/ 0 h 5991238"/>
              <a:gd name="connsiteX2" fmla="*/ 6096000 w 6096000"/>
              <a:gd name="connsiteY2" fmla="*/ 4201371 h 5991238"/>
              <a:gd name="connsiteX3" fmla="*/ 4461596 w 6096000"/>
              <a:gd name="connsiteY3" fmla="*/ 5835774 h 5991238"/>
              <a:gd name="connsiteX4" fmla="*/ 3710856 w 6096000"/>
              <a:gd name="connsiteY4" fmla="*/ 5835774 h 5991238"/>
              <a:gd name="connsiteX5" fmla="*/ 155465 w 6096000"/>
              <a:gd name="connsiteY5" fmla="*/ 2280384 h 5991238"/>
              <a:gd name="connsiteX6" fmla="*/ 155465 w 6096000"/>
              <a:gd name="connsiteY6" fmla="*/ 1529645 h 5991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6000" h="5991238">
                <a:moveTo>
                  <a:pt x="1685111" y="0"/>
                </a:moveTo>
                <a:lnTo>
                  <a:pt x="6096000" y="0"/>
                </a:lnTo>
                <a:lnTo>
                  <a:pt x="6096000" y="4201371"/>
                </a:lnTo>
                <a:lnTo>
                  <a:pt x="4461596" y="5835774"/>
                </a:lnTo>
                <a:cubicBezTo>
                  <a:pt x="4254308" y="6043060"/>
                  <a:pt x="3918142" y="6043060"/>
                  <a:pt x="3710856" y="5835774"/>
                </a:cubicBezTo>
                <a:lnTo>
                  <a:pt x="155465" y="2280384"/>
                </a:lnTo>
                <a:cubicBezTo>
                  <a:pt x="-51822" y="2073097"/>
                  <a:pt x="-51822" y="1736931"/>
                  <a:pt x="155465" y="1529645"/>
                </a:cubicBezTo>
                <a:close/>
              </a:path>
            </a:pathLst>
          </a:custGeom>
          <a:gradFill>
            <a:gsLst>
              <a:gs pos="12000">
                <a:srgbClr val="D9E1E2">
                  <a:alpha val="30000"/>
                </a:srgbClr>
              </a:gs>
              <a:gs pos="74000">
                <a:srgbClr val="D9E1E2">
                  <a:alpha val="0"/>
                </a:srgbClr>
              </a:gs>
            </a:gsLst>
            <a:lin ang="8100000" scaled="1"/>
          </a:gradFill>
          <a:ln w="685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AAA7AA4-84CC-03FA-D6EE-339E976075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49494" y="765182"/>
            <a:ext cx="8242506" cy="5401524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BFA2529D-27FE-0578-B616-6CA31CA70187}"/>
              </a:ext>
            </a:extLst>
          </p:cNvPr>
          <p:cNvGrpSpPr/>
          <p:nvPr userDrawn="1"/>
        </p:nvGrpSpPr>
        <p:grpSpPr>
          <a:xfrm>
            <a:off x="11122821" y="6472473"/>
            <a:ext cx="799629" cy="166100"/>
            <a:chOff x="11122821" y="6472473"/>
            <a:chExt cx="799629" cy="166100"/>
          </a:xfrm>
        </p:grpSpPr>
        <p:sp>
          <p:nvSpPr>
            <p:cNvPr id="8" name="Freeform: Shape 11">
              <a:extLst>
                <a:ext uri="{FF2B5EF4-FFF2-40B4-BE49-F238E27FC236}">
                  <a16:creationId xmlns:a16="http://schemas.microsoft.com/office/drawing/2014/main" id="{05D33615-004A-3EEF-DBA1-A363E9BC43E2}"/>
                </a:ext>
              </a:extLst>
            </p:cNvPr>
            <p:cNvSpPr/>
            <p:nvPr/>
          </p:nvSpPr>
          <p:spPr>
            <a:xfrm rot="18900000">
              <a:off x="11134957" y="6473485"/>
              <a:ext cx="35147" cy="35147"/>
            </a:xfrm>
            <a:custGeom>
              <a:avLst/>
              <a:gdLst>
                <a:gd name="connsiteX0" fmla="*/ 32044 w 35147"/>
                <a:gd name="connsiteY0" fmla="*/ 0 h 35147"/>
                <a:gd name="connsiteX1" fmla="*/ 35148 w 35147"/>
                <a:gd name="connsiteY1" fmla="*/ 3103 h 35147"/>
                <a:gd name="connsiteX2" fmla="*/ 35148 w 35147"/>
                <a:gd name="connsiteY2" fmla="*/ 32044 h 35147"/>
                <a:gd name="connsiteX3" fmla="*/ 32044 w 35147"/>
                <a:gd name="connsiteY3" fmla="*/ 35148 h 35147"/>
                <a:gd name="connsiteX4" fmla="*/ 3103 w 35147"/>
                <a:gd name="connsiteY4" fmla="*/ 35148 h 35147"/>
                <a:gd name="connsiteX5" fmla="*/ 0 w 35147"/>
                <a:gd name="connsiteY5" fmla="*/ 32044 h 35147"/>
                <a:gd name="connsiteX6" fmla="*/ 0 w 35147"/>
                <a:gd name="connsiteY6" fmla="*/ 3103 h 35147"/>
                <a:gd name="connsiteX7" fmla="*/ 3103 w 35147"/>
                <a:gd name="connsiteY7" fmla="*/ 0 h 35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147" h="35147">
                  <a:moveTo>
                    <a:pt x="32044" y="0"/>
                  </a:moveTo>
                  <a:cubicBezTo>
                    <a:pt x="33758" y="0"/>
                    <a:pt x="35148" y="1389"/>
                    <a:pt x="35148" y="3103"/>
                  </a:cubicBezTo>
                  <a:lnTo>
                    <a:pt x="35148" y="32044"/>
                  </a:lnTo>
                  <a:cubicBezTo>
                    <a:pt x="35148" y="33758"/>
                    <a:pt x="33758" y="35148"/>
                    <a:pt x="32044" y="35148"/>
                  </a:cubicBezTo>
                  <a:lnTo>
                    <a:pt x="3103" y="35148"/>
                  </a:lnTo>
                  <a:cubicBezTo>
                    <a:pt x="1389" y="35148"/>
                    <a:pt x="0" y="33758"/>
                    <a:pt x="0" y="32044"/>
                  </a:cubicBezTo>
                  <a:lnTo>
                    <a:pt x="0" y="3103"/>
                  </a:lnTo>
                  <a:cubicBezTo>
                    <a:pt x="0" y="1389"/>
                    <a:pt x="1389" y="0"/>
                    <a:pt x="3103" y="0"/>
                  </a:cubicBezTo>
                  <a:close/>
                </a:path>
              </a:pathLst>
            </a:custGeom>
            <a:solidFill>
              <a:srgbClr val="00BD4D"/>
            </a:solidFill>
            <a:ln w="135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9A5D2C2E-CBEB-4D35-DB56-342909A520A9}"/>
                </a:ext>
              </a:extLst>
            </p:cNvPr>
            <p:cNvGrpSpPr/>
            <p:nvPr/>
          </p:nvGrpSpPr>
          <p:grpSpPr>
            <a:xfrm>
              <a:off x="11122821" y="6472473"/>
              <a:ext cx="799629" cy="166100"/>
              <a:chOff x="11122821" y="6472473"/>
              <a:chExt cx="799629" cy="166100"/>
            </a:xfrm>
            <a:solidFill>
              <a:schemeClr val="bg1"/>
            </a:solidFill>
          </p:grpSpPr>
          <p:sp>
            <p:nvSpPr>
              <p:cNvPr id="15" name="Freeform: Shape 13">
                <a:extLst>
                  <a:ext uri="{FF2B5EF4-FFF2-40B4-BE49-F238E27FC236}">
                    <a16:creationId xmlns:a16="http://schemas.microsoft.com/office/drawing/2014/main" id="{2E98C4D2-608D-784F-CA0C-34C1B09D96C1}"/>
                  </a:ext>
                </a:extLst>
              </p:cNvPr>
              <p:cNvSpPr/>
              <p:nvPr/>
            </p:nvSpPr>
            <p:spPr>
              <a:xfrm>
                <a:off x="11774281" y="6519597"/>
                <a:ext cx="119385" cy="116611"/>
              </a:xfrm>
              <a:custGeom>
                <a:avLst/>
                <a:gdLst>
                  <a:gd name="connsiteX0" fmla="*/ 82523 w 119385"/>
                  <a:gd name="connsiteY0" fmla="*/ 58306 h 116611"/>
                  <a:gd name="connsiteX1" fmla="*/ 118887 w 119385"/>
                  <a:gd name="connsiteY1" fmla="*/ 112265 h 116611"/>
                  <a:gd name="connsiteX2" fmla="*/ 116385 w 119385"/>
                  <a:gd name="connsiteY2" fmla="*/ 116612 h 116611"/>
                  <a:gd name="connsiteX3" fmla="*/ 85831 w 119385"/>
                  <a:gd name="connsiteY3" fmla="*/ 116612 h 116611"/>
                  <a:gd name="connsiteX4" fmla="*/ 80718 w 119385"/>
                  <a:gd name="connsiteY4" fmla="*/ 113919 h 116611"/>
                  <a:gd name="connsiteX5" fmla="*/ 59693 w 119385"/>
                  <a:gd name="connsiteY5" fmla="*/ 81751 h 116611"/>
                  <a:gd name="connsiteX6" fmla="*/ 38667 w 119385"/>
                  <a:gd name="connsiteY6" fmla="*/ 113919 h 116611"/>
                  <a:gd name="connsiteX7" fmla="*/ 33554 w 119385"/>
                  <a:gd name="connsiteY7" fmla="*/ 116612 h 116611"/>
                  <a:gd name="connsiteX8" fmla="*/ 3000 w 119385"/>
                  <a:gd name="connsiteY8" fmla="*/ 116612 h 116611"/>
                  <a:gd name="connsiteX9" fmla="*/ 498 w 119385"/>
                  <a:gd name="connsiteY9" fmla="*/ 112265 h 116611"/>
                  <a:gd name="connsiteX10" fmla="*/ 36753 w 119385"/>
                  <a:gd name="connsiteY10" fmla="*/ 58306 h 116611"/>
                  <a:gd name="connsiteX11" fmla="*/ 498 w 119385"/>
                  <a:gd name="connsiteY11" fmla="*/ 4347 h 116611"/>
                  <a:gd name="connsiteX12" fmla="*/ 3000 w 119385"/>
                  <a:gd name="connsiteY12" fmla="*/ 0 h 116611"/>
                  <a:gd name="connsiteX13" fmla="*/ 34853 w 119385"/>
                  <a:gd name="connsiteY13" fmla="*/ 0 h 116611"/>
                  <a:gd name="connsiteX14" fmla="*/ 37778 w 119385"/>
                  <a:gd name="connsiteY14" fmla="*/ 1449 h 116611"/>
                  <a:gd name="connsiteX15" fmla="*/ 59679 w 119385"/>
                  <a:gd name="connsiteY15" fmla="*/ 34806 h 116611"/>
                  <a:gd name="connsiteX16" fmla="*/ 80240 w 119385"/>
                  <a:gd name="connsiteY16" fmla="*/ 1463 h 116611"/>
                  <a:gd name="connsiteX17" fmla="*/ 83165 w 119385"/>
                  <a:gd name="connsiteY17" fmla="*/ 0 h 116611"/>
                  <a:gd name="connsiteX18" fmla="*/ 115333 w 119385"/>
                  <a:gd name="connsiteY18" fmla="*/ 0 h 116611"/>
                  <a:gd name="connsiteX19" fmla="*/ 117834 w 119385"/>
                  <a:gd name="connsiteY19" fmla="*/ 4334 h 116611"/>
                  <a:gd name="connsiteX20" fmla="*/ 82495 w 119385"/>
                  <a:gd name="connsiteY20" fmla="*/ 58306 h 116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19385" h="116611">
                    <a:moveTo>
                      <a:pt x="82523" y="58306"/>
                    </a:moveTo>
                    <a:lnTo>
                      <a:pt x="118887" y="112265"/>
                    </a:lnTo>
                    <a:cubicBezTo>
                      <a:pt x="120199" y="114124"/>
                      <a:pt x="118764" y="116612"/>
                      <a:pt x="116385" y="116612"/>
                    </a:cubicBezTo>
                    <a:lnTo>
                      <a:pt x="85831" y="116612"/>
                    </a:lnTo>
                    <a:cubicBezTo>
                      <a:pt x="83794" y="116612"/>
                      <a:pt x="81880" y="115600"/>
                      <a:pt x="80718" y="113919"/>
                    </a:cubicBezTo>
                    <a:lnTo>
                      <a:pt x="59693" y="81751"/>
                    </a:lnTo>
                    <a:lnTo>
                      <a:pt x="38667" y="113919"/>
                    </a:lnTo>
                    <a:cubicBezTo>
                      <a:pt x="37505" y="115600"/>
                      <a:pt x="35605" y="116612"/>
                      <a:pt x="33554" y="116612"/>
                    </a:cubicBezTo>
                    <a:lnTo>
                      <a:pt x="3000" y="116612"/>
                    </a:lnTo>
                    <a:cubicBezTo>
                      <a:pt x="621" y="116612"/>
                      <a:pt x="-814" y="114138"/>
                      <a:pt x="498" y="112265"/>
                    </a:cubicBezTo>
                    <a:lnTo>
                      <a:pt x="36753" y="58306"/>
                    </a:lnTo>
                    <a:lnTo>
                      <a:pt x="498" y="4347"/>
                    </a:lnTo>
                    <a:cubicBezTo>
                      <a:pt x="-814" y="2488"/>
                      <a:pt x="621" y="0"/>
                      <a:pt x="3000" y="0"/>
                    </a:cubicBezTo>
                    <a:lnTo>
                      <a:pt x="34853" y="0"/>
                    </a:lnTo>
                    <a:cubicBezTo>
                      <a:pt x="36042" y="0"/>
                      <a:pt x="37149" y="547"/>
                      <a:pt x="37778" y="1449"/>
                    </a:cubicBezTo>
                    <a:lnTo>
                      <a:pt x="59679" y="34806"/>
                    </a:lnTo>
                    <a:lnTo>
                      <a:pt x="80240" y="1463"/>
                    </a:lnTo>
                    <a:cubicBezTo>
                      <a:pt x="80855" y="561"/>
                      <a:pt x="81976" y="0"/>
                      <a:pt x="83165" y="0"/>
                    </a:cubicBezTo>
                    <a:lnTo>
                      <a:pt x="115333" y="0"/>
                    </a:lnTo>
                    <a:cubicBezTo>
                      <a:pt x="117711" y="0"/>
                      <a:pt x="119133" y="2474"/>
                      <a:pt x="117834" y="4334"/>
                    </a:cubicBezTo>
                    <a:lnTo>
                      <a:pt x="82495" y="58306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" name="Freeform: Shape 14">
                <a:extLst>
                  <a:ext uri="{FF2B5EF4-FFF2-40B4-BE49-F238E27FC236}">
                    <a16:creationId xmlns:a16="http://schemas.microsoft.com/office/drawing/2014/main" id="{811046BF-3BEB-922F-6E2B-6AEF7D94B0AE}"/>
                  </a:ext>
                </a:extLst>
              </p:cNvPr>
              <p:cNvSpPr/>
              <p:nvPr/>
            </p:nvSpPr>
            <p:spPr>
              <a:xfrm>
                <a:off x="11284928" y="6472473"/>
                <a:ext cx="78825" cy="163762"/>
              </a:xfrm>
              <a:custGeom>
                <a:avLst/>
                <a:gdLst>
                  <a:gd name="connsiteX0" fmla="*/ 75722 w 78825"/>
                  <a:gd name="connsiteY0" fmla="*/ 14 h 163762"/>
                  <a:gd name="connsiteX1" fmla="*/ 50377 w 78825"/>
                  <a:gd name="connsiteY1" fmla="*/ 14 h 163762"/>
                  <a:gd name="connsiteX2" fmla="*/ 43801 w 78825"/>
                  <a:gd name="connsiteY2" fmla="*/ 2734 h 163762"/>
                  <a:gd name="connsiteX3" fmla="*/ 19987 w 78825"/>
                  <a:gd name="connsiteY3" fmla="*/ 26549 h 163762"/>
                  <a:gd name="connsiteX4" fmla="*/ 17266 w 78825"/>
                  <a:gd name="connsiteY4" fmla="*/ 33124 h 163762"/>
                  <a:gd name="connsiteX5" fmla="*/ 17266 w 78825"/>
                  <a:gd name="connsiteY5" fmla="*/ 51867 h 163762"/>
                  <a:gd name="connsiteX6" fmla="*/ 3049 w 78825"/>
                  <a:gd name="connsiteY6" fmla="*/ 51867 h 163762"/>
                  <a:gd name="connsiteX7" fmla="*/ 0 w 78825"/>
                  <a:gd name="connsiteY7" fmla="*/ 54916 h 163762"/>
                  <a:gd name="connsiteX8" fmla="*/ 0 w 78825"/>
                  <a:gd name="connsiteY8" fmla="*/ 75955 h 163762"/>
                  <a:gd name="connsiteX9" fmla="*/ 3049 w 78825"/>
                  <a:gd name="connsiteY9" fmla="*/ 79004 h 163762"/>
                  <a:gd name="connsiteX10" fmla="*/ 17266 w 78825"/>
                  <a:gd name="connsiteY10" fmla="*/ 79004 h 163762"/>
                  <a:gd name="connsiteX11" fmla="*/ 17266 w 78825"/>
                  <a:gd name="connsiteY11" fmla="*/ 160659 h 163762"/>
                  <a:gd name="connsiteX12" fmla="*/ 20369 w 78825"/>
                  <a:gd name="connsiteY12" fmla="*/ 163763 h 163762"/>
                  <a:gd name="connsiteX13" fmla="*/ 47109 w 78825"/>
                  <a:gd name="connsiteY13" fmla="*/ 163763 h 163762"/>
                  <a:gd name="connsiteX14" fmla="*/ 50213 w 78825"/>
                  <a:gd name="connsiteY14" fmla="*/ 160659 h 163762"/>
                  <a:gd name="connsiteX15" fmla="*/ 50213 w 78825"/>
                  <a:gd name="connsiteY15" fmla="*/ 78990 h 163762"/>
                  <a:gd name="connsiteX16" fmla="*/ 71443 w 78825"/>
                  <a:gd name="connsiteY16" fmla="*/ 78990 h 163762"/>
                  <a:gd name="connsiteX17" fmla="*/ 74492 w 78825"/>
                  <a:gd name="connsiteY17" fmla="*/ 75941 h 163762"/>
                  <a:gd name="connsiteX18" fmla="*/ 74492 w 78825"/>
                  <a:gd name="connsiteY18" fmla="*/ 54902 h 163762"/>
                  <a:gd name="connsiteX19" fmla="*/ 71443 w 78825"/>
                  <a:gd name="connsiteY19" fmla="*/ 51853 h 163762"/>
                  <a:gd name="connsiteX20" fmla="*/ 50213 w 78825"/>
                  <a:gd name="connsiteY20" fmla="*/ 51853 h 163762"/>
                  <a:gd name="connsiteX21" fmla="*/ 50213 w 78825"/>
                  <a:gd name="connsiteY21" fmla="*/ 38565 h 163762"/>
                  <a:gd name="connsiteX22" fmla="*/ 59509 w 78825"/>
                  <a:gd name="connsiteY22" fmla="*/ 29269 h 163762"/>
                  <a:gd name="connsiteX23" fmla="*/ 75722 w 78825"/>
                  <a:gd name="connsiteY23" fmla="*/ 29269 h 163762"/>
                  <a:gd name="connsiteX24" fmla="*/ 78826 w 78825"/>
                  <a:gd name="connsiteY24" fmla="*/ 26166 h 163762"/>
                  <a:gd name="connsiteX25" fmla="*/ 78826 w 78825"/>
                  <a:gd name="connsiteY25" fmla="*/ 3103 h 163762"/>
                  <a:gd name="connsiteX26" fmla="*/ 75722 w 78825"/>
                  <a:gd name="connsiteY26" fmla="*/ 0 h 163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78825" h="163762">
                    <a:moveTo>
                      <a:pt x="75722" y="14"/>
                    </a:moveTo>
                    <a:lnTo>
                      <a:pt x="50377" y="14"/>
                    </a:lnTo>
                    <a:cubicBezTo>
                      <a:pt x="47916" y="14"/>
                      <a:pt x="45551" y="998"/>
                      <a:pt x="43801" y="2734"/>
                    </a:cubicBezTo>
                    <a:lnTo>
                      <a:pt x="19987" y="26549"/>
                    </a:lnTo>
                    <a:cubicBezTo>
                      <a:pt x="18237" y="28299"/>
                      <a:pt x="17266" y="30664"/>
                      <a:pt x="17266" y="33124"/>
                    </a:cubicBezTo>
                    <a:lnTo>
                      <a:pt x="17266" y="51867"/>
                    </a:lnTo>
                    <a:lnTo>
                      <a:pt x="3049" y="51867"/>
                    </a:lnTo>
                    <a:cubicBezTo>
                      <a:pt x="1367" y="51867"/>
                      <a:pt x="0" y="53234"/>
                      <a:pt x="0" y="54916"/>
                    </a:cubicBezTo>
                    <a:lnTo>
                      <a:pt x="0" y="75955"/>
                    </a:lnTo>
                    <a:cubicBezTo>
                      <a:pt x="0" y="77636"/>
                      <a:pt x="1367" y="79004"/>
                      <a:pt x="3049" y="79004"/>
                    </a:cubicBezTo>
                    <a:lnTo>
                      <a:pt x="17266" y="79004"/>
                    </a:lnTo>
                    <a:lnTo>
                      <a:pt x="17266" y="160659"/>
                    </a:lnTo>
                    <a:cubicBezTo>
                      <a:pt x="17266" y="162368"/>
                      <a:pt x="18661" y="163763"/>
                      <a:pt x="20369" y="163763"/>
                    </a:cubicBezTo>
                    <a:lnTo>
                      <a:pt x="47109" y="163763"/>
                    </a:lnTo>
                    <a:cubicBezTo>
                      <a:pt x="48818" y="163763"/>
                      <a:pt x="50213" y="162368"/>
                      <a:pt x="50213" y="160659"/>
                    </a:cubicBezTo>
                    <a:lnTo>
                      <a:pt x="50213" y="78990"/>
                    </a:lnTo>
                    <a:lnTo>
                      <a:pt x="71443" y="78990"/>
                    </a:lnTo>
                    <a:cubicBezTo>
                      <a:pt x="73125" y="78990"/>
                      <a:pt x="74492" y="77623"/>
                      <a:pt x="74492" y="75941"/>
                    </a:cubicBezTo>
                    <a:lnTo>
                      <a:pt x="74492" y="54902"/>
                    </a:lnTo>
                    <a:cubicBezTo>
                      <a:pt x="74492" y="53220"/>
                      <a:pt x="73125" y="51853"/>
                      <a:pt x="71443" y="51853"/>
                    </a:cubicBezTo>
                    <a:lnTo>
                      <a:pt x="50213" y="51853"/>
                    </a:lnTo>
                    <a:lnTo>
                      <a:pt x="50213" y="38565"/>
                    </a:lnTo>
                    <a:cubicBezTo>
                      <a:pt x="50213" y="33425"/>
                      <a:pt x="54382" y="29269"/>
                      <a:pt x="59509" y="29269"/>
                    </a:cubicBezTo>
                    <a:lnTo>
                      <a:pt x="75722" y="29269"/>
                    </a:lnTo>
                    <a:cubicBezTo>
                      <a:pt x="77431" y="29269"/>
                      <a:pt x="78826" y="27875"/>
                      <a:pt x="78826" y="26166"/>
                    </a:cubicBezTo>
                    <a:lnTo>
                      <a:pt x="78826" y="3103"/>
                    </a:lnTo>
                    <a:cubicBezTo>
                      <a:pt x="78826" y="1394"/>
                      <a:pt x="77431" y="0"/>
                      <a:pt x="75722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" name="Freeform: Shape 15">
                <a:extLst>
                  <a:ext uri="{FF2B5EF4-FFF2-40B4-BE49-F238E27FC236}">
                    <a16:creationId xmlns:a16="http://schemas.microsoft.com/office/drawing/2014/main" id="{1702C715-6CC8-B167-17E8-A0EE609CC5BA}"/>
                  </a:ext>
                </a:extLst>
              </p:cNvPr>
              <p:cNvSpPr/>
              <p:nvPr/>
            </p:nvSpPr>
            <p:spPr>
              <a:xfrm>
                <a:off x="11896791" y="6612367"/>
                <a:ext cx="25659" cy="25660"/>
              </a:xfrm>
              <a:custGeom>
                <a:avLst/>
                <a:gdLst>
                  <a:gd name="connsiteX0" fmla="*/ 25660 w 25659"/>
                  <a:gd name="connsiteY0" fmla="*/ 12810 h 25660"/>
                  <a:gd name="connsiteX1" fmla="*/ 12782 w 25659"/>
                  <a:gd name="connsiteY1" fmla="*/ 25660 h 25660"/>
                  <a:gd name="connsiteX2" fmla="*/ 0 w 25659"/>
                  <a:gd name="connsiteY2" fmla="*/ 12810 h 25660"/>
                  <a:gd name="connsiteX3" fmla="*/ 12823 w 25659"/>
                  <a:gd name="connsiteY3" fmla="*/ 0 h 25660"/>
                  <a:gd name="connsiteX4" fmla="*/ 25646 w 25659"/>
                  <a:gd name="connsiteY4" fmla="*/ 12810 h 25660"/>
                  <a:gd name="connsiteX5" fmla="*/ 23691 w 25659"/>
                  <a:gd name="connsiteY5" fmla="*/ 12864 h 25660"/>
                  <a:gd name="connsiteX6" fmla="*/ 12837 w 25659"/>
                  <a:gd name="connsiteY6" fmla="*/ 1832 h 25660"/>
                  <a:gd name="connsiteX7" fmla="*/ 1982 w 25659"/>
                  <a:gd name="connsiteY7" fmla="*/ 12851 h 25660"/>
                  <a:gd name="connsiteX8" fmla="*/ 12782 w 25659"/>
                  <a:gd name="connsiteY8" fmla="*/ 23856 h 25660"/>
                  <a:gd name="connsiteX9" fmla="*/ 23691 w 25659"/>
                  <a:gd name="connsiteY9" fmla="*/ 12864 h 25660"/>
                  <a:gd name="connsiteX10" fmla="*/ 15585 w 25659"/>
                  <a:gd name="connsiteY10" fmla="*/ 14888 h 25660"/>
                  <a:gd name="connsiteX11" fmla="*/ 18811 w 25659"/>
                  <a:gd name="connsiteY11" fmla="*/ 19905 h 25660"/>
                  <a:gd name="connsiteX12" fmla="*/ 16678 w 25659"/>
                  <a:gd name="connsiteY12" fmla="*/ 19905 h 25660"/>
                  <a:gd name="connsiteX13" fmla="*/ 13097 w 25659"/>
                  <a:gd name="connsiteY13" fmla="*/ 14218 h 25660"/>
                  <a:gd name="connsiteX14" fmla="*/ 9829 w 25659"/>
                  <a:gd name="connsiteY14" fmla="*/ 14218 h 25660"/>
                  <a:gd name="connsiteX15" fmla="*/ 9829 w 25659"/>
                  <a:gd name="connsiteY15" fmla="*/ 19905 h 25660"/>
                  <a:gd name="connsiteX16" fmla="*/ 8038 w 25659"/>
                  <a:gd name="connsiteY16" fmla="*/ 19905 h 25660"/>
                  <a:gd name="connsiteX17" fmla="*/ 8038 w 25659"/>
                  <a:gd name="connsiteY17" fmla="*/ 5523 h 25660"/>
                  <a:gd name="connsiteX18" fmla="*/ 13616 w 25659"/>
                  <a:gd name="connsiteY18" fmla="*/ 5523 h 25660"/>
                  <a:gd name="connsiteX19" fmla="*/ 18155 w 25659"/>
                  <a:gd name="connsiteY19" fmla="*/ 9761 h 25660"/>
                  <a:gd name="connsiteX20" fmla="*/ 14887 w 25659"/>
                  <a:gd name="connsiteY20" fmla="*/ 13917 h 25660"/>
                  <a:gd name="connsiteX21" fmla="*/ 15585 w 25659"/>
                  <a:gd name="connsiteY21" fmla="*/ 14901 h 25660"/>
                  <a:gd name="connsiteX22" fmla="*/ 13015 w 25659"/>
                  <a:gd name="connsiteY22" fmla="*/ 12522 h 25660"/>
                  <a:gd name="connsiteX23" fmla="*/ 16282 w 25659"/>
                  <a:gd name="connsiteY23" fmla="*/ 9870 h 25660"/>
                  <a:gd name="connsiteX24" fmla="*/ 13657 w 25659"/>
                  <a:gd name="connsiteY24" fmla="*/ 7191 h 25660"/>
                  <a:gd name="connsiteX25" fmla="*/ 9816 w 25659"/>
                  <a:gd name="connsiteY25" fmla="*/ 7191 h 25660"/>
                  <a:gd name="connsiteX26" fmla="*/ 9816 w 25659"/>
                  <a:gd name="connsiteY26" fmla="*/ 12509 h 25660"/>
                  <a:gd name="connsiteX27" fmla="*/ 13015 w 25659"/>
                  <a:gd name="connsiteY27" fmla="*/ 12509 h 25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25659" h="25660">
                    <a:moveTo>
                      <a:pt x="25660" y="12810"/>
                    </a:moveTo>
                    <a:cubicBezTo>
                      <a:pt x="25660" y="19946"/>
                      <a:pt x="19946" y="25660"/>
                      <a:pt x="12782" y="25660"/>
                    </a:cubicBezTo>
                    <a:cubicBezTo>
                      <a:pt x="5619" y="25660"/>
                      <a:pt x="0" y="19891"/>
                      <a:pt x="0" y="12810"/>
                    </a:cubicBezTo>
                    <a:cubicBezTo>
                      <a:pt x="0" y="5728"/>
                      <a:pt x="5714" y="0"/>
                      <a:pt x="12823" y="0"/>
                    </a:cubicBezTo>
                    <a:cubicBezTo>
                      <a:pt x="19932" y="0"/>
                      <a:pt x="25646" y="5687"/>
                      <a:pt x="25646" y="12810"/>
                    </a:cubicBezTo>
                    <a:close/>
                    <a:moveTo>
                      <a:pt x="23691" y="12864"/>
                    </a:moveTo>
                    <a:cubicBezTo>
                      <a:pt x="23691" y="6712"/>
                      <a:pt x="18838" y="1832"/>
                      <a:pt x="12837" y="1832"/>
                    </a:cubicBezTo>
                    <a:cubicBezTo>
                      <a:pt x="6835" y="1832"/>
                      <a:pt x="1982" y="6658"/>
                      <a:pt x="1982" y="12851"/>
                    </a:cubicBezTo>
                    <a:cubicBezTo>
                      <a:pt x="1982" y="19043"/>
                      <a:pt x="6890" y="23856"/>
                      <a:pt x="12782" y="23856"/>
                    </a:cubicBezTo>
                    <a:cubicBezTo>
                      <a:pt x="18674" y="23856"/>
                      <a:pt x="23691" y="19002"/>
                      <a:pt x="23691" y="12864"/>
                    </a:cubicBezTo>
                    <a:close/>
                    <a:moveTo>
                      <a:pt x="15585" y="14888"/>
                    </a:moveTo>
                    <a:lnTo>
                      <a:pt x="18811" y="19905"/>
                    </a:lnTo>
                    <a:lnTo>
                      <a:pt x="16678" y="19905"/>
                    </a:lnTo>
                    <a:lnTo>
                      <a:pt x="13097" y="14218"/>
                    </a:lnTo>
                    <a:lnTo>
                      <a:pt x="9829" y="14218"/>
                    </a:lnTo>
                    <a:lnTo>
                      <a:pt x="9829" y="19905"/>
                    </a:lnTo>
                    <a:lnTo>
                      <a:pt x="8038" y="19905"/>
                    </a:lnTo>
                    <a:lnTo>
                      <a:pt x="8038" y="5523"/>
                    </a:lnTo>
                    <a:lnTo>
                      <a:pt x="13616" y="5523"/>
                    </a:lnTo>
                    <a:cubicBezTo>
                      <a:pt x="16364" y="5523"/>
                      <a:pt x="18155" y="6999"/>
                      <a:pt x="18155" y="9761"/>
                    </a:cubicBezTo>
                    <a:cubicBezTo>
                      <a:pt x="18155" y="11989"/>
                      <a:pt x="16801" y="13370"/>
                      <a:pt x="14887" y="13917"/>
                    </a:cubicBezTo>
                    <a:cubicBezTo>
                      <a:pt x="15147" y="14204"/>
                      <a:pt x="15407" y="14559"/>
                      <a:pt x="15585" y="14901"/>
                    </a:cubicBezTo>
                    <a:close/>
                    <a:moveTo>
                      <a:pt x="13015" y="12522"/>
                    </a:moveTo>
                    <a:cubicBezTo>
                      <a:pt x="15038" y="12522"/>
                      <a:pt x="16282" y="11565"/>
                      <a:pt x="16282" y="9870"/>
                    </a:cubicBezTo>
                    <a:cubicBezTo>
                      <a:pt x="16282" y="8175"/>
                      <a:pt x="15421" y="7191"/>
                      <a:pt x="13657" y="7191"/>
                    </a:cubicBezTo>
                    <a:lnTo>
                      <a:pt x="9816" y="7191"/>
                    </a:lnTo>
                    <a:lnTo>
                      <a:pt x="9816" y="12509"/>
                    </a:lnTo>
                    <a:lnTo>
                      <a:pt x="13015" y="12509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" name="Freeform: Shape 16">
                <a:extLst>
                  <a:ext uri="{FF2B5EF4-FFF2-40B4-BE49-F238E27FC236}">
                    <a16:creationId xmlns:a16="http://schemas.microsoft.com/office/drawing/2014/main" id="{DAC8AE13-1D54-4E72-612C-A8E0C39C541A}"/>
                  </a:ext>
                </a:extLst>
              </p:cNvPr>
              <p:cNvSpPr/>
              <p:nvPr/>
            </p:nvSpPr>
            <p:spPr>
              <a:xfrm>
                <a:off x="11620956" y="6472487"/>
                <a:ext cx="32932" cy="163721"/>
              </a:xfrm>
              <a:custGeom>
                <a:avLst/>
                <a:gdLst>
                  <a:gd name="connsiteX0" fmla="*/ 29830 w 32932"/>
                  <a:gd name="connsiteY0" fmla="*/ 0 h 163721"/>
                  <a:gd name="connsiteX1" fmla="*/ 32933 w 32932"/>
                  <a:gd name="connsiteY1" fmla="*/ 3103 h 163721"/>
                  <a:gd name="connsiteX2" fmla="*/ 32933 w 32932"/>
                  <a:gd name="connsiteY2" fmla="*/ 160618 h 163721"/>
                  <a:gd name="connsiteX3" fmla="*/ 29830 w 32932"/>
                  <a:gd name="connsiteY3" fmla="*/ 163722 h 163721"/>
                  <a:gd name="connsiteX4" fmla="*/ 3103 w 32932"/>
                  <a:gd name="connsiteY4" fmla="*/ 163722 h 163721"/>
                  <a:gd name="connsiteX5" fmla="*/ 0 w 32932"/>
                  <a:gd name="connsiteY5" fmla="*/ 160618 h 163721"/>
                  <a:gd name="connsiteX6" fmla="*/ 0 w 32932"/>
                  <a:gd name="connsiteY6" fmla="*/ 3103 h 163721"/>
                  <a:gd name="connsiteX7" fmla="*/ 3103 w 32932"/>
                  <a:gd name="connsiteY7" fmla="*/ 0 h 163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2932" h="163721">
                    <a:moveTo>
                      <a:pt x="29830" y="0"/>
                    </a:moveTo>
                    <a:cubicBezTo>
                      <a:pt x="31544" y="0"/>
                      <a:pt x="32933" y="1389"/>
                      <a:pt x="32933" y="3103"/>
                    </a:cubicBezTo>
                    <a:lnTo>
                      <a:pt x="32933" y="160618"/>
                    </a:lnTo>
                    <a:cubicBezTo>
                      <a:pt x="32933" y="162332"/>
                      <a:pt x="31543" y="163722"/>
                      <a:pt x="29830" y="163722"/>
                    </a:cubicBezTo>
                    <a:lnTo>
                      <a:pt x="3103" y="163722"/>
                    </a:lnTo>
                    <a:cubicBezTo>
                      <a:pt x="1389" y="163722"/>
                      <a:pt x="0" y="162332"/>
                      <a:pt x="0" y="160618"/>
                    </a:cubicBezTo>
                    <a:lnTo>
                      <a:pt x="0" y="3103"/>
                    </a:lnTo>
                    <a:cubicBezTo>
                      <a:pt x="0" y="1389"/>
                      <a:pt x="1389" y="0"/>
                      <a:pt x="3103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" name="Freeform: Shape 17">
                <a:extLst>
                  <a:ext uri="{FF2B5EF4-FFF2-40B4-BE49-F238E27FC236}">
                    <a16:creationId xmlns:a16="http://schemas.microsoft.com/office/drawing/2014/main" id="{A0652FD0-CAF6-CED6-402E-ACE088AEF0A9}"/>
                  </a:ext>
                </a:extLst>
              </p:cNvPr>
              <p:cNvSpPr/>
              <p:nvPr/>
            </p:nvSpPr>
            <p:spPr>
              <a:xfrm>
                <a:off x="11488486" y="6472473"/>
                <a:ext cx="123638" cy="166086"/>
              </a:xfrm>
              <a:custGeom>
                <a:avLst/>
                <a:gdLst>
                  <a:gd name="connsiteX0" fmla="*/ 68737 w 123638"/>
                  <a:gd name="connsiteY0" fmla="*/ 44663 h 166086"/>
                  <a:gd name="connsiteX1" fmla="*/ 32947 w 123638"/>
                  <a:gd name="connsiteY1" fmla="*/ 62052 h 166086"/>
                  <a:gd name="connsiteX2" fmla="*/ 32947 w 123638"/>
                  <a:gd name="connsiteY2" fmla="*/ 3103 h 166086"/>
                  <a:gd name="connsiteX3" fmla="*/ 29843 w 123638"/>
                  <a:gd name="connsiteY3" fmla="*/ 0 h 166086"/>
                  <a:gd name="connsiteX4" fmla="*/ 3103 w 123638"/>
                  <a:gd name="connsiteY4" fmla="*/ 0 h 166086"/>
                  <a:gd name="connsiteX5" fmla="*/ 0 w 123638"/>
                  <a:gd name="connsiteY5" fmla="*/ 3103 h 166086"/>
                  <a:gd name="connsiteX6" fmla="*/ 0 w 123638"/>
                  <a:gd name="connsiteY6" fmla="*/ 160632 h 166086"/>
                  <a:gd name="connsiteX7" fmla="*/ 3103 w 123638"/>
                  <a:gd name="connsiteY7" fmla="*/ 163735 h 166086"/>
                  <a:gd name="connsiteX8" fmla="*/ 29843 w 123638"/>
                  <a:gd name="connsiteY8" fmla="*/ 163735 h 166086"/>
                  <a:gd name="connsiteX9" fmla="*/ 32947 w 123638"/>
                  <a:gd name="connsiteY9" fmla="*/ 160632 h 166086"/>
                  <a:gd name="connsiteX10" fmla="*/ 32947 w 123638"/>
                  <a:gd name="connsiteY10" fmla="*/ 149025 h 166086"/>
                  <a:gd name="connsiteX11" fmla="*/ 68983 w 123638"/>
                  <a:gd name="connsiteY11" fmla="*/ 166087 h 166086"/>
                  <a:gd name="connsiteX12" fmla="*/ 123638 w 123638"/>
                  <a:gd name="connsiteY12" fmla="*/ 105539 h 166086"/>
                  <a:gd name="connsiteX13" fmla="*/ 68750 w 123638"/>
                  <a:gd name="connsiteY13" fmla="*/ 44663 h 166086"/>
                  <a:gd name="connsiteX14" fmla="*/ 62188 w 123638"/>
                  <a:gd name="connsiteY14" fmla="*/ 135163 h 166086"/>
                  <a:gd name="connsiteX15" fmla="*/ 32947 w 123638"/>
                  <a:gd name="connsiteY15" fmla="*/ 105552 h 166086"/>
                  <a:gd name="connsiteX16" fmla="*/ 62188 w 123638"/>
                  <a:gd name="connsiteY16" fmla="*/ 76174 h 166086"/>
                  <a:gd name="connsiteX17" fmla="*/ 90965 w 123638"/>
                  <a:gd name="connsiteY17" fmla="*/ 105552 h 166086"/>
                  <a:gd name="connsiteX18" fmla="*/ 62188 w 123638"/>
                  <a:gd name="connsiteY18" fmla="*/ 135163 h 166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23638" h="166086">
                    <a:moveTo>
                      <a:pt x="68737" y="44663"/>
                    </a:moveTo>
                    <a:cubicBezTo>
                      <a:pt x="53535" y="44663"/>
                      <a:pt x="40889" y="51252"/>
                      <a:pt x="32947" y="62052"/>
                    </a:cubicBezTo>
                    <a:lnTo>
                      <a:pt x="32947" y="3103"/>
                    </a:lnTo>
                    <a:cubicBezTo>
                      <a:pt x="32947" y="1394"/>
                      <a:pt x="31552" y="0"/>
                      <a:pt x="29843" y="0"/>
                    </a:cubicBezTo>
                    <a:lnTo>
                      <a:pt x="3103" y="0"/>
                    </a:lnTo>
                    <a:cubicBezTo>
                      <a:pt x="1394" y="0"/>
                      <a:pt x="0" y="1394"/>
                      <a:pt x="0" y="3103"/>
                    </a:cubicBezTo>
                    <a:lnTo>
                      <a:pt x="0" y="160632"/>
                    </a:lnTo>
                    <a:cubicBezTo>
                      <a:pt x="0" y="162341"/>
                      <a:pt x="1394" y="163735"/>
                      <a:pt x="3103" y="163735"/>
                    </a:cubicBezTo>
                    <a:lnTo>
                      <a:pt x="29843" y="163735"/>
                    </a:lnTo>
                    <a:cubicBezTo>
                      <a:pt x="31552" y="163735"/>
                      <a:pt x="32947" y="162341"/>
                      <a:pt x="32947" y="160632"/>
                    </a:cubicBezTo>
                    <a:lnTo>
                      <a:pt x="32947" y="149025"/>
                    </a:lnTo>
                    <a:cubicBezTo>
                      <a:pt x="40903" y="159839"/>
                      <a:pt x="53535" y="166087"/>
                      <a:pt x="68983" y="166087"/>
                    </a:cubicBezTo>
                    <a:cubicBezTo>
                      <a:pt x="101505" y="166087"/>
                      <a:pt x="123638" y="139852"/>
                      <a:pt x="123638" y="105539"/>
                    </a:cubicBezTo>
                    <a:cubicBezTo>
                      <a:pt x="123638" y="71225"/>
                      <a:pt x="101505" y="44663"/>
                      <a:pt x="68750" y="44663"/>
                    </a:cubicBezTo>
                    <a:close/>
                    <a:moveTo>
                      <a:pt x="62188" y="135163"/>
                    </a:moveTo>
                    <a:cubicBezTo>
                      <a:pt x="45346" y="135163"/>
                      <a:pt x="32947" y="121533"/>
                      <a:pt x="32947" y="105552"/>
                    </a:cubicBezTo>
                    <a:cubicBezTo>
                      <a:pt x="32947" y="89571"/>
                      <a:pt x="45346" y="76174"/>
                      <a:pt x="62188" y="76174"/>
                    </a:cubicBezTo>
                    <a:cubicBezTo>
                      <a:pt x="79031" y="76174"/>
                      <a:pt x="90965" y="89571"/>
                      <a:pt x="90965" y="105552"/>
                    </a:cubicBezTo>
                    <a:cubicBezTo>
                      <a:pt x="90965" y="121533"/>
                      <a:pt x="78798" y="135163"/>
                      <a:pt x="62188" y="13516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" name="Freeform: Shape 18">
                <a:extLst>
                  <a:ext uri="{FF2B5EF4-FFF2-40B4-BE49-F238E27FC236}">
                    <a16:creationId xmlns:a16="http://schemas.microsoft.com/office/drawing/2014/main" id="{28AC9E30-4CFB-1F5B-5A2A-AEACC0222B47}"/>
                  </a:ext>
                </a:extLst>
              </p:cNvPr>
              <p:cNvSpPr/>
              <p:nvPr/>
            </p:nvSpPr>
            <p:spPr>
              <a:xfrm>
                <a:off x="11359421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" name="Freeform: Shape 19">
                <a:extLst>
                  <a:ext uri="{FF2B5EF4-FFF2-40B4-BE49-F238E27FC236}">
                    <a16:creationId xmlns:a16="http://schemas.microsoft.com/office/drawing/2014/main" id="{96AB221E-9AC9-F0DA-6B0E-89259831FAF9}"/>
                  </a:ext>
                </a:extLst>
              </p:cNvPr>
              <p:cNvSpPr/>
              <p:nvPr/>
            </p:nvSpPr>
            <p:spPr>
              <a:xfrm>
                <a:off x="11662542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" name="Freeform: Shape 20">
                <a:extLst>
                  <a:ext uri="{FF2B5EF4-FFF2-40B4-BE49-F238E27FC236}">
                    <a16:creationId xmlns:a16="http://schemas.microsoft.com/office/drawing/2014/main" id="{09D6DE71-C5FE-0EA0-D213-BABBE46E7279}"/>
                  </a:ext>
                </a:extLst>
              </p:cNvPr>
              <p:cNvSpPr/>
              <p:nvPr/>
            </p:nvSpPr>
            <p:spPr>
              <a:xfrm>
                <a:off x="11122821" y="6519528"/>
                <a:ext cx="32932" cy="116680"/>
              </a:xfrm>
              <a:custGeom>
                <a:avLst/>
                <a:gdLst>
                  <a:gd name="connsiteX0" fmla="*/ 29843 w 32932"/>
                  <a:gd name="connsiteY0" fmla="*/ 116680 h 116680"/>
                  <a:gd name="connsiteX1" fmla="*/ 3103 w 32932"/>
                  <a:gd name="connsiteY1" fmla="*/ 116680 h 116680"/>
                  <a:gd name="connsiteX2" fmla="*/ 0 w 32932"/>
                  <a:gd name="connsiteY2" fmla="*/ 113577 h 116680"/>
                  <a:gd name="connsiteX3" fmla="*/ 0 w 32932"/>
                  <a:gd name="connsiteY3" fmla="*/ 30554 h 116680"/>
                  <a:gd name="connsiteX4" fmla="*/ 1859 w 32932"/>
                  <a:gd name="connsiteY4" fmla="*/ 26125 h 116680"/>
                  <a:gd name="connsiteX5" fmla="*/ 27670 w 32932"/>
                  <a:gd name="connsiteY5" fmla="*/ 888 h 116680"/>
                  <a:gd name="connsiteX6" fmla="*/ 32933 w 32932"/>
                  <a:gd name="connsiteY6" fmla="*/ 3103 h 116680"/>
                  <a:gd name="connsiteX7" fmla="*/ 32933 w 32932"/>
                  <a:gd name="connsiteY7" fmla="*/ 113577 h 116680"/>
                  <a:gd name="connsiteX8" fmla="*/ 29830 w 32932"/>
                  <a:gd name="connsiteY8" fmla="*/ 116680 h 116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932" h="116680">
                    <a:moveTo>
                      <a:pt x="29843" y="116680"/>
                    </a:moveTo>
                    <a:lnTo>
                      <a:pt x="3103" y="116680"/>
                    </a:lnTo>
                    <a:cubicBezTo>
                      <a:pt x="1394" y="116680"/>
                      <a:pt x="0" y="115286"/>
                      <a:pt x="0" y="113577"/>
                    </a:cubicBezTo>
                    <a:lnTo>
                      <a:pt x="0" y="30554"/>
                    </a:lnTo>
                    <a:cubicBezTo>
                      <a:pt x="0" y="28886"/>
                      <a:pt x="670" y="27287"/>
                      <a:pt x="1859" y="26125"/>
                    </a:cubicBezTo>
                    <a:lnTo>
                      <a:pt x="27670" y="888"/>
                    </a:lnTo>
                    <a:cubicBezTo>
                      <a:pt x="29638" y="-1026"/>
                      <a:pt x="32933" y="355"/>
                      <a:pt x="32933" y="3103"/>
                    </a:cubicBezTo>
                    <a:lnTo>
                      <a:pt x="32933" y="113577"/>
                    </a:lnTo>
                    <a:cubicBezTo>
                      <a:pt x="32933" y="115286"/>
                      <a:pt x="31538" y="116680"/>
                      <a:pt x="29830" y="11668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" name="Freeform: Shape 21">
                <a:extLst>
                  <a:ext uri="{FF2B5EF4-FFF2-40B4-BE49-F238E27FC236}">
                    <a16:creationId xmlns:a16="http://schemas.microsoft.com/office/drawing/2014/main" id="{13AA843A-3D0D-1785-8E09-4BF535FBF8E4}"/>
                  </a:ext>
                </a:extLst>
              </p:cNvPr>
              <p:cNvSpPr/>
              <p:nvPr/>
            </p:nvSpPr>
            <p:spPr>
              <a:xfrm>
                <a:off x="11173074" y="6517105"/>
                <a:ext cx="107493" cy="119116"/>
              </a:xfrm>
              <a:custGeom>
                <a:avLst/>
                <a:gdLst>
                  <a:gd name="connsiteX0" fmla="*/ 107480 w 107493"/>
                  <a:gd name="connsiteY0" fmla="*/ 41877 h 119116"/>
                  <a:gd name="connsiteX1" fmla="*/ 65237 w 107493"/>
                  <a:gd name="connsiteY1" fmla="*/ 3 h 119116"/>
                  <a:gd name="connsiteX2" fmla="*/ 32947 w 107493"/>
                  <a:gd name="connsiteY2" fmla="*/ 17474 h 119116"/>
                  <a:gd name="connsiteX3" fmla="*/ 32947 w 107493"/>
                  <a:gd name="connsiteY3" fmla="*/ 5581 h 119116"/>
                  <a:gd name="connsiteX4" fmla="*/ 29843 w 107493"/>
                  <a:gd name="connsiteY4" fmla="*/ 2478 h 119116"/>
                  <a:gd name="connsiteX5" fmla="*/ 3103 w 107493"/>
                  <a:gd name="connsiteY5" fmla="*/ 2478 h 119116"/>
                  <a:gd name="connsiteX6" fmla="*/ 0 w 107493"/>
                  <a:gd name="connsiteY6" fmla="*/ 5581 h 119116"/>
                  <a:gd name="connsiteX7" fmla="*/ 0 w 107493"/>
                  <a:gd name="connsiteY7" fmla="*/ 116000 h 119116"/>
                  <a:gd name="connsiteX8" fmla="*/ 3103 w 107493"/>
                  <a:gd name="connsiteY8" fmla="*/ 119103 h 119116"/>
                  <a:gd name="connsiteX9" fmla="*/ 29843 w 107493"/>
                  <a:gd name="connsiteY9" fmla="*/ 119103 h 119116"/>
                  <a:gd name="connsiteX10" fmla="*/ 32947 w 107493"/>
                  <a:gd name="connsiteY10" fmla="*/ 116000 h 119116"/>
                  <a:gd name="connsiteX11" fmla="*/ 32947 w 107493"/>
                  <a:gd name="connsiteY11" fmla="*/ 51788 h 119116"/>
                  <a:gd name="connsiteX12" fmla="*/ 53740 w 107493"/>
                  <a:gd name="connsiteY12" fmla="*/ 31747 h 119116"/>
                  <a:gd name="connsiteX13" fmla="*/ 74547 w 107493"/>
                  <a:gd name="connsiteY13" fmla="*/ 53210 h 119116"/>
                  <a:gd name="connsiteX14" fmla="*/ 74547 w 107493"/>
                  <a:gd name="connsiteY14" fmla="*/ 116014 h 119116"/>
                  <a:gd name="connsiteX15" fmla="*/ 77650 w 107493"/>
                  <a:gd name="connsiteY15" fmla="*/ 119117 h 119116"/>
                  <a:gd name="connsiteX16" fmla="*/ 104390 w 107493"/>
                  <a:gd name="connsiteY16" fmla="*/ 119117 h 119116"/>
                  <a:gd name="connsiteX17" fmla="*/ 107493 w 107493"/>
                  <a:gd name="connsiteY17" fmla="*/ 116014 h 119116"/>
                  <a:gd name="connsiteX18" fmla="*/ 107493 w 107493"/>
                  <a:gd name="connsiteY18" fmla="*/ 41890 h 119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7493" h="119116">
                    <a:moveTo>
                      <a:pt x="107480" y="41877"/>
                    </a:moveTo>
                    <a:cubicBezTo>
                      <a:pt x="107480" y="19252"/>
                      <a:pt x="88792" y="277"/>
                      <a:pt x="65237" y="3"/>
                    </a:cubicBezTo>
                    <a:cubicBezTo>
                      <a:pt x="49912" y="-175"/>
                      <a:pt x="39563" y="7331"/>
                      <a:pt x="32947" y="17474"/>
                    </a:cubicBezTo>
                    <a:lnTo>
                      <a:pt x="32947" y="5581"/>
                    </a:lnTo>
                    <a:cubicBezTo>
                      <a:pt x="32947" y="3872"/>
                      <a:pt x="31552" y="2478"/>
                      <a:pt x="29843" y="2478"/>
                    </a:cubicBezTo>
                    <a:lnTo>
                      <a:pt x="3103" y="2478"/>
                    </a:lnTo>
                    <a:cubicBezTo>
                      <a:pt x="1394" y="2478"/>
                      <a:pt x="0" y="3872"/>
                      <a:pt x="0" y="5581"/>
                    </a:cubicBezTo>
                    <a:lnTo>
                      <a:pt x="0" y="116000"/>
                    </a:lnTo>
                    <a:cubicBezTo>
                      <a:pt x="0" y="117709"/>
                      <a:pt x="1394" y="119103"/>
                      <a:pt x="3103" y="119103"/>
                    </a:cubicBezTo>
                    <a:lnTo>
                      <a:pt x="29843" y="119103"/>
                    </a:lnTo>
                    <a:cubicBezTo>
                      <a:pt x="31552" y="119103"/>
                      <a:pt x="32947" y="117709"/>
                      <a:pt x="32947" y="116000"/>
                    </a:cubicBezTo>
                    <a:lnTo>
                      <a:pt x="32947" y="51788"/>
                    </a:lnTo>
                    <a:cubicBezTo>
                      <a:pt x="33685" y="39430"/>
                      <a:pt x="41518" y="31747"/>
                      <a:pt x="53740" y="31747"/>
                    </a:cubicBezTo>
                    <a:cubicBezTo>
                      <a:pt x="65961" y="31747"/>
                      <a:pt x="74547" y="40373"/>
                      <a:pt x="74547" y="53210"/>
                    </a:cubicBezTo>
                    <a:lnTo>
                      <a:pt x="74547" y="116014"/>
                    </a:lnTo>
                    <a:cubicBezTo>
                      <a:pt x="74547" y="117722"/>
                      <a:pt x="75941" y="119117"/>
                      <a:pt x="77650" y="119117"/>
                    </a:cubicBezTo>
                    <a:lnTo>
                      <a:pt x="104390" y="119117"/>
                    </a:lnTo>
                    <a:cubicBezTo>
                      <a:pt x="106099" y="119117"/>
                      <a:pt x="107493" y="117722"/>
                      <a:pt x="107493" y="116014"/>
                    </a:cubicBezTo>
                    <a:lnTo>
                      <a:pt x="107493" y="41890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1" name="Title 1">
            <a:extLst>
              <a:ext uri="{FF2B5EF4-FFF2-40B4-BE49-F238E27FC236}">
                <a16:creationId xmlns:a16="http://schemas.microsoft.com/office/drawing/2014/main" id="{F678B529-409C-2083-D55A-CBE6BD7D3F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6570" y="1449692"/>
            <a:ext cx="3380929" cy="1146630"/>
          </a:xfrm>
          <a:prstGeom prst="rect">
            <a:avLst/>
          </a:prstGeom>
        </p:spPr>
        <p:txBody>
          <a:bodyPr anchor="ctr"/>
          <a:lstStyle>
            <a:lvl1pPr>
              <a:defRPr lang="en-US" sz="3400" b="1" i="0" cap="all" baseline="0" dirty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pPr lvl="0"/>
            <a:r>
              <a:rPr lang="en-US"/>
              <a:t>title sty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8CBE91A-52BA-6CEE-5CAC-25BDE70A86F8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765553" y="2740743"/>
            <a:ext cx="3380929" cy="3816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0" i="0" cap="all" baseline="0">
                <a:solidFill>
                  <a:schemeClr val="bg1"/>
                </a:solidFill>
                <a:latin typeface="Lato" panose="020F0502020204030203" pitchFamily="34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13599550-2F18-4ED0-4402-1E4F6FC0C12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44695" y="3708692"/>
            <a:ext cx="3401787" cy="162530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indent="0">
              <a:buNone/>
              <a:defRPr lang="en-US" sz="1800" b="0" i="0" dirty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US"/>
              <a:t>Click to 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AB213C9-CFA2-FD9B-7B62-318099340BCB}"/>
              </a:ext>
            </a:extLst>
          </p:cNvPr>
          <p:cNvSpPr/>
          <p:nvPr userDrawn="1"/>
        </p:nvSpPr>
        <p:spPr>
          <a:xfrm>
            <a:off x="5060950" y="1054100"/>
            <a:ext cx="6330950" cy="47625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err="1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E5DD5C39-81E4-BCC8-A5E2-3749AB8DF2C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060950" y="1054100"/>
            <a:ext cx="6330950" cy="47625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0" i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79810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: 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F9167768-239B-8BDD-4989-E4EAAA4AD4A9}"/>
              </a:ext>
            </a:extLst>
          </p:cNvPr>
          <p:cNvSpPr/>
          <p:nvPr userDrawn="1"/>
        </p:nvSpPr>
        <p:spPr>
          <a:xfrm rot="5400000">
            <a:off x="3390252" y="524538"/>
            <a:ext cx="4541546" cy="8172447"/>
          </a:xfrm>
          <a:custGeom>
            <a:avLst/>
            <a:gdLst>
              <a:gd name="connsiteX0" fmla="*/ 0 w 4541546"/>
              <a:gd name="connsiteY0" fmla="*/ 4086224 h 8172447"/>
              <a:gd name="connsiteX1" fmla="*/ 155465 w 4541546"/>
              <a:gd name="connsiteY1" fmla="*/ 3710855 h 8172447"/>
              <a:gd name="connsiteX2" fmla="*/ 3710857 w 4541546"/>
              <a:gd name="connsiteY2" fmla="*/ 155465 h 8172447"/>
              <a:gd name="connsiteX3" fmla="*/ 4461596 w 4541546"/>
              <a:gd name="connsiteY3" fmla="*/ 155465 h 8172447"/>
              <a:gd name="connsiteX4" fmla="*/ 4541546 w 4541546"/>
              <a:gd name="connsiteY4" fmla="*/ 235415 h 8172447"/>
              <a:gd name="connsiteX5" fmla="*/ 4541546 w 4541546"/>
              <a:gd name="connsiteY5" fmla="*/ 7937033 h 8172447"/>
              <a:gd name="connsiteX6" fmla="*/ 4461596 w 4541546"/>
              <a:gd name="connsiteY6" fmla="*/ 8016983 h 8172447"/>
              <a:gd name="connsiteX7" fmla="*/ 3710857 w 4541546"/>
              <a:gd name="connsiteY7" fmla="*/ 8016983 h 8172447"/>
              <a:gd name="connsiteX8" fmla="*/ 155465 w 4541546"/>
              <a:gd name="connsiteY8" fmla="*/ 4461594 h 8172447"/>
              <a:gd name="connsiteX9" fmla="*/ 0 w 4541546"/>
              <a:gd name="connsiteY9" fmla="*/ 4086224 h 8172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541546" h="8172447">
                <a:moveTo>
                  <a:pt x="0" y="4086224"/>
                </a:moveTo>
                <a:cubicBezTo>
                  <a:pt x="0" y="3950361"/>
                  <a:pt x="51822" y="3814498"/>
                  <a:pt x="155465" y="3710855"/>
                </a:cubicBezTo>
                <a:lnTo>
                  <a:pt x="3710857" y="155465"/>
                </a:lnTo>
                <a:cubicBezTo>
                  <a:pt x="3918143" y="-51822"/>
                  <a:pt x="4254309" y="-51822"/>
                  <a:pt x="4461596" y="155465"/>
                </a:cubicBezTo>
                <a:lnTo>
                  <a:pt x="4541546" y="235415"/>
                </a:lnTo>
                <a:lnTo>
                  <a:pt x="4541546" y="7937033"/>
                </a:lnTo>
                <a:lnTo>
                  <a:pt x="4461596" y="8016983"/>
                </a:lnTo>
                <a:cubicBezTo>
                  <a:pt x="4254309" y="8224269"/>
                  <a:pt x="3918143" y="8224269"/>
                  <a:pt x="3710857" y="8016983"/>
                </a:cubicBezTo>
                <a:lnTo>
                  <a:pt x="155465" y="4461594"/>
                </a:lnTo>
                <a:cubicBezTo>
                  <a:pt x="51822" y="4357950"/>
                  <a:pt x="0" y="4222087"/>
                  <a:pt x="0" y="4086224"/>
                </a:cubicBezTo>
                <a:close/>
              </a:path>
            </a:pathLst>
          </a:custGeom>
          <a:gradFill>
            <a:gsLst>
              <a:gs pos="12000">
                <a:srgbClr val="D9E1E2">
                  <a:alpha val="30000"/>
                </a:srgbClr>
              </a:gs>
              <a:gs pos="74000">
                <a:srgbClr val="D9E1E2">
                  <a:alpha val="0"/>
                </a:srgbClr>
              </a:gs>
            </a:gsLst>
            <a:lin ang="8100000" scaled="1"/>
          </a:gradFill>
          <a:ln w="685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8528A360-26FA-53EA-A314-A7DC453C1BD7}"/>
              </a:ext>
            </a:extLst>
          </p:cNvPr>
          <p:cNvSpPr/>
          <p:nvPr userDrawn="1"/>
        </p:nvSpPr>
        <p:spPr>
          <a:xfrm>
            <a:off x="6096000" y="0"/>
            <a:ext cx="6096000" cy="5991238"/>
          </a:xfrm>
          <a:custGeom>
            <a:avLst/>
            <a:gdLst>
              <a:gd name="connsiteX0" fmla="*/ 1685111 w 6096000"/>
              <a:gd name="connsiteY0" fmla="*/ 0 h 5991238"/>
              <a:gd name="connsiteX1" fmla="*/ 6096000 w 6096000"/>
              <a:gd name="connsiteY1" fmla="*/ 0 h 5991238"/>
              <a:gd name="connsiteX2" fmla="*/ 6096000 w 6096000"/>
              <a:gd name="connsiteY2" fmla="*/ 4201371 h 5991238"/>
              <a:gd name="connsiteX3" fmla="*/ 4461596 w 6096000"/>
              <a:gd name="connsiteY3" fmla="*/ 5835774 h 5991238"/>
              <a:gd name="connsiteX4" fmla="*/ 3710856 w 6096000"/>
              <a:gd name="connsiteY4" fmla="*/ 5835774 h 5991238"/>
              <a:gd name="connsiteX5" fmla="*/ 155465 w 6096000"/>
              <a:gd name="connsiteY5" fmla="*/ 2280384 h 5991238"/>
              <a:gd name="connsiteX6" fmla="*/ 155465 w 6096000"/>
              <a:gd name="connsiteY6" fmla="*/ 1529645 h 5991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6000" h="5991238">
                <a:moveTo>
                  <a:pt x="1685111" y="0"/>
                </a:moveTo>
                <a:lnTo>
                  <a:pt x="6096000" y="0"/>
                </a:lnTo>
                <a:lnTo>
                  <a:pt x="6096000" y="4201371"/>
                </a:lnTo>
                <a:lnTo>
                  <a:pt x="4461596" y="5835774"/>
                </a:lnTo>
                <a:cubicBezTo>
                  <a:pt x="4254308" y="6043060"/>
                  <a:pt x="3918142" y="6043060"/>
                  <a:pt x="3710856" y="5835774"/>
                </a:cubicBezTo>
                <a:lnTo>
                  <a:pt x="155465" y="2280384"/>
                </a:lnTo>
                <a:cubicBezTo>
                  <a:pt x="-51822" y="2073097"/>
                  <a:pt x="-51822" y="1736931"/>
                  <a:pt x="155465" y="1529645"/>
                </a:cubicBezTo>
                <a:close/>
              </a:path>
            </a:pathLst>
          </a:custGeom>
          <a:gradFill>
            <a:gsLst>
              <a:gs pos="12000">
                <a:srgbClr val="D9E1E2">
                  <a:alpha val="30000"/>
                </a:srgbClr>
              </a:gs>
              <a:gs pos="74000">
                <a:srgbClr val="D9E1E2">
                  <a:alpha val="0"/>
                </a:srgbClr>
              </a:gs>
            </a:gsLst>
            <a:lin ang="8100000" scaled="1"/>
          </a:gradFill>
          <a:ln w="685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FB56850-7F82-56B7-A28D-472BE77C50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33829" y="955546"/>
            <a:ext cx="9358171" cy="5297883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1454E906-373F-C46B-1EFD-7F9EE5BEF1A9}"/>
              </a:ext>
            </a:extLst>
          </p:cNvPr>
          <p:cNvGrpSpPr/>
          <p:nvPr userDrawn="1"/>
        </p:nvGrpSpPr>
        <p:grpSpPr>
          <a:xfrm>
            <a:off x="11122821" y="6472473"/>
            <a:ext cx="799629" cy="166100"/>
            <a:chOff x="11122821" y="6472473"/>
            <a:chExt cx="799629" cy="166100"/>
          </a:xfrm>
        </p:grpSpPr>
        <p:sp>
          <p:nvSpPr>
            <p:cNvPr id="10" name="Freeform: Shape 11">
              <a:extLst>
                <a:ext uri="{FF2B5EF4-FFF2-40B4-BE49-F238E27FC236}">
                  <a16:creationId xmlns:a16="http://schemas.microsoft.com/office/drawing/2014/main" id="{4A8ACFA1-234B-7006-6424-9F5398A7DFC5}"/>
                </a:ext>
              </a:extLst>
            </p:cNvPr>
            <p:cNvSpPr/>
            <p:nvPr/>
          </p:nvSpPr>
          <p:spPr>
            <a:xfrm rot="18900000">
              <a:off x="11134957" y="6473485"/>
              <a:ext cx="35147" cy="35147"/>
            </a:xfrm>
            <a:custGeom>
              <a:avLst/>
              <a:gdLst>
                <a:gd name="connsiteX0" fmla="*/ 32044 w 35147"/>
                <a:gd name="connsiteY0" fmla="*/ 0 h 35147"/>
                <a:gd name="connsiteX1" fmla="*/ 35148 w 35147"/>
                <a:gd name="connsiteY1" fmla="*/ 3103 h 35147"/>
                <a:gd name="connsiteX2" fmla="*/ 35148 w 35147"/>
                <a:gd name="connsiteY2" fmla="*/ 32044 h 35147"/>
                <a:gd name="connsiteX3" fmla="*/ 32044 w 35147"/>
                <a:gd name="connsiteY3" fmla="*/ 35148 h 35147"/>
                <a:gd name="connsiteX4" fmla="*/ 3103 w 35147"/>
                <a:gd name="connsiteY4" fmla="*/ 35148 h 35147"/>
                <a:gd name="connsiteX5" fmla="*/ 0 w 35147"/>
                <a:gd name="connsiteY5" fmla="*/ 32044 h 35147"/>
                <a:gd name="connsiteX6" fmla="*/ 0 w 35147"/>
                <a:gd name="connsiteY6" fmla="*/ 3103 h 35147"/>
                <a:gd name="connsiteX7" fmla="*/ 3103 w 35147"/>
                <a:gd name="connsiteY7" fmla="*/ 0 h 35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147" h="35147">
                  <a:moveTo>
                    <a:pt x="32044" y="0"/>
                  </a:moveTo>
                  <a:cubicBezTo>
                    <a:pt x="33758" y="0"/>
                    <a:pt x="35148" y="1389"/>
                    <a:pt x="35148" y="3103"/>
                  </a:cubicBezTo>
                  <a:lnTo>
                    <a:pt x="35148" y="32044"/>
                  </a:lnTo>
                  <a:cubicBezTo>
                    <a:pt x="35148" y="33758"/>
                    <a:pt x="33758" y="35148"/>
                    <a:pt x="32044" y="35148"/>
                  </a:cubicBezTo>
                  <a:lnTo>
                    <a:pt x="3103" y="35148"/>
                  </a:lnTo>
                  <a:cubicBezTo>
                    <a:pt x="1389" y="35148"/>
                    <a:pt x="0" y="33758"/>
                    <a:pt x="0" y="32044"/>
                  </a:cubicBezTo>
                  <a:lnTo>
                    <a:pt x="0" y="3103"/>
                  </a:lnTo>
                  <a:cubicBezTo>
                    <a:pt x="0" y="1389"/>
                    <a:pt x="1389" y="0"/>
                    <a:pt x="3103" y="0"/>
                  </a:cubicBezTo>
                  <a:close/>
                </a:path>
              </a:pathLst>
            </a:custGeom>
            <a:solidFill>
              <a:srgbClr val="00BD4D"/>
            </a:solidFill>
            <a:ln w="135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26853110-8916-C12D-D362-B6CF5BF90924}"/>
                </a:ext>
              </a:extLst>
            </p:cNvPr>
            <p:cNvGrpSpPr/>
            <p:nvPr/>
          </p:nvGrpSpPr>
          <p:grpSpPr>
            <a:xfrm>
              <a:off x="11122821" y="6472473"/>
              <a:ext cx="799629" cy="166100"/>
              <a:chOff x="11122821" y="6472473"/>
              <a:chExt cx="799629" cy="166100"/>
            </a:xfrm>
            <a:solidFill>
              <a:schemeClr val="bg1"/>
            </a:solidFill>
          </p:grpSpPr>
          <p:sp>
            <p:nvSpPr>
              <p:cNvPr id="16" name="Freeform: Shape 13">
                <a:extLst>
                  <a:ext uri="{FF2B5EF4-FFF2-40B4-BE49-F238E27FC236}">
                    <a16:creationId xmlns:a16="http://schemas.microsoft.com/office/drawing/2014/main" id="{51F4EFCD-A32C-56A4-AF2D-047ED4D8C4AE}"/>
                  </a:ext>
                </a:extLst>
              </p:cNvPr>
              <p:cNvSpPr/>
              <p:nvPr/>
            </p:nvSpPr>
            <p:spPr>
              <a:xfrm>
                <a:off x="11774281" y="6519597"/>
                <a:ext cx="119385" cy="116611"/>
              </a:xfrm>
              <a:custGeom>
                <a:avLst/>
                <a:gdLst>
                  <a:gd name="connsiteX0" fmla="*/ 82523 w 119385"/>
                  <a:gd name="connsiteY0" fmla="*/ 58306 h 116611"/>
                  <a:gd name="connsiteX1" fmla="*/ 118887 w 119385"/>
                  <a:gd name="connsiteY1" fmla="*/ 112265 h 116611"/>
                  <a:gd name="connsiteX2" fmla="*/ 116385 w 119385"/>
                  <a:gd name="connsiteY2" fmla="*/ 116612 h 116611"/>
                  <a:gd name="connsiteX3" fmla="*/ 85831 w 119385"/>
                  <a:gd name="connsiteY3" fmla="*/ 116612 h 116611"/>
                  <a:gd name="connsiteX4" fmla="*/ 80718 w 119385"/>
                  <a:gd name="connsiteY4" fmla="*/ 113919 h 116611"/>
                  <a:gd name="connsiteX5" fmla="*/ 59693 w 119385"/>
                  <a:gd name="connsiteY5" fmla="*/ 81751 h 116611"/>
                  <a:gd name="connsiteX6" fmla="*/ 38667 w 119385"/>
                  <a:gd name="connsiteY6" fmla="*/ 113919 h 116611"/>
                  <a:gd name="connsiteX7" fmla="*/ 33554 w 119385"/>
                  <a:gd name="connsiteY7" fmla="*/ 116612 h 116611"/>
                  <a:gd name="connsiteX8" fmla="*/ 3000 w 119385"/>
                  <a:gd name="connsiteY8" fmla="*/ 116612 h 116611"/>
                  <a:gd name="connsiteX9" fmla="*/ 498 w 119385"/>
                  <a:gd name="connsiteY9" fmla="*/ 112265 h 116611"/>
                  <a:gd name="connsiteX10" fmla="*/ 36753 w 119385"/>
                  <a:gd name="connsiteY10" fmla="*/ 58306 h 116611"/>
                  <a:gd name="connsiteX11" fmla="*/ 498 w 119385"/>
                  <a:gd name="connsiteY11" fmla="*/ 4347 h 116611"/>
                  <a:gd name="connsiteX12" fmla="*/ 3000 w 119385"/>
                  <a:gd name="connsiteY12" fmla="*/ 0 h 116611"/>
                  <a:gd name="connsiteX13" fmla="*/ 34853 w 119385"/>
                  <a:gd name="connsiteY13" fmla="*/ 0 h 116611"/>
                  <a:gd name="connsiteX14" fmla="*/ 37778 w 119385"/>
                  <a:gd name="connsiteY14" fmla="*/ 1449 h 116611"/>
                  <a:gd name="connsiteX15" fmla="*/ 59679 w 119385"/>
                  <a:gd name="connsiteY15" fmla="*/ 34806 h 116611"/>
                  <a:gd name="connsiteX16" fmla="*/ 80240 w 119385"/>
                  <a:gd name="connsiteY16" fmla="*/ 1463 h 116611"/>
                  <a:gd name="connsiteX17" fmla="*/ 83165 w 119385"/>
                  <a:gd name="connsiteY17" fmla="*/ 0 h 116611"/>
                  <a:gd name="connsiteX18" fmla="*/ 115333 w 119385"/>
                  <a:gd name="connsiteY18" fmla="*/ 0 h 116611"/>
                  <a:gd name="connsiteX19" fmla="*/ 117834 w 119385"/>
                  <a:gd name="connsiteY19" fmla="*/ 4334 h 116611"/>
                  <a:gd name="connsiteX20" fmla="*/ 82495 w 119385"/>
                  <a:gd name="connsiteY20" fmla="*/ 58306 h 116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19385" h="116611">
                    <a:moveTo>
                      <a:pt x="82523" y="58306"/>
                    </a:moveTo>
                    <a:lnTo>
                      <a:pt x="118887" y="112265"/>
                    </a:lnTo>
                    <a:cubicBezTo>
                      <a:pt x="120199" y="114124"/>
                      <a:pt x="118764" y="116612"/>
                      <a:pt x="116385" y="116612"/>
                    </a:cubicBezTo>
                    <a:lnTo>
                      <a:pt x="85831" y="116612"/>
                    </a:lnTo>
                    <a:cubicBezTo>
                      <a:pt x="83794" y="116612"/>
                      <a:pt x="81880" y="115600"/>
                      <a:pt x="80718" y="113919"/>
                    </a:cubicBezTo>
                    <a:lnTo>
                      <a:pt x="59693" y="81751"/>
                    </a:lnTo>
                    <a:lnTo>
                      <a:pt x="38667" y="113919"/>
                    </a:lnTo>
                    <a:cubicBezTo>
                      <a:pt x="37505" y="115600"/>
                      <a:pt x="35605" y="116612"/>
                      <a:pt x="33554" y="116612"/>
                    </a:cubicBezTo>
                    <a:lnTo>
                      <a:pt x="3000" y="116612"/>
                    </a:lnTo>
                    <a:cubicBezTo>
                      <a:pt x="621" y="116612"/>
                      <a:pt x="-814" y="114138"/>
                      <a:pt x="498" y="112265"/>
                    </a:cubicBezTo>
                    <a:lnTo>
                      <a:pt x="36753" y="58306"/>
                    </a:lnTo>
                    <a:lnTo>
                      <a:pt x="498" y="4347"/>
                    </a:lnTo>
                    <a:cubicBezTo>
                      <a:pt x="-814" y="2488"/>
                      <a:pt x="621" y="0"/>
                      <a:pt x="3000" y="0"/>
                    </a:cubicBezTo>
                    <a:lnTo>
                      <a:pt x="34853" y="0"/>
                    </a:lnTo>
                    <a:cubicBezTo>
                      <a:pt x="36042" y="0"/>
                      <a:pt x="37149" y="547"/>
                      <a:pt x="37778" y="1449"/>
                    </a:cubicBezTo>
                    <a:lnTo>
                      <a:pt x="59679" y="34806"/>
                    </a:lnTo>
                    <a:lnTo>
                      <a:pt x="80240" y="1463"/>
                    </a:lnTo>
                    <a:cubicBezTo>
                      <a:pt x="80855" y="561"/>
                      <a:pt x="81976" y="0"/>
                      <a:pt x="83165" y="0"/>
                    </a:cubicBezTo>
                    <a:lnTo>
                      <a:pt x="115333" y="0"/>
                    </a:lnTo>
                    <a:cubicBezTo>
                      <a:pt x="117711" y="0"/>
                      <a:pt x="119133" y="2474"/>
                      <a:pt x="117834" y="4334"/>
                    </a:cubicBezTo>
                    <a:lnTo>
                      <a:pt x="82495" y="58306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" name="Freeform: Shape 14">
                <a:extLst>
                  <a:ext uri="{FF2B5EF4-FFF2-40B4-BE49-F238E27FC236}">
                    <a16:creationId xmlns:a16="http://schemas.microsoft.com/office/drawing/2014/main" id="{18D997EE-A52F-8E1A-CFC3-01E7AB43C755}"/>
                  </a:ext>
                </a:extLst>
              </p:cNvPr>
              <p:cNvSpPr/>
              <p:nvPr/>
            </p:nvSpPr>
            <p:spPr>
              <a:xfrm>
                <a:off x="11284928" y="6472473"/>
                <a:ext cx="78825" cy="163762"/>
              </a:xfrm>
              <a:custGeom>
                <a:avLst/>
                <a:gdLst>
                  <a:gd name="connsiteX0" fmla="*/ 75722 w 78825"/>
                  <a:gd name="connsiteY0" fmla="*/ 14 h 163762"/>
                  <a:gd name="connsiteX1" fmla="*/ 50377 w 78825"/>
                  <a:gd name="connsiteY1" fmla="*/ 14 h 163762"/>
                  <a:gd name="connsiteX2" fmla="*/ 43801 w 78825"/>
                  <a:gd name="connsiteY2" fmla="*/ 2734 h 163762"/>
                  <a:gd name="connsiteX3" fmla="*/ 19987 w 78825"/>
                  <a:gd name="connsiteY3" fmla="*/ 26549 h 163762"/>
                  <a:gd name="connsiteX4" fmla="*/ 17266 w 78825"/>
                  <a:gd name="connsiteY4" fmla="*/ 33124 h 163762"/>
                  <a:gd name="connsiteX5" fmla="*/ 17266 w 78825"/>
                  <a:gd name="connsiteY5" fmla="*/ 51867 h 163762"/>
                  <a:gd name="connsiteX6" fmla="*/ 3049 w 78825"/>
                  <a:gd name="connsiteY6" fmla="*/ 51867 h 163762"/>
                  <a:gd name="connsiteX7" fmla="*/ 0 w 78825"/>
                  <a:gd name="connsiteY7" fmla="*/ 54916 h 163762"/>
                  <a:gd name="connsiteX8" fmla="*/ 0 w 78825"/>
                  <a:gd name="connsiteY8" fmla="*/ 75955 h 163762"/>
                  <a:gd name="connsiteX9" fmla="*/ 3049 w 78825"/>
                  <a:gd name="connsiteY9" fmla="*/ 79004 h 163762"/>
                  <a:gd name="connsiteX10" fmla="*/ 17266 w 78825"/>
                  <a:gd name="connsiteY10" fmla="*/ 79004 h 163762"/>
                  <a:gd name="connsiteX11" fmla="*/ 17266 w 78825"/>
                  <a:gd name="connsiteY11" fmla="*/ 160659 h 163762"/>
                  <a:gd name="connsiteX12" fmla="*/ 20369 w 78825"/>
                  <a:gd name="connsiteY12" fmla="*/ 163763 h 163762"/>
                  <a:gd name="connsiteX13" fmla="*/ 47109 w 78825"/>
                  <a:gd name="connsiteY13" fmla="*/ 163763 h 163762"/>
                  <a:gd name="connsiteX14" fmla="*/ 50213 w 78825"/>
                  <a:gd name="connsiteY14" fmla="*/ 160659 h 163762"/>
                  <a:gd name="connsiteX15" fmla="*/ 50213 w 78825"/>
                  <a:gd name="connsiteY15" fmla="*/ 78990 h 163762"/>
                  <a:gd name="connsiteX16" fmla="*/ 71443 w 78825"/>
                  <a:gd name="connsiteY16" fmla="*/ 78990 h 163762"/>
                  <a:gd name="connsiteX17" fmla="*/ 74492 w 78825"/>
                  <a:gd name="connsiteY17" fmla="*/ 75941 h 163762"/>
                  <a:gd name="connsiteX18" fmla="*/ 74492 w 78825"/>
                  <a:gd name="connsiteY18" fmla="*/ 54902 h 163762"/>
                  <a:gd name="connsiteX19" fmla="*/ 71443 w 78825"/>
                  <a:gd name="connsiteY19" fmla="*/ 51853 h 163762"/>
                  <a:gd name="connsiteX20" fmla="*/ 50213 w 78825"/>
                  <a:gd name="connsiteY20" fmla="*/ 51853 h 163762"/>
                  <a:gd name="connsiteX21" fmla="*/ 50213 w 78825"/>
                  <a:gd name="connsiteY21" fmla="*/ 38565 h 163762"/>
                  <a:gd name="connsiteX22" fmla="*/ 59509 w 78825"/>
                  <a:gd name="connsiteY22" fmla="*/ 29269 h 163762"/>
                  <a:gd name="connsiteX23" fmla="*/ 75722 w 78825"/>
                  <a:gd name="connsiteY23" fmla="*/ 29269 h 163762"/>
                  <a:gd name="connsiteX24" fmla="*/ 78826 w 78825"/>
                  <a:gd name="connsiteY24" fmla="*/ 26166 h 163762"/>
                  <a:gd name="connsiteX25" fmla="*/ 78826 w 78825"/>
                  <a:gd name="connsiteY25" fmla="*/ 3103 h 163762"/>
                  <a:gd name="connsiteX26" fmla="*/ 75722 w 78825"/>
                  <a:gd name="connsiteY26" fmla="*/ 0 h 163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78825" h="163762">
                    <a:moveTo>
                      <a:pt x="75722" y="14"/>
                    </a:moveTo>
                    <a:lnTo>
                      <a:pt x="50377" y="14"/>
                    </a:lnTo>
                    <a:cubicBezTo>
                      <a:pt x="47916" y="14"/>
                      <a:pt x="45551" y="998"/>
                      <a:pt x="43801" y="2734"/>
                    </a:cubicBezTo>
                    <a:lnTo>
                      <a:pt x="19987" y="26549"/>
                    </a:lnTo>
                    <a:cubicBezTo>
                      <a:pt x="18237" y="28299"/>
                      <a:pt x="17266" y="30664"/>
                      <a:pt x="17266" y="33124"/>
                    </a:cubicBezTo>
                    <a:lnTo>
                      <a:pt x="17266" y="51867"/>
                    </a:lnTo>
                    <a:lnTo>
                      <a:pt x="3049" y="51867"/>
                    </a:lnTo>
                    <a:cubicBezTo>
                      <a:pt x="1367" y="51867"/>
                      <a:pt x="0" y="53234"/>
                      <a:pt x="0" y="54916"/>
                    </a:cubicBezTo>
                    <a:lnTo>
                      <a:pt x="0" y="75955"/>
                    </a:lnTo>
                    <a:cubicBezTo>
                      <a:pt x="0" y="77636"/>
                      <a:pt x="1367" y="79004"/>
                      <a:pt x="3049" y="79004"/>
                    </a:cubicBezTo>
                    <a:lnTo>
                      <a:pt x="17266" y="79004"/>
                    </a:lnTo>
                    <a:lnTo>
                      <a:pt x="17266" y="160659"/>
                    </a:lnTo>
                    <a:cubicBezTo>
                      <a:pt x="17266" y="162368"/>
                      <a:pt x="18661" y="163763"/>
                      <a:pt x="20369" y="163763"/>
                    </a:cubicBezTo>
                    <a:lnTo>
                      <a:pt x="47109" y="163763"/>
                    </a:lnTo>
                    <a:cubicBezTo>
                      <a:pt x="48818" y="163763"/>
                      <a:pt x="50213" y="162368"/>
                      <a:pt x="50213" y="160659"/>
                    </a:cubicBezTo>
                    <a:lnTo>
                      <a:pt x="50213" y="78990"/>
                    </a:lnTo>
                    <a:lnTo>
                      <a:pt x="71443" y="78990"/>
                    </a:lnTo>
                    <a:cubicBezTo>
                      <a:pt x="73125" y="78990"/>
                      <a:pt x="74492" y="77623"/>
                      <a:pt x="74492" y="75941"/>
                    </a:cubicBezTo>
                    <a:lnTo>
                      <a:pt x="74492" y="54902"/>
                    </a:lnTo>
                    <a:cubicBezTo>
                      <a:pt x="74492" y="53220"/>
                      <a:pt x="73125" y="51853"/>
                      <a:pt x="71443" y="51853"/>
                    </a:cubicBezTo>
                    <a:lnTo>
                      <a:pt x="50213" y="51853"/>
                    </a:lnTo>
                    <a:lnTo>
                      <a:pt x="50213" y="38565"/>
                    </a:lnTo>
                    <a:cubicBezTo>
                      <a:pt x="50213" y="33425"/>
                      <a:pt x="54382" y="29269"/>
                      <a:pt x="59509" y="29269"/>
                    </a:cubicBezTo>
                    <a:lnTo>
                      <a:pt x="75722" y="29269"/>
                    </a:lnTo>
                    <a:cubicBezTo>
                      <a:pt x="77431" y="29269"/>
                      <a:pt x="78826" y="27875"/>
                      <a:pt x="78826" y="26166"/>
                    </a:cubicBezTo>
                    <a:lnTo>
                      <a:pt x="78826" y="3103"/>
                    </a:lnTo>
                    <a:cubicBezTo>
                      <a:pt x="78826" y="1394"/>
                      <a:pt x="77431" y="0"/>
                      <a:pt x="75722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" name="Freeform: Shape 15">
                <a:extLst>
                  <a:ext uri="{FF2B5EF4-FFF2-40B4-BE49-F238E27FC236}">
                    <a16:creationId xmlns:a16="http://schemas.microsoft.com/office/drawing/2014/main" id="{4572A0F7-3F79-AE2D-819A-4578456B9152}"/>
                  </a:ext>
                </a:extLst>
              </p:cNvPr>
              <p:cNvSpPr/>
              <p:nvPr/>
            </p:nvSpPr>
            <p:spPr>
              <a:xfrm>
                <a:off x="11896791" y="6612367"/>
                <a:ext cx="25659" cy="25660"/>
              </a:xfrm>
              <a:custGeom>
                <a:avLst/>
                <a:gdLst>
                  <a:gd name="connsiteX0" fmla="*/ 25660 w 25659"/>
                  <a:gd name="connsiteY0" fmla="*/ 12810 h 25660"/>
                  <a:gd name="connsiteX1" fmla="*/ 12782 w 25659"/>
                  <a:gd name="connsiteY1" fmla="*/ 25660 h 25660"/>
                  <a:gd name="connsiteX2" fmla="*/ 0 w 25659"/>
                  <a:gd name="connsiteY2" fmla="*/ 12810 h 25660"/>
                  <a:gd name="connsiteX3" fmla="*/ 12823 w 25659"/>
                  <a:gd name="connsiteY3" fmla="*/ 0 h 25660"/>
                  <a:gd name="connsiteX4" fmla="*/ 25646 w 25659"/>
                  <a:gd name="connsiteY4" fmla="*/ 12810 h 25660"/>
                  <a:gd name="connsiteX5" fmla="*/ 23691 w 25659"/>
                  <a:gd name="connsiteY5" fmla="*/ 12864 h 25660"/>
                  <a:gd name="connsiteX6" fmla="*/ 12837 w 25659"/>
                  <a:gd name="connsiteY6" fmla="*/ 1832 h 25660"/>
                  <a:gd name="connsiteX7" fmla="*/ 1982 w 25659"/>
                  <a:gd name="connsiteY7" fmla="*/ 12851 h 25660"/>
                  <a:gd name="connsiteX8" fmla="*/ 12782 w 25659"/>
                  <a:gd name="connsiteY8" fmla="*/ 23856 h 25660"/>
                  <a:gd name="connsiteX9" fmla="*/ 23691 w 25659"/>
                  <a:gd name="connsiteY9" fmla="*/ 12864 h 25660"/>
                  <a:gd name="connsiteX10" fmla="*/ 15585 w 25659"/>
                  <a:gd name="connsiteY10" fmla="*/ 14888 h 25660"/>
                  <a:gd name="connsiteX11" fmla="*/ 18811 w 25659"/>
                  <a:gd name="connsiteY11" fmla="*/ 19905 h 25660"/>
                  <a:gd name="connsiteX12" fmla="*/ 16678 w 25659"/>
                  <a:gd name="connsiteY12" fmla="*/ 19905 h 25660"/>
                  <a:gd name="connsiteX13" fmla="*/ 13097 w 25659"/>
                  <a:gd name="connsiteY13" fmla="*/ 14218 h 25660"/>
                  <a:gd name="connsiteX14" fmla="*/ 9829 w 25659"/>
                  <a:gd name="connsiteY14" fmla="*/ 14218 h 25660"/>
                  <a:gd name="connsiteX15" fmla="*/ 9829 w 25659"/>
                  <a:gd name="connsiteY15" fmla="*/ 19905 h 25660"/>
                  <a:gd name="connsiteX16" fmla="*/ 8038 w 25659"/>
                  <a:gd name="connsiteY16" fmla="*/ 19905 h 25660"/>
                  <a:gd name="connsiteX17" fmla="*/ 8038 w 25659"/>
                  <a:gd name="connsiteY17" fmla="*/ 5523 h 25660"/>
                  <a:gd name="connsiteX18" fmla="*/ 13616 w 25659"/>
                  <a:gd name="connsiteY18" fmla="*/ 5523 h 25660"/>
                  <a:gd name="connsiteX19" fmla="*/ 18155 w 25659"/>
                  <a:gd name="connsiteY19" fmla="*/ 9761 h 25660"/>
                  <a:gd name="connsiteX20" fmla="*/ 14887 w 25659"/>
                  <a:gd name="connsiteY20" fmla="*/ 13917 h 25660"/>
                  <a:gd name="connsiteX21" fmla="*/ 15585 w 25659"/>
                  <a:gd name="connsiteY21" fmla="*/ 14901 h 25660"/>
                  <a:gd name="connsiteX22" fmla="*/ 13015 w 25659"/>
                  <a:gd name="connsiteY22" fmla="*/ 12522 h 25660"/>
                  <a:gd name="connsiteX23" fmla="*/ 16282 w 25659"/>
                  <a:gd name="connsiteY23" fmla="*/ 9870 h 25660"/>
                  <a:gd name="connsiteX24" fmla="*/ 13657 w 25659"/>
                  <a:gd name="connsiteY24" fmla="*/ 7191 h 25660"/>
                  <a:gd name="connsiteX25" fmla="*/ 9816 w 25659"/>
                  <a:gd name="connsiteY25" fmla="*/ 7191 h 25660"/>
                  <a:gd name="connsiteX26" fmla="*/ 9816 w 25659"/>
                  <a:gd name="connsiteY26" fmla="*/ 12509 h 25660"/>
                  <a:gd name="connsiteX27" fmla="*/ 13015 w 25659"/>
                  <a:gd name="connsiteY27" fmla="*/ 12509 h 25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25659" h="25660">
                    <a:moveTo>
                      <a:pt x="25660" y="12810"/>
                    </a:moveTo>
                    <a:cubicBezTo>
                      <a:pt x="25660" y="19946"/>
                      <a:pt x="19946" y="25660"/>
                      <a:pt x="12782" y="25660"/>
                    </a:cubicBezTo>
                    <a:cubicBezTo>
                      <a:pt x="5619" y="25660"/>
                      <a:pt x="0" y="19891"/>
                      <a:pt x="0" y="12810"/>
                    </a:cubicBezTo>
                    <a:cubicBezTo>
                      <a:pt x="0" y="5728"/>
                      <a:pt x="5714" y="0"/>
                      <a:pt x="12823" y="0"/>
                    </a:cubicBezTo>
                    <a:cubicBezTo>
                      <a:pt x="19932" y="0"/>
                      <a:pt x="25646" y="5687"/>
                      <a:pt x="25646" y="12810"/>
                    </a:cubicBezTo>
                    <a:close/>
                    <a:moveTo>
                      <a:pt x="23691" y="12864"/>
                    </a:moveTo>
                    <a:cubicBezTo>
                      <a:pt x="23691" y="6712"/>
                      <a:pt x="18838" y="1832"/>
                      <a:pt x="12837" y="1832"/>
                    </a:cubicBezTo>
                    <a:cubicBezTo>
                      <a:pt x="6835" y="1832"/>
                      <a:pt x="1982" y="6658"/>
                      <a:pt x="1982" y="12851"/>
                    </a:cubicBezTo>
                    <a:cubicBezTo>
                      <a:pt x="1982" y="19043"/>
                      <a:pt x="6890" y="23856"/>
                      <a:pt x="12782" y="23856"/>
                    </a:cubicBezTo>
                    <a:cubicBezTo>
                      <a:pt x="18674" y="23856"/>
                      <a:pt x="23691" y="19002"/>
                      <a:pt x="23691" y="12864"/>
                    </a:cubicBezTo>
                    <a:close/>
                    <a:moveTo>
                      <a:pt x="15585" y="14888"/>
                    </a:moveTo>
                    <a:lnTo>
                      <a:pt x="18811" y="19905"/>
                    </a:lnTo>
                    <a:lnTo>
                      <a:pt x="16678" y="19905"/>
                    </a:lnTo>
                    <a:lnTo>
                      <a:pt x="13097" y="14218"/>
                    </a:lnTo>
                    <a:lnTo>
                      <a:pt x="9829" y="14218"/>
                    </a:lnTo>
                    <a:lnTo>
                      <a:pt x="9829" y="19905"/>
                    </a:lnTo>
                    <a:lnTo>
                      <a:pt x="8038" y="19905"/>
                    </a:lnTo>
                    <a:lnTo>
                      <a:pt x="8038" y="5523"/>
                    </a:lnTo>
                    <a:lnTo>
                      <a:pt x="13616" y="5523"/>
                    </a:lnTo>
                    <a:cubicBezTo>
                      <a:pt x="16364" y="5523"/>
                      <a:pt x="18155" y="6999"/>
                      <a:pt x="18155" y="9761"/>
                    </a:cubicBezTo>
                    <a:cubicBezTo>
                      <a:pt x="18155" y="11989"/>
                      <a:pt x="16801" y="13370"/>
                      <a:pt x="14887" y="13917"/>
                    </a:cubicBezTo>
                    <a:cubicBezTo>
                      <a:pt x="15147" y="14204"/>
                      <a:pt x="15407" y="14559"/>
                      <a:pt x="15585" y="14901"/>
                    </a:cubicBezTo>
                    <a:close/>
                    <a:moveTo>
                      <a:pt x="13015" y="12522"/>
                    </a:moveTo>
                    <a:cubicBezTo>
                      <a:pt x="15038" y="12522"/>
                      <a:pt x="16282" y="11565"/>
                      <a:pt x="16282" y="9870"/>
                    </a:cubicBezTo>
                    <a:cubicBezTo>
                      <a:pt x="16282" y="8175"/>
                      <a:pt x="15421" y="7191"/>
                      <a:pt x="13657" y="7191"/>
                    </a:cubicBezTo>
                    <a:lnTo>
                      <a:pt x="9816" y="7191"/>
                    </a:lnTo>
                    <a:lnTo>
                      <a:pt x="9816" y="12509"/>
                    </a:lnTo>
                    <a:lnTo>
                      <a:pt x="13015" y="12509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" name="Freeform: Shape 16">
                <a:extLst>
                  <a:ext uri="{FF2B5EF4-FFF2-40B4-BE49-F238E27FC236}">
                    <a16:creationId xmlns:a16="http://schemas.microsoft.com/office/drawing/2014/main" id="{EFE79296-1A7F-865B-76B4-B51CD888A544}"/>
                  </a:ext>
                </a:extLst>
              </p:cNvPr>
              <p:cNvSpPr/>
              <p:nvPr/>
            </p:nvSpPr>
            <p:spPr>
              <a:xfrm>
                <a:off x="11620956" y="6472487"/>
                <a:ext cx="32932" cy="163721"/>
              </a:xfrm>
              <a:custGeom>
                <a:avLst/>
                <a:gdLst>
                  <a:gd name="connsiteX0" fmla="*/ 29830 w 32932"/>
                  <a:gd name="connsiteY0" fmla="*/ 0 h 163721"/>
                  <a:gd name="connsiteX1" fmla="*/ 32933 w 32932"/>
                  <a:gd name="connsiteY1" fmla="*/ 3103 h 163721"/>
                  <a:gd name="connsiteX2" fmla="*/ 32933 w 32932"/>
                  <a:gd name="connsiteY2" fmla="*/ 160618 h 163721"/>
                  <a:gd name="connsiteX3" fmla="*/ 29830 w 32932"/>
                  <a:gd name="connsiteY3" fmla="*/ 163722 h 163721"/>
                  <a:gd name="connsiteX4" fmla="*/ 3103 w 32932"/>
                  <a:gd name="connsiteY4" fmla="*/ 163722 h 163721"/>
                  <a:gd name="connsiteX5" fmla="*/ 0 w 32932"/>
                  <a:gd name="connsiteY5" fmla="*/ 160618 h 163721"/>
                  <a:gd name="connsiteX6" fmla="*/ 0 w 32932"/>
                  <a:gd name="connsiteY6" fmla="*/ 3103 h 163721"/>
                  <a:gd name="connsiteX7" fmla="*/ 3103 w 32932"/>
                  <a:gd name="connsiteY7" fmla="*/ 0 h 163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2932" h="163721">
                    <a:moveTo>
                      <a:pt x="29830" y="0"/>
                    </a:moveTo>
                    <a:cubicBezTo>
                      <a:pt x="31544" y="0"/>
                      <a:pt x="32933" y="1389"/>
                      <a:pt x="32933" y="3103"/>
                    </a:cubicBezTo>
                    <a:lnTo>
                      <a:pt x="32933" y="160618"/>
                    </a:lnTo>
                    <a:cubicBezTo>
                      <a:pt x="32933" y="162332"/>
                      <a:pt x="31543" y="163722"/>
                      <a:pt x="29830" y="163722"/>
                    </a:cubicBezTo>
                    <a:lnTo>
                      <a:pt x="3103" y="163722"/>
                    </a:lnTo>
                    <a:cubicBezTo>
                      <a:pt x="1389" y="163722"/>
                      <a:pt x="0" y="162332"/>
                      <a:pt x="0" y="160618"/>
                    </a:cubicBezTo>
                    <a:lnTo>
                      <a:pt x="0" y="3103"/>
                    </a:lnTo>
                    <a:cubicBezTo>
                      <a:pt x="0" y="1389"/>
                      <a:pt x="1389" y="0"/>
                      <a:pt x="3103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" name="Freeform: Shape 17">
                <a:extLst>
                  <a:ext uri="{FF2B5EF4-FFF2-40B4-BE49-F238E27FC236}">
                    <a16:creationId xmlns:a16="http://schemas.microsoft.com/office/drawing/2014/main" id="{10756C66-8461-1D9B-99C5-E7A6AC9F4658}"/>
                  </a:ext>
                </a:extLst>
              </p:cNvPr>
              <p:cNvSpPr/>
              <p:nvPr/>
            </p:nvSpPr>
            <p:spPr>
              <a:xfrm>
                <a:off x="11488486" y="6472473"/>
                <a:ext cx="123638" cy="166086"/>
              </a:xfrm>
              <a:custGeom>
                <a:avLst/>
                <a:gdLst>
                  <a:gd name="connsiteX0" fmla="*/ 68737 w 123638"/>
                  <a:gd name="connsiteY0" fmla="*/ 44663 h 166086"/>
                  <a:gd name="connsiteX1" fmla="*/ 32947 w 123638"/>
                  <a:gd name="connsiteY1" fmla="*/ 62052 h 166086"/>
                  <a:gd name="connsiteX2" fmla="*/ 32947 w 123638"/>
                  <a:gd name="connsiteY2" fmla="*/ 3103 h 166086"/>
                  <a:gd name="connsiteX3" fmla="*/ 29843 w 123638"/>
                  <a:gd name="connsiteY3" fmla="*/ 0 h 166086"/>
                  <a:gd name="connsiteX4" fmla="*/ 3103 w 123638"/>
                  <a:gd name="connsiteY4" fmla="*/ 0 h 166086"/>
                  <a:gd name="connsiteX5" fmla="*/ 0 w 123638"/>
                  <a:gd name="connsiteY5" fmla="*/ 3103 h 166086"/>
                  <a:gd name="connsiteX6" fmla="*/ 0 w 123638"/>
                  <a:gd name="connsiteY6" fmla="*/ 160632 h 166086"/>
                  <a:gd name="connsiteX7" fmla="*/ 3103 w 123638"/>
                  <a:gd name="connsiteY7" fmla="*/ 163735 h 166086"/>
                  <a:gd name="connsiteX8" fmla="*/ 29843 w 123638"/>
                  <a:gd name="connsiteY8" fmla="*/ 163735 h 166086"/>
                  <a:gd name="connsiteX9" fmla="*/ 32947 w 123638"/>
                  <a:gd name="connsiteY9" fmla="*/ 160632 h 166086"/>
                  <a:gd name="connsiteX10" fmla="*/ 32947 w 123638"/>
                  <a:gd name="connsiteY10" fmla="*/ 149025 h 166086"/>
                  <a:gd name="connsiteX11" fmla="*/ 68983 w 123638"/>
                  <a:gd name="connsiteY11" fmla="*/ 166087 h 166086"/>
                  <a:gd name="connsiteX12" fmla="*/ 123638 w 123638"/>
                  <a:gd name="connsiteY12" fmla="*/ 105539 h 166086"/>
                  <a:gd name="connsiteX13" fmla="*/ 68750 w 123638"/>
                  <a:gd name="connsiteY13" fmla="*/ 44663 h 166086"/>
                  <a:gd name="connsiteX14" fmla="*/ 62188 w 123638"/>
                  <a:gd name="connsiteY14" fmla="*/ 135163 h 166086"/>
                  <a:gd name="connsiteX15" fmla="*/ 32947 w 123638"/>
                  <a:gd name="connsiteY15" fmla="*/ 105552 h 166086"/>
                  <a:gd name="connsiteX16" fmla="*/ 62188 w 123638"/>
                  <a:gd name="connsiteY16" fmla="*/ 76174 h 166086"/>
                  <a:gd name="connsiteX17" fmla="*/ 90965 w 123638"/>
                  <a:gd name="connsiteY17" fmla="*/ 105552 h 166086"/>
                  <a:gd name="connsiteX18" fmla="*/ 62188 w 123638"/>
                  <a:gd name="connsiteY18" fmla="*/ 135163 h 166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23638" h="166086">
                    <a:moveTo>
                      <a:pt x="68737" y="44663"/>
                    </a:moveTo>
                    <a:cubicBezTo>
                      <a:pt x="53535" y="44663"/>
                      <a:pt x="40889" y="51252"/>
                      <a:pt x="32947" y="62052"/>
                    </a:cubicBezTo>
                    <a:lnTo>
                      <a:pt x="32947" y="3103"/>
                    </a:lnTo>
                    <a:cubicBezTo>
                      <a:pt x="32947" y="1394"/>
                      <a:pt x="31552" y="0"/>
                      <a:pt x="29843" y="0"/>
                    </a:cubicBezTo>
                    <a:lnTo>
                      <a:pt x="3103" y="0"/>
                    </a:lnTo>
                    <a:cubicBezTo>
                      <a:pt x="1394" y="0"/>
                      <a:pt x="0" y="1394"/>
                      <a:pt x="0" y="3103"/>
                    </a:cubicBezTo>
                    <a:lnTo>
                      <a:pt x="0" y="160632"/>
                    </a:lnTo>
                    <a:cubicBezTo>
                      <a:pt x="0" y="162341"/>
                      <a:pt x="1394" y="163735"/>
                      <a:pt x="3103" y="163735"/>
                    </a:cubicBezTo>
                    <a:lnTo>
                      <a:pt x="29843" y="163735"/>
                    </a:lnTo>
                    <a:cubicBezTo>
                      <a:pt x="31552" y="163735"/>
                      <a:pt x="32947" y="162341"/>
                      <a:pt x="32947" y="160632"/>
                    </a:cubicBezTo>
                    <a:lnTo>
                      <a:pt x="32947" y="149025"/>
                    </a:lnTo>
                    <a:cubicBezTo>
                      <a:pt x="40903" y="159839"/>
                      <a:pt x="53535" y="166087"/>
                      <a:pt x="68983" y="166087"/>
                    </a:cubicBezTo>
                    <a:cubicBezTo>
                      <a:pt x="101505" y="166087"/>
                      <a:pt x="123638" y="139852"/>
                      <a:pt x="123638" y="105539"/>
                    </a:cubicBezTo>
                    <a:cubicBezTo>
                      <a:pt x="123638" y="71225"/>
                      <a:pt x="101505" y="44663"/>
                      <a:pt x="68750" y="44663"/>
                    </a:cubicBezTo>
                    <a:close/>
                    <a:moveTo>
                      <a:pt x="62188" y="135163"/>
                    </a:moveTo>
                    <a:cubicBezTo>
                      <a:pt x="45346" y="135163"/>
                      <a:pt x="32947" y="121533"/>
                      <a:pt x="32947" y="105552"/>
                    </a:cubicBezTo>
                    <a:cubicBezTo>
                      <a:pt x="32947" y="89571"/>
                      <a:pt x="45346" y="76174"/>
                      <a:pt x="62188" y="76174"/>
                    </a:cubicBezTo>
                    <a:cubicBezTo>
                      <a:pt x="79031" y="76174"/>
                      <a:pt x="90965" y="89571"/>
                      <a:pt x="90965" y="105552"/>
                    </a:cubicBezTo>
                    <a:cubicBezTo>
                      <a:pt x="90965" y="121533"/>
                      <a:pt x="78798" y="135163"/>
                      <a:pt x="62188" y="13516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" name="Freeform: Shape 18">
                <a:extLst>
                  <a:ext uri="{FF2B5EF4-FFF2-40B4-BE49-F238E27FC236}">
                    <a16:creationId xmlns:a16="http://schemas.microsoft.com/office/drawing/2014/main" id="{16C2B352-30AE-85AA-A935-BA65C68DD510}"/>
                  </a:ext>
                </a:extLst>
              </p:cNvPr>
              <p:cNvSpPr/>
              <p:nvPr/>
            </p:nvSpPr>
            <p:spPr>
              <a:xfrm>
                <a:off x="11359421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" name="Freeform: Shape 19">
                <a:extLst>
                  <a:ext uri="{FF2B5EF4-FFF2-40B4-BE49-F238E27FC236}">
                    <a16:creationId xmlns:a16="http://schemas.microsoft.com/office/drawing/2014/main" id="{7237D7E9-925E-ED07-ACF2-B5B1E9ACDC23}"/>
                  </a:ext>
                </a:extLst>
              </p:cNvPr>
              <p:cNvSpPr/>
              <p:nvPr/>
            </p:nvSpPr>
            <p:spPr>
              <a:xfrm>
                <a:off x="11662542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" name="Freeform: Shape 20">
                <a:extLst>
                  <a:ext uri="{FF2B5EF4-FFF2-40B4-BE49-F238E27FC236}">
                    <a16:creationId xmlns:a16="http://schemas.microsoft.com/office/drawing/2014/main" id="{D7599E8F-634E-9453-1711-6F06518E0446}"/>
                  </a:ext>
                </a:extLst>
              </p:cNvPr>
              <p:cNvSpPr/>
              <p:nvPr/>
            </p:nvSpPr>
            <p:spPr>
              <a:xfrm>
                <a:off x="11122821" y="6519528"/>
                <a:ext cx="32932" cy="116680"/>
              </a:xfrm>
              <a:custGeom>
                <a:avLst/>
                <a:gdLst>
                  <a:gd name="connsiteX0" fmla="*/ 29843 w 32932"/>
                  <a:gd name="connsiteY0" fmla="*/ 116680 h 116680"/>
                  <a:gd name="connsiteX1" fmla="*/ 3103 w 32932"/>
                  <a:gd name="connsiteY1" fmla="*/ 116680 h 116680"/>
                  <a:gd name="connsiteX2" fmla="*/ 0 w 32932"/>
                  <a:gd name="connsiteY2" fmla="*/ 113577 h 116680"/>
                  <a:gd name="connsiteX3" fmla="*/ 0 w 32932"/>
                  <a:gd name="connsiteY3" fmla="*/ 30554 h 116680"/>
                  <a:gd name="connsiteX4" fmla="*/ 1859 w 32932"/>
                  <a:gd name="connsiteY4" fmla="*/ 26125 h 116680"/>
                  <a:gd name="connsiteX5" fmla="*/ 27670 w 32932"/>
                  <a:gd name="connsiteY5" fmla="*/ 888 h 116680"/>
                  <a:gd name="connsiteX6" fmla="*/ 32933 w 32932"/>
                  <a:gd name="connsiteY6" fmla="*/ 3103 h 116680"/>
                  <a:gd name="connsiteX7" fmla="*/ 32933 w 32932"/>
                  <a:gd name="connsiteY7" fmla="*/ 113577 h 116680"/>
                  <a:gd name="connsiteX8" fmla="*/ 29830 w 32932"/>
                  <a:gd name="connsiteY8" fmla="*/ 116680 h 116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932" h="116680">
                    <a:moveTo>
                      <a:pt x="29843" y="116680"/>
                    </a:moveTo>
                    <a:lnTo>
                      <a:pt x="3103" y="116680"/>
                    </a:lnTo>
                    <a:cubicBezTo>
                      <a:pt x="1394" y="116680"/>
                      <a:pt x="0" y="115286"/>
                      <a:pt x="0" y="113577"/>
                    </a:cubicBezTo>
                    <a:lnTo>
                      <a:pt x="0" y="30554"/>
                    </a:lnTo>
                    <a:cubicBezTo>
                      <a:pt x="0" y="28886"/>
                      <a:pt x="670" y="27287"/>
                      <a:pt x="1859" y="26125"/>
                    </a:cubicBezTo>
                    <a:lnTo>
                      <a:pt x="27670" y="888"/>
                    </a:lnTo>
                    <a:cubicBezTo>
                      <a:pt x="29638" y="-1026"/>
                      <a:pt x="32933" y="355"/>
                      <a:pt x="32933" y="3103"/>
                    </a:cubicBezTo>
                    <a:lnTo>
                      <a:pt x="32933" y="113577"/>
                    </a:lnTo>
                    <a:cubicBezTo>
                      <a:pt x="32933" y="115286"/>
                      <a:pt x="31538" y="116680"/>
                      <a:pt x="29830" y="11668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" name="Freeform: Shape 21">
                <a:extLst>
                  <a:ext uri="{FF2B5EF4-FFF2-40B4-BE49-F238E27FC236}">
                    <a16:creationId xmlns:a16="http://schemas.microsoft.com/office/drawing/2014/main" id="{5AD2168A-283C-4342-48EB-49775CDF4BFD}"/>
                  </a:ext>
                </a:extLst>
              </p:cNvPr>
              <p:cNvSpPr/>
              <p:nvPr/>
            </p:nvSpPr>
            <p:spPr>
              <a:xfrm>
                <a:off x="11173074" y="6517105"/>
                <a:ext cx="107493" cy="119116"/>
              </a:xfrm>
              <a:custGeom>
                <a:avLst/>
                <a:gdLst>
                  <a:gd name="connsiteX0" fmla="*/ 107480 w 107493"/>
                  <a:gd name="connsiteY0" fmla="*/ 41877 h 119116"/>
                  <a:gd name="connsiteX1" fmla="*/ 65237 w 107493"/>
                  <a:gd name="connsiteY1" fmla="*/ 3 h 119116"/>
                  <a:gd name="connsiteX2" fmla="*/ 32947 w 107493"/>
                  <a:gd name="connsiteY2" fmla="*/ 17474 h 119116"/>
                  <a:gd name="connsiteX3" fmla="*/ 32947 w 107493"/>
                  <a:gd name="connsiteY3" fmla="*/ 5581 h 119116"/>
                  <a:gd name="connsiteX4" fmla="*/ 29843 w 107493"/>
                  <a:gd name="connsiteY4" fmla="*/ 2478 h 119116"/>
                  <a:gd name="connsiteX5" fmla="*/ 3103 w 107493"/>
                  <a:gd name="connsiteY5" fmla="*/ 2478 h 119116"/>
                  <a:gd name="connsiteX6" fmla="*/ 0 w 107493"/>
                  <a:gd name="connsiteY6" fmla="*/ 5581 h 119116"/>
                  <a:gd name="connsiteX7" fmla="*/ 0 w 107493"/>
                  <a:gd name="connsiteY7" fmla="*/ 116000 h 119116"/>
                  <a:gd name="connsiteX8" fmla="*/ 3103 w 107493"/>
                  <a:gd name="connsiteY8" fmla="*/ 119103 h 119116"/>
                  <a:gd name="connsiteX9" fmla="*/ 29843 w 107493"/>
                  <a:gd name="connsiteY9" fmla="*/ 119103 h 119116"/>
                  <a:gd name="connsiteX10" fmla="*/ 32947 w 107493"/>
                  <a:gd name="connsiteY10" fmla="*/ 116000 h 119116"/>
                  <a:gd name="connsiteX11" fmla="*/ 32947 w 107493"/>
                  <a:gd name="connsiteY11" fmla="*/ 51788 h 119116"/>
                  <a:gd name="connsiteX12" fmla="*/ 53740 w 107493"/>
                  <a:gd name="connsiteY12" fmla="*/ 31747 h 119116"/>
                  <a:gd name="connsiteX13" fmla="*/ 74547 w 107493"/>
                  <a:gd name="connsiteY13" fmla="*/ 53210 h 119116"/>
                  <a:gd name="connsiteX14" fmla="*/ 74547 w 107493"/>
                  <a:gd name="connsiteY14" fmla="*/ 116014 h 119116"/>
                  <a:gd name="connsiteX15" fmla="*/ 77650 w 107493"/>
                  <a:gd name="connsiteY15" fmla="*/ 119117 h 119116"/>
                  <a:gd name="connsiteX16" fmla="*/ 104390 w 107493"/>
                  <a:gd name="connsiteY16" fmla="*/ 119117 h 119116"/>
                  <a:gd name="connsiteX17" fmla="*/ 107493 w 107493"/>
                  <a:gd name="connsiteY17" fmla="*/ 116014 h 119116"/>
                  <a:gd name="connsiteX18" fmla="*/ 107493 w 107493"/>
                  <a:gd name="connsiteY18" fmla="*/ 41890 h 119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7493" h="119116">
                    <a:moveTo>
                      <a:pt x="107480" y="41877"/>
                    </a:moveTo>
                    <a:cubicBezTo>
                      <a:pt x="107480" y="19252"/>
                      <a:pt x="88792" y="277"/>
                      <a:pt x="65237" y="3"/>
                    </a:cubicBezTo>
                    <a:cubicBezTo>
                      <a:pt x="49912" y="-175"/>
                      <a:pt x="39563" y="7331"/>
                      <a:pt x="32947" y="17474"/>
                    </a:cubicBezTo>
                    <a:lnTo>
                      <a:pt x="32947" y="5581"/>
                    </a:lnTo>
                    <a:cubicBezTo>
                      <a:pt x="32947" y="3872"/>
                      <a:pt x="31552" y="2478"/>
                      <a:pt x="29843" y="2478"/>
                    </a:cubicBezTo>
                    <a:lnTo>
                      <a:pt x="3103" y="2478"/>
                    </a:lnTo>
                    <a:cubicBezTo>
                      <a:pt x="1394" y="2478"/>
                      <a:pt x="0" y="3872"/>
                      <a:pt x="0" y="5581"/>
                    </a:cubicBezTo>
                    <a:lnTo>
                      <a:pt x="0" y="116000"/>
                    </a:lnTo>
                    <a:cubicBezTo>
                      <a:pt x="0" y="117709"/>
                      <a:pt x="1394" y="119103"/>
                      <a:pt x="3103" y="119103"/>
                    </a:cubicBezTo>
                    <a:lnTo>
                      <a:pt x="29843" y="119103"/>
                    </a:lnTo>
                    <a:cubicBezTo>
                      <a:pt x="31552" y="119103"/>
                      <a:pt x="32947" y="117709"/>
                      <a:pt x="32947" y="116000"/>
                    </a:cubicBezTo>
                    <a:lnTo>
                      <a:pt x="32947" y="51788"/>
                    </a:lnTo>
                    <a:cubicBezTo>
                      <a:pt x="33685" y="39430"/>
                      <a:pt x="41518" y="31747"/>
                      <a:pt x="53740" y="31747"/>
                    </a:cubicBezTo>
                    <a:cubicBezTo>
                      <a:pt x="65961" y="31747"/>
                      <a:pt x="74547" y="40373"/>
                      <a:pt x="74547" y="53210"/>
                    </a:cubicBezTo>
                    <a:lnTo>
                      <a:pt x="74547" y="116014"/>
                    </a:lnTo>
                    <a:cubicBezTo>
                      <a:pt x="74547" y="117722"/>
                      <a:pt x="75941" y="119117"/>
                      <a:pt x="77650" y="119117"/>
                    </a:cubicBezTo>
                    <a:lnTo>
                      <a:pt x="104390" y="119117"/>
                    </a:lnTo>
                    <a:cubicBezTo>
                      <a:pt x="106099" y="119117"/>
                      <a:pt x="107493" y="117722"/>
                      <a:pt x="107493" y="116014"/>
                    </a:cubicBezTo>
                    <a:lnTo>
                      <a:pt x="107493" y="41890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98EC40E9-9B36-F8C0-6987-8CAAD4164A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6570" y="1449692"/>
            <a:ext cx="3380929" cy="1146630"/>
          </a:xfrm>
          <a:prstGeom prst="rect">
            <a:avLst/>
          </a:prstGeom>
        </p:spPr>
        <p:txBody>
          <a:bodyPr anchor="ctr"/>
          <a:lstStyle>
            <a:lvl1pPr>
              <a:defRPr lang="en-US" sz="3400" b="1" i="0" cap="all" baseline="0" dirty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pPr lvl="0"/>
            <a:r>
              <a:rPr lang="en-US"/>
              <a:t>title sty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8CBE91A-52BA-6CEE-5CAC-25BDE70A86F8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765553" y="2755491"/>
            <a:ext cx="3380929" cy="3816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0" i="0" cap="all" baseline="0">
                <a:solidFill>
                  <a:schemeClr val="bg1"/>
                </a:solidFill>
                <a:latin typeface="Lato" panose="020F0502020204030203" pitchFamily="34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13599550-2F18-4ED0-4402-1E4F6FC0C12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44695" y="3708692"/>
            <a:ext cx="3401787" cy="162530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indent="0">
              <a:buNone/>
              <a:defRPr lang="en-US" sz="1800" b="0" i="0" dirty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pPr marL="0" lvl="0"/>
            <a:r>
              <a:rPr lang="en-US"/>
              <a:t>Click to 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AB213C9-CFA2-FD9B-7B62-318099340BCB}"/>
              </a:ext>
            </a:extLst>
          </p:cNvPr>
          <p:cNvSpPr/>
          <p:nvPr userDrawn="1"/>
        </p:nvSpPr>
        <p:spPr>
          <a:xfrm>
            <a:off x="4959350" y="1282700"/>
            <a:ext cx="6673850" cy="43434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err="1">
              <a:solidFill>
                <a:srgbClr val="101820"/>
              </a:solidFill>
              <a:latin typeface="Lato" panose="020F0502020204030203" pitchFamily="34" charset="77"/>
            </a:endParaRP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E5DD5C39-81E4-BCC8-A5E2-3749AB8DF2C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959350" y="1282700"/>
            <a:ext cx="6673850" cy="4343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0" i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782467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0438EE-9AEF-46A9-4F47-EEC1641D96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14751" y="3007519"/>
            <a:ext cx="4762500" cy="1325563"/>
          </a:xfrm>
          <a:prstGeom prst="rect">
            <a:avLst/>
          </a:prstGeom>
        </p:spPr>
        <p:txBody>
          <a:bodyPr anchor="ctr"/>
          <a:lstStyle>
            <a:lvl1pPr algn="r">
              <a:defRPr sz="3400" b="1" i="0" cap="all" baseline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r>
              <a:rPr lang="en-US" noProof="0"/>
              <a:t>Thank you!</a:t>
            </a: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D36B5CED-8A79-E5AA-D47A-FE21651E8612}"/>
              </a:ext>
            </a:extLst>
          </p:cNvPr>
          <p:cNvSpPr/>
          <p:nvPr userDrawn="1"/>
        </p:nvSpPr>
        <p:spPr>
          <a:xfrm>
            <a:off x="0" y="0"/>
            <a:ext cx="6495902" cy="5124983"/>
          </a:xfrm>
          <a:custGeom>
            <a:avLst/>
            <a:gdLst>
              <a:gd name="connsiteX0" fmla="*/ 3199011 w 7488464"/>
              <a:gd name="connsiteY0" fmla="*/ 1820949 h 5908071"/>
              <a:gd name="connsiteX1" fmla="*/ 3386737 w 7488464"/>
              <a:gd name="connsiteY1" fmla="*/ 1898699 h 5908071"/>
              <a:gd name="connsiteX2" fmla="*/ 5164823 w 7488464"/>
              <a:gd name="connsiteY2" fmla="*/ 3676785 h 5908071"/>
              <a:gd name="connsiteX3" fmla="*/ 5164823 w 7488464"/>
              <a:gd name="connsiteY3" fmla="*/ 4052237 h 5908071"/>
              <a:gd name="connsiteX4" fmla="*/ 3386737 w 7488464"/>
              <a:gd name="connsiteY4" fmla="*/ 5830322 h 5908071"/>
              <a:gd name="connsiteX5" fmla="*/ 3011286 w 7488464"/>
              <a:gd name="connsiteY5" fmla="*/ 5830322 h 5908071"/>
              <a:gd name="connsiteX6" fmla="*/ 1233199 w 7488464"/>
              <a:gd name="connsiteY6" fmla="*/ 4052237 h 5908071"/>
              <a:gd name="connsiteX7" fmla="*/ 1155450 w 7488464"/>
              <a:gd name="connsiteY7" fmla="*/ 3864511 h 5908071"/>
              <a:gd name="connsiteX8" fmla="*/ 1233199 w 7488464"/>
              <a:gd name="connsiteY8" fmla="*/ 3676785 h 5908071"/>
              <a:gd name="connsiteX9" fmla="*/ 3011286 w 7488464"/>
              <a:gd name="connsiteY9" fmla="*/ 1898699 h 5908071"/>
              <a:gd name="connsiteX10" fmla="*/ 3199011 w 7488464"/>
              <a:gd name="connsiteY10" fmla="*/ 1820949 h 5908071"/>
              <a:gd name="connsiteX11" fmla="*/ 4909992 w 7488464"/>
              <a:gd name="connsiteY11" fmla="*/ 0 h 5908071"/>
              <a:gd name="connsiteX12" fmla="*/ 5979817 w 7488464"/>
              <a:gd name="connsiteY12" fmla="*/ 0 h 5908071"/>
              <a:gd name="connsiteX13" fmla="*/ 7410715 w 7488464"/>
              <a:gd name="connsiteY13" fmla="*/ 1430900 h 5908071"/>
              <a:gd name="connsiteX14" fmla="*/ 7410715 w 7488464"/>
              <a:gd name="connsiteY14" fmla="*/ 1806352 h 5908071"/>
              <a:gd name="connsiteX15" fmla="*/ 5632630 w 7488464"/>
              <a:gd name="connsiteY15" fmla="*/ 3584437 h 5908071"/>
              <a:gd name="connsiteX16" fmla="*/ 5257178 w 7488464"/>
              <a:gd name="connsiteY16" fmla="*/ 3584437 h 5908071"/>
              <a:gd name="connsiteX17" fmla="*/ 3479092 w 7488464"/>
              <a:gd name="connsiteY17" fmla="*/ 1806352 h 5908071"/>
              <a:gd name="connsiteX18" fmla="*/ 3401342 w 7488464"/>
              <a:gd name="connsiteY18" fmla="*/ 1618625 h 5908071"/>
              <a:gd name="connsiteX19" fmla="*/ 3479092 w 7488464"/>
              <a:gd name="connsiteY19" fmla="*/ 1430900 h 5908071"/>
              <a:gd name="connsiteX20" fmla="*/ 1672740 w 7488464"/>
              <a:gd name="connsiteY20" fmla="*/ 0 h 5908071"/>
              <a:gd name="connsiteX21" fmla="*/ 4727884 w 7488464"/>
              <a:gd name="connsiteY21" fmla="*/ 0 h 5908071"/>
              <a:gd name="connsiteX22" fmla="*/ 3388039 w 7488464"/>
              <a:gd name="connsiteY22" fmla="*/ 1339845 h 5908071"/>
              <a:gd name="connsiteX23" fmla="*/ 3012587 w 7488464"/>
              <a:gd name="connsiteY23" fmla="*/ 1339845 h 5908071"/>
              <a:gd name="connsiteX24" fmla="*/ 420801 w 7488464"/>
              <a:gd name="connsiteY24" fmla="*/ 0 h 5908071"/>
              <a:gd name="connsiteX25" fmla="*/ 1488039 w 7488464"/>
              <a:gd name="connsiteY25" fmla="*/ 0 h 5908071"/>
              <a:gd name="connsiteX26" fmla="*/ 2920232 w 7488464"/>
              <a:gd name="connsiteY26" fmla="*/ 1432193 h 5908071"/>
              <a:gd name="connsiteX27" fmla="*/ 2920232 w 7488464"/>
              <a:gd name="connsiteY27" fmla="*/ 1807646 h 5908071"/>
              <a:gd name="connsiteX28" fmla="*/ 1142146 w 7488464"/>
              <a:gd name="connsiteY28" fmla="*/ 3585731 h 5908071"/>
              <a:gd name="connsiteX29" fmla="*/ 766694 w 7488464"/>
              <a:gd name="connsiteY29" fmla="*/ 3585731 h 5908071"/>
              <a:gd name="connsiteX30" fmla="*/ 0 w 7488464"/>
              <a:gd name="connsiteY30" fmla="*/ 2819037 h 5908071"/>
              <a:gd name="connsiteX31" fmla="*/ 0 w 7488464"/>
              <a:gd name="connsiteY31" fmla="*/ 420801 h 59080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7488464" h="5908071">
                <a:moveTo>
                  <a:pt x="3199011" y="1820949"/>
                </a:moveTo>
                <a:cubicBezTo>
                  <a:pt x="3266957" y="1820949"/>
                  <a:pt x="3334904" y="1846866"/>
                  <a:pt x="3386737" y="1898699"/>
                </a:cubicBezTo>
                <a:lnTo>
                  <a:pt x="5164823" y="3676785"/>
                </a:lnTo>
                <a:cubicBezTo>
                  <a:pt x="5268489" y="3780450"/>
                  <a:pt x="5268489" y="3948570"/>
                  <a:pt x="5164823" y="4052237"/>
                </a:cubicBezTo>
                <a:lnTo>
                  <a:pt x="3386737" y="5830322"/>
                </a:lnTo>
                <a:cubicBezTo>
                  <a:pt x="3283071" y="5933988"/>
                  <a:pt x="3114951" y="5933988"/>
                  <a:pt x="3011286" y="5830322"/>
                </a:cubicBezTo>
                <a:lnTo>
                  <a:pt x="1233199" y="4052237"/>
                </a:lnTo>
                <a:cubicBezTo>
                  <a:pt x="1181366" y="4000404"/>
                  <a:pt x="1155450" y="3932457"/>
                  <a:pt x="1155450" y="3864511"/>
                </a:cubicBezTo>
                <a:cubicBezTo>
                  <a:pt x="1155450" y="3796564"/>
                  <a:pt x="1181366" y="3728618"/>
                  <a:pt x="1233199" y="3676785"/>
                </a:cubicBezTo>
                <a:lnTo>
                  <a:pt x="3011286" y="1898699"/>
                </a:lnTo>
                <a:cubicBezTo>
                  <a:pt x="3063118" y="1846866"/>
                  <a:pt x="3131065" y="1820949"/>
                  <a:pt x="3199011" y="1820949"/>
                </a:cubicBezTo>
                <a:close/>
                <a:moveTo>
                  <a:pt x="4909992" y="0"/>
                </a:moveTo>
                <a:lnTo>
                  <a:pt x="5979817" y="0"/>
                </a:lnTo>
                <a:lnTo>
                  <a:pt x="7410715" y="1430900"/>
                </a:lnTo>
                <a:cubicBezTo>
                  <a:pt x="7514381" y="1534565"/>
                  <a:pt x="7514381" y="1702685"/>
                  <a:pt x="7410715" y="1806352"/>
                </a:cubicBezTo>
                <a:lnTo>
                  <a:pt x="5632630" y="3584437"/>
                </a:lnTo>
                <a:cubicBezTo>
                  <a:pt x="5528963" y="3688103"/>
                  <a:pt x="5360843" y="3688103"/>
                  <a:pt x="5257178" y="3584437"/>
                </a:cubicBezTo>
                <a:lnTo>
                  <a:pt x="3479092" y="1806352"/>
                </a:lnTo>
                <a:cubicBezTo>
                  <a:pt x="3427258" y="1754518"/>
                  <a:pt x="3401342" y="1686572"/>
                  <a:pt x="3401342" y="1618625"/>
                </a:cubicBezTo>
                <a:cubicBezTo>
                  <a:pt x="3401342" y="1550679"/>
                  <a:pt x="3427258" y="1482732"/>
                  <a:pt x="3479092" y="1430900"/>
                </a:cubicBezTo>
                <a:close/>
                <a:moveTo>
                  <a:pt x="1672740" y="0"/>
                </a:moveTo>
                <a:lnTo>
                  <a:pt x="4727884" y="0"/>
                </a:lnTo>
                <a:lnTo>
                  <a:pt x="3388039" y="1339845"/>
                </a:lnTo>
                <a:cubicBezTo>
                  <a:pt x="3284372" y="1443512"/>
                  <a:pt x="3116253" y="1443512"/>
                  <a:pt x="3012587" y="1339845"/>
                </a:cubicBezTo>
                <a:close/>
                <a:moveTo>
                  <a:pt x="420801" y="0"/>
                </a:moveTo>
                <a:lnTo>
                  <a:pt x="1488039" y="0"/>
                </a:lnTo>
                <a:lnTo>
                  <a:pt x="2920232" y="1432193"/>
                </a:lnTo>
                <a:cubicBezTo>
                  <a:pt x="3023898" y="1535859"/>
                  <a:pt x="3023898" y="1703979"/>
                  <a:pt x="2920232" y="1807646"/>
                </a:cubicBezTo>
                <a:lnTo>
                  <a:pt x="1142146" y="3585731"/>
                </a:lnTo>
                <a:cubicBezTo>
                  <a:pt x="1038479" y="3689397"/>
                  <a:pt x="870360" y="3689397"/>
                  <a:pt x="766694" y="3585731"/>
                </a:cubicBezTo>
                <a:lnTo>
                  <a:pt x="0" y="2819037"/>
                </a:lnTo>
                <a:lnTo>
                  <a:pt x="0" y="420801"/>
                </a:lnTo>
                <a:close/>
              </a:path>
            </a:pathLst>
          </a:custGeom>
          <a:gradFill>
            <a:gsLst>
              <a:gs pos="0">
                <a:srgbClr val="FEDD00"/>
              </a:gs>
              <a:gs pos="45000">
                <a:srgbClr val="00BD4D"/>
              </a:gs>
              <a:gs pos="65000">
                <a:srgbClr val="00BD4D"/>
              </a:gs>
              <a:gs pos="100000">
                <a:srgbClr val="00E2EC"/>
              </a:gs>
            </a:gsLst>
            <a:lin ang="0" scaled="0"/>
          </a:gradFill>
          <a:ln w="317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b="0" i="0">
              <a:latin typeface="Lato" panose="020F0502020204030203" pitchFamily="34" charset="77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406432F-064C-E679-A982-B6436030A296}"/>
              </a:ext>
            </a:extLst>
          </p:cNvPr>
          <p:cNvGrpSpPr/>
          <p:nvPr userDrawn="1"/>
        </p:nvGrpSpPr>
        <p:grpSpPr>
          <a:xfrm>
            <a:off x="9670472" y="523600"/>
            <a:ext cx="1928439" cy="400574"/>
            <a:chOff x="9242171" y="3011696"/>
            <a:chExt cx="1672097" cy="347327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70D79360-C3C0-904F-6290-5929299F918E}"/>
                </a:ext>
              </a:extLst>
            </p:cNvPr>
            <p:cNvSpPr/>
            <p:nvPr/>
          </p:nvSpPr>
          <p:spPr>
            <a:xfrm rot="18900000">
              <a:off x="9267550" y="3013811"/>
              <a:ext cx="73496" cy="73496"/>
            </a:xfrm>
            <a:custGeom>
              <a:avLst/>
              <a:gdLst>
                <a:gd name="connsiteX0" fmla="*/ 67007 w 73496"/>
                <a:gd name="connsiteY0" fmla="*/ 0 h 73496"/>
                <a:gd name="connsiteX1" fmla="*/ 73497 w 73496"/>
                <a:gd name="connsiteY1" fmla="*/ 6489 h 73496"/>
                <a:gd name="connsiteX2" fmla="*/ 73497 w 73496"/>
                <a:gd name="connsiteY2" fmla="*/ 67007 h 73496"/>
                <a:gd name="connsiteX3" fmla="*/ 67007 w 73496"/>
                <a:gd name="connsiteY3" fmla="*/ 73496 h 73496"/>
                <a:gd name="connsiteX4" fmla="*/ 6489 w 73496"/>
                <a:gd name="connsiteY4" fmla="*/ 73496 h 73496"/>
                <a:gd name="connsiteX5" fmla="*/ 0 w 73496"/>
                <a:gd name="connsiteY5" fmla="*/ 67007 h 73496"/>
                <a:gd name="connsiteX6" fmla="*/ 0 w 73496"/>
                <a:gd name="connsiteY6" fmla="*/ 6489 h 73496"/>
                <a:gd name="connsiteX7" fmla="*/ 6489 w 73496"/>
                <a:gd name="connsiteY7" fmla="*/ 0 h 73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496" h="73496">
                  <a:moveTo>
                    <a:pt x="67007" y="0"/>
                  </a:moveTo>
                  <a:cubicBezTo>
                    <a:pt x="70591" y="0"/>
                    <a:pt x="73497" y="2905"/>
                    <a:pt x="73497" y="6489"/>
                  </a:cubicBezTo>
                  <a:lnTo>
                    <a:pt x="73497" y="67007"/>
                  </a:lnTo>
                  <a:cubicBezTo>
                    <a:pt x="73497" y="70591"/>
                    <a:pt x="70591" y="73496"/>
                    <a:pt x="67007" y="73496"/>
                  </a:cubicBezTo>
                  <a:lnTo>
                    <a:pt x="6489" y="73496"/>
                  </a:lnTo>
                  <a:cubicBezTo>
                    <a:pt x="2905" y="73496"/>
                    <a:pt x="0" y="70591"/>
                    <a:pt x="0" y="67007"/>
                  </a:cubicBezTo>
                  <a:lnTo>
                    <a:pt x="0" y="6489"/>
                  </a:lnTo>
                  <a:cubicBezTo>
                    <a:pt x="0" y="2905"/>
                    <a:pt x="2905" y="0"/>
                    <a:pt x="6489" y="0"/>
                  </a:cubicBezTo>
                  <a:close/>
                </a:path>
              </a:pathLst>
            </a:custGeom>
            <a:solidFill>
              <a:srgbClr val="00BD4D"/>
            </a:solidFill>
            <a:ln w="284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="0" i="0">
                <a:latin typeface="Lato" panose="020F0502020204030203" pitchFamily="34" charset="77"/>
              </a:endParaRP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1AE5A250-5178-7515-29C9-428C4EC47B21}"/>
                </a:ext>
              </a:extLst>
            </p:cNvPr>
            <p:cNvGrpSpPr/>
            <p:nvPr/>
          </p:nvGrpSpPr>
          <p:grpSpPr>
            <a:xfrm>
              <a:off x="9242171" y="3011696"/>
              <a:ext cx="1672097" cy="347327"/>
              <a:chOff x="9242171" y="3011696"/>
              <a:chExt cx="1672097" cy="347327"/>
            </a:xfrm>
            <a:solidFill>
              <a:schemeClr val="bg1"/>
            </a:solidFill>
          </p:grpSpPr>
          <p:sp>
            <p:nvSpPr>
              <p:cNvPr id="7" name="Freeform: Shape 6">
                <a:extLst>
                  <a:ext uri="{FF2B5EF4-FFF2-40B4-BE49-F238E27FC236}">
                    <a16:creationId xmlns:a16="http://schemas.microsoft.com/office/drawing/2014/main" id="{F4053E8F-9F8E-94DD-FD1E-93A58D8B37CC}"/>
                  </a:ext>
                </a:extLst>
              </p:cNvPr>
              <p:cNvSpPr/>
              <p:nvPr/>
            </p:nvSpPr>
            <p:spPr>
              <a:xfrm>
                <a:off x="10604432" y="3110234"/>
                <a:ext cx="249644" cy="243844"/>
              </a:xfrm>
              <a:custGeom>
                <a:avLst/>
                <a:gdLst>
                  <a:gd name="connsiteX0" fmla="*/ 172562 w 249644"/>
                  <a:gd name="connsiteY0" fmla="*/ 121922 h 243844"/>
                  <a:gd name="connsiteX1" fmla="*/ 248603 w 249644"/>
                  <a:gd name="connsiteY1" fmla="*/ 234754 h 243844"/>
                  <a:gd name="connsiteX2" fmla="*/ 243372 w 249644"/>
                  <a:gd name="connsiteY2" fmla="*/ 243845 h 243844"/>
                  <a:gd name="connsiteX3" fmla="*/ 179480 w 249644"/>
                  <a:gd name="connsiteY3" fmla="*/ 243845 h 243844"/>
                  <a:gd name="connsiteX4" fmla="*/ 168789 w 249644"/>
                  <a:gd name="connsiteY4" fmla="*/ 238213 h 243844"/>
                  <a:gd name="connsiteX5" fmla="*/ 124822 w 249644"/>
                  <a:gd name="connsiteY5" fmla="*/ 170949 h 243844"/>
                  <a:gd name="connsiteX6" fmla="*/ 80856 w 249644"/>
                  <a:gd name="connsiteY6" fmla="*/ 238213 h 243844"/>
                  <a:gd name="connsiteX7" fmla="*/ 70164 w 249644"/>
                  <a:gd name="connsiteY7" fmla="*/ 243845 h 243844"/>
                  <a:gd name="connsiteX8" fmla="*/ 6273 w 249644"/>
                  <a:gd name="connsiteY8" fmla="*/ 243845 h 243844"/>
                  <a:gd name="connsiteX9" fmla="*/ 1042 w 249644"/>
                  <a:gd name="connsiteY9" fmla="*/ 234754 h 243844"/>
                  <a:gd name="connsiteX10" fmla="*/ 76854 w 249644"/>
                  <a:gd name="connsiteY10" fmla="*/ 121922 h 243844"/>
                  <a:gd name="connsiteX11" fmla="*/ 1042 w 249644"/>
                  <a:gd name="connsiteY11" fmla="*/ 9091 h 243844"/>
                  <a:gd name="connsiteX12" fmla="*/ 6273 w 249644"/>
                  <a:gd name="connsiteY12" fmla="*/ 0 h 243844"/>
                  <a:gd name="connsiteX13" fmla="*/ 72880 w 249644"/>
                  <a:gd name="connsiteY13" fmla="*/ 0 h 243844"/>
                  <a:gd name="connsiteX14" fmla="*/ 78998 w 249644"/>
                  <a:gd name="connsiteY14" fmla="*/ 3030 h 243844"/>
                  <a:gd name="connsiteX15" fmla="*/ 124794 w 249644"/>
                  <a:gd name="connsiteY15" fmla="*/ 72782 h 243844"/>
                  <a:gd name="connsiteX16" fmla="*/ 167788 w 249644"/>
                  <a:gd name="connsiteY16" fmla="*/ 3059 h 243844"/>
                  <a:gd name="connsiteX17" fmla="*/ 173906 w 249644"/>
                  <a:gd name="connsiteY17" fmla="*/ 0 h 243844"/>
                  <a:gd name="connsiteX18" fmla="*/ 241171 w 249644"/>
                  <a:gd name="connsiteY18" fmla="*/ 0 h 243844"/>
                  <a:gd name="connsiteX19" fmla="*/ 246402 w 249644"/>
                  <a:gd name="connsiteY19" fmla="*/ 9062 h 243844"/>
                  <a:gd name="connsiteX20" fmla="*/ 172505 w 249644"/>
                  <a:gd name="connsiteY20" fmla="*/ 121922 h 243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49644" h="243844">
                    <a:moveTo>
                      <a:pt x="172562" y="121922"/>
                    </a:moveTo>
                    <a:lnTo>
                      <a:pt x="248603" y="234754"/>
                    </a:lnTo>
                    <a:cubicBezTo>
                      <a:pt x="251347" y="238642"/>
                      <a:pt x="248346" y="243845"/>
                      <a:pt x="243372" y="243845"/>
                    </a:cubicBezTo>
                    <a:lnTo>
                      <a:pt x="179480" y="243845"/>
                    </a:lnTo>
                    <a:cubicBezTo>
                      <a:pt x="175221" y="243845"/>
                      <a:pt x="171219" y="241729"/>
                      <a:pt x="168789" y="238213"/>
                    </a:cubicBezTo>
                    <a:lnTo>
                      <a:pt x="124822" y="170949"/>
                    </a:lnTo>
                    <a:lnTo>
                      <a:pt x="80856" y="238213"/>
                    </a:lnTo>
                    <a:cubicBezTo>
                      <a:pt x="78426" y="241729"/>
                      <a:pt x="74452" y="243845"/>
                      <a:pt x="70164" y="243845"/>
                    </a:cubicBezTo>
                    <a:lnTo>
                      <a:pt x="6273" y="243845"/>
                    </a:lnTo>
                    <a:cubicBezTo>
                      <a:pt x="1299" y="243845"/>
                      <a:pt x="-1703" y="238671"/>
                      <a:pt x="1042" y="234754"/>
                    </a:cubicBezTo>
                    <a:lnTo>
                      <a:pt x="76854" y="121922"/>
                    </a:lnTo>
                    <a:lnTo>
                      <a:pt x="1042" y="9091"/>
                    </a:lnTo>
                    <a:cubicBezTo>
                      <a:pt x="-1703" y="5203"/>
                      <a:pt x="1299" y="0"/>
                      <a:pt x="6273" y="0"/>
                    </a:cubicBezTo>
                    <a:lnTo>
                      <a:pt x="72880" y="0"/>
                    </a:lnTo>
                    <a:cubicBezTo>
                      <a:pt x="75367" y="0"/>
                      <a:pt x="77683" y="1143"/>
                      <a:pt x="78998" y="3030"/>
                    </a:cubicBezTo>
                    <a:lnTo>
                      <a:pt x="124794" y="72782"/>
                    </a:lnTo>
                    <a:lnTo>
                      <a:pt x="167788" y="3059"/>
                    </a:lnTo>
                    <a:cubicBezTo>
                      <a:pt x="169075" y="1172"/>
                      <a:pt x="171419" y="0"/>
                      <a:pt x="173906" y="0"/>
                    </a:cubicBezTo>
                    <a:lnTo>
                      <a:pt x="241171" y="0"/>
                    </a:lnTo>
                    <a:cubicBezTo>
                      <a:pt x="246145" y="0"/>
                      <a:pt x="249118" y="5174"/>
                      <a:pt x="246402" y="9062"/>
                    </a:cubicBezTo>
                    <a:lnTo>
                      <a:pt x="172505" y="121922"/>
                    </a:ln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8" name="Freeform: Shape 7">
                <a:extLst>
                  <a:ext uri="{FF2B5EF4-FFF2-40B4-BE49-F238E27FC236}">
                    <a16:creationId xmlns:a16="http://schemas.microsoft.com/office/drawing/2014/main" id="{B7D70119-A8C8-2F20-6D4B-FD3B69C9751B}"/>
                  </a:ext>
                </a:extLst>
              </p:cNvPr>
              <p:cNvSpPr/>
              <p:nvPr/>
            </p:nvSpPr>
            <p:spPr>
              <a:xfrm>
                <a:off x="9581152" y="3011696"/>
                <a:ext cx="164831" cy="342440"/>
              </a:xfrm>
              <a:custGeom>
                <a:avLst/>
                <a:gdLst>
                  <a:gd name="connsiteX0" fmla="*/ 158342 w 164831"/>
                  <a:gd name="connsiteY0" fmla="*/ 29 h 342440"/>
                  <a:gd name="connsiteX1" fmla="*/ 105342 w 164831"/>
                  <a:gd name="connsiteY1" fmla="*/ 29 h 342440"/>
                  <a:gd name="connsiteX2" fmla="*/ 91592 w 164831"/>
                  <a:gd name="connsiteY2" fmla="*/ 5717 h 342440"/>
                  <a:gd name="connsiteX3" fmla="*/ 41794 w 164831"/>
                  <a:gd name="connsiteY3" fmla="*/ 55515 h 342440"/>
                  <a:gd name="connsiteX4" fmla="*/ 36105 w 164831"/>
                  <a:gd name="connsiteY4" fmla="*/ 69266 h 342440"/>
                  <a:gd name="connsiteX5" fmla="*/ 36105 w 164831"/>
                  <a:gd name="connsiteY5" fmla="*/ 108458 h 342440"/>
                  <a:gd name="connsiteX6" fmla="*/ 6375 w 164831"/>
                  <a:gd name="connsiteY6" fmla="*/ 108458 h 342440"/>
                  <a:gd name="connsiteX7" fmla="*/ 0 w 164831"/>
                  <a:gd name="connsiteY7" fmla="*/ 114833 h 342440"/>
                  <a:gd name="connsiteX8" fmla="*/ 0 w 164831"/>
                  <a:gd name="connsiteY8" fmla="*/ 158828 h 342440"/>
                  <a:gd name="connsiteX9" fmla="*/ 6375 w 164831"/>
                  <a:gd name="connsiteY9" fmla="*/ 165203 h 342440"/>
                  <a:gd name="connsiteX10" fmla="*/ 36105 w 164831"/>
                  <a:gd name="connsiteY10" fmla="*/ 165203 h 342440"/>
                  <a:gd name="connsiteX11" fmla="*/ 36105 w 164831"/>
                  <a:gd name="connsiteY11" fmla="*/ 335951 h 342440"/>
                  <a:gd name="connsiteX12" fmla="*/ 42594 w 164831"/>
                  <a:gd name="connsiteY12" fmla="*/ 342440 h 342440"/>
                  <a:gd name="connsiteX13" fmla="*/ 98510 w 164831"/>
                  <a:gd name="connsiteY13" fmla="*/ 342440 h 342440"/>
                  <a:gd name="connsiteX14" fmla="*/ 104999 w 164831"/>
                  <a:gd name="connsiteY14" fmla="*/ 335951 h 342440"/>
                  <a:gd name="connsiteX15" fmla="*/ 104999 w 164831"/>
                  <a:gd name="connsiteY15" fmla="*/ 165174 h 342440"/>
                  <a:gd name="connsiteX16" fmla="*/ 149394 w 164831"/>
                  <a:gd name="connsiteY16" fmla="*/ 165174 h 342440"/>
                  <a:gd name="connsiteX17" fmla="*/ 155769 w 164831"/>
                  <a:gd name="connsiteY17" fmla="*/ 158799 h 342440"/>
                  <a:gd name="connsiteX18" fmla="*/ 155769 w 164831"/>
                  <a:gd name="connsiteY18" fmla="*/ 114804 h 342440"/>
                  <a:gd name="connsiteX19" fmla="*/ 149394 w 164831"/>
                  <a:gd name="connsiteY19" fmla="*/ 108429 h 342440"/>
                  <a:gd name="connsiteX20" fmla="*/ 104999 w 164831"/>
                  <a:gd name="connsiteY20" fmla="*/ 108429 h 342440"/>
                  <a:gd name="connsiteX21" fmla="*/ 104999 w 164831"/>
                  <a:gd name="connsiteY21" fmla="*/ 80643 h 342440"/>
                  <a:gd name="connsiteX22" fmla="*/ 124438 w 164831"/>
                  <a:gd name="connsiteY22" fmla="*/ 61204 h 342440"/>
                  <a:gd name="connsiteX23" fmla="*/ 158342 w 164831"/>
                  <a:gd name="connsiteY23" fmla="*/ 61204 h 342440"/>
                  <a:gd name="connsiteX24" fmla="*/ 164831 w 164831"/>
                  <a:gd name="connsiteY24" fmla="*/ 54715 h 342440"/>
                  <a:gd name="connsiteX25" fmla="*/ 164831 w 164831"/>
                  <a:gd name="connsiteY25" fmla="*/ 6489 h 342440"/>
                  <a:gd name="connsiteX26" fmla="*/ 158342 w 164831"/>
                  <a:gd name="connsiteY26" fmla="*/ 0 h 342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64831" h="342440">
                    <a:moveTo>
                      <a:pt x="158342" y="29"/>
                    </a:moveTo>
                    <a:lnTo>
                      <a:pt x="105342" y="29"/>
                    </a:lnTo>
                    <a:cubicBezTo>
                      <a:pt x="100197" y="29"/>
                      <a:pt x="95251" y="2087"/>
                      <a:pt x="91592" y="5717"/>
                    </a:cubicBezTo>
                    <a:lnTo>
                      <a:pt x="41794" y="55515"/>
                    </a:lnTo>
                    <a:cubicBezTo>
                      <a:pt x="38135" y="59175"/>
                      <a:pt x="36105" y="64120"/>
                      <a:pt x="36105" y="69266"/>
                    </a:cubicBezTo>
                    <a:lnTo>
                      <a:pt x="36105" y="108458"/>
                    </a:lnTo>
                    <a:lnTo>
                      <a:pt x="6375" y="108458"/>
                    </a:lnTo>
                    <a:cubicBezTo>
                      <a:pt x="2859" y="108458"/>
                      <a:pt x="0" y="111317"/>
                      <a:pt x="0" y="114833"/>
                    </a:cubicBezTo>
                    <a:lnTo>
                      <a:pt x="0" y="158828"/>
                    </a:lnTo>
                    <a:cubicBezTo>
                      <a:pt x="0" y="162344"/>
                      <a:pt x="2859" y="165203"/>
                      <a:pt x="6375" y="165203"/>
                    </a:cubicBezTo>
                    <a:lnTo>
                      <a:pt x="36105" y="165203"/>
                    </a:lnTo>
                    <a:lnTo>
                      <a:pt x="36105" y="335951"/>
                    </a:lnTo>
                    <a:cubicBezTo>
                      <a:pt x="36105" y="339524"/>
                      <a:pt x="39021" y="342440"/>
                      <a:pt x="42594" y="342440"/>
                    </a:cubicBezTo>
                    <a:lnTo>
                      <a:pt x="98510" y="342440"/>
                    </a:lnTo>
                    <a:cubicBezTo>
                      <a:pt x="102083" y="342440"/>
                      <a:pt x="104999" y="339524"/>
                      <a:pt x="104999" y="335951"/>
                    </a:cubicBezTo>
                    <a:lnTo>
                      <a:pt x="104999" y="165174"/>
                    </a:lnTo>
                    <a:lnTo>
                      <a:pt x="149394" y="165174"/>
                    </a:lnTo>
                    <a:cubicBezTo>
                      <a:pt x="152911" y="165174"/>
                      <a:pt x="155769" y="162315"/>
                      <a:pt x="155769" y="158799"/>
                    </a:cubicBezTo>
                    <a:lnTo>
                      <a:pt x="155769" y="114804"/>
                    </a:lnTo>
                    <a:cubicBezTo>
                      <a:pt x="155769" y="111288"/>
                      <a:pt x="152911" y="108429"/>
                      <a:pt x="149394" y="108429"/>
                    </a:cubicBezTo>
                    <a:lnTo>
                      <a:pt x="104999" y="108429"/>
                    </a:lnTo>
                    <a:lnTo>
                      <a:pt x="104999" y="80643"/>
                    </a:lnTo>
                    <a:cubicBezTo>
                      <a:pt x="104999" y="69895"/>
                      <a:pt x="113718" y="61204"/>
                      <a:pt x="124438" y="61204"/>
                    </a:cubicBezTo>
                    <a:lnTo>
                      <a:pt x="158342" y="61204"/>
                    </a:lnTo>
                    <a:cubicBezTo>
                      <a:pt x="161915" y="61204"/>
                      <a:pt x="164831" y="58288"/>
                      <a:pt x="164831" y="54715"/>
                    </a:cubicBezTo>
                    <a:lnTo>
                      <a:pt x="164831" y="6489"/>
                    </a:lnTo>
                    <a:cubicBezTo>
                      <a:pt x="164831" y="2916"/>
                      <a:pt x="161915" y="0"/>
                      <a:pt x="158342" y="0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1673D772-FEA7-88D5-6514-58156E62C971}"/>
                  </a:ext>
                </a:extLst>
              </p:cNvPr>
              <p:cNvSpPr/>
              <p:nvPr/>
            </p:nvSpPr>
            <p:spPr>
              <a:xfrm>
                <a:off x="10860611" y="3304224"/>
                <a:ext cx="53657" cy="53657"/>
              </a:xfrm>
              <a:custGeom>
                <a:avLst/>
                <a:gdLst>
                  <a:gd name="connsiteX0" fmla="*/ 53657 w 53657"/>
                  <a:gd name="connsiteY0" fmla="*/ 26786 h 53657"/>
                  <a:gd name="connsiteX1" fmla="*/ 26729 w 53657"/>
                  <a:gd name="connsiteY1" fmla="*/ 53657 h 53657"/>
                  <a:gd name="connsiteX2" fmla="*/ 0 w 53657"/>
                  <a:gd name="connsiteY2" fmla="*/ 26786 h 53657"/>
                  <a:gd name="connsiteX3" fmla="*/ 26814 w 53657"/>
                  <a:gd name="connsiteY3" fmla="*/ 0 h 53657"/>
                  <a:gd name="connsiteX4" fmla="*/ 53629 w 53657"/>
                  <a:gd name="connsiteY4" fmla="*/ 26786 h 53657"/>
                  <a:gd name="connsiteX5" fmla="*/ 49541 w 53657"/>
                  <a:gd name="connsiteY5" fmla="*/ 26900 h 53657"/>
                  <a:gd name="connsiteX6" fmla="*/ 26843 w 53657"/>
                  <a:gd name="connsiteY6" fmla="*/ 3831 h 53657"/>
                  <a:gd name="connsiteX7" fmla="*/ 4145 w 53657"/>
                  <a:gd name="connsiteY7" fmla="*/ 26872 h 53657"/>
                  <a:gd name="connsiteX8" fmla="*/ 26729 w 53657"/>
                  <a:gd name="connsiteY8" fmla="*/ 49884 h 53657"/>
                  <a:gd name="connsiteX9" fmla="*/ 49541 w 53657"/>
                  <a:gd name="connsiteY9" fmla="*/ 26900 h 53657"/>
                  <a:gd name="connsiteX10" fmla="*/ 32589 w 53657"/>
                  <a:gd name="connsiteY10" fmla="*/ 31131 h 53657"/>
                  <a:gd name="connsiteX11" fmla="*/ 39335 w 53657"/>
                  <a:gd name="connsiteY11" fmla="*/ 41622 h 53657"/>
                  <a:gd name="connsiteX12" fmla="*/ 34876 w 53657"/>
                  <a:gd name="connsiteY12" fmla="*/ 41622 h 53657"/>
                  <a:gd name="connsiteX13" fmla="*/ 27386 w 53657"/>
                  <a:gd name="connsiteY13" fmla="*/ 29730 h 53657"/>
                  <a:gd name="connsiteX14" fmla="*/ 20554 w 53657"/>
                  <a:gd name="connsiteY14" fmla="*/ 29730 h 53657"/>
                  <a:gd name="connsiteX15" fmla="*/ 20554 w 53657"/>
                  <a:gd name="connsiteY15" fmla="*/ 41622 h 53657"/>
                  <a:gd name="connsiteX16" fmla="*/ 16809 w 53657"/>
                  <a:gd name="connsiteY16" fmla="*/ 41622 h 53657"/>
                  <a:gd name="connsiteX17" fmla="*/ 16809 w 53657"/>
                  <a:gd name="connsiteY17" fmla="*/ 11549 h 53657"/>
                  <a:gd name="connsiteX18" fmla="*/ 28472 w 53657"/>
                  <a:gd name="connsiteY18" fmla="*/ 11549 h 53657"/>
                  <a:gd name="connsiteX19" fmla="*/ 37963 w 53657"/>
                  <a:gd name="connsiteY19" fmla="*/ 20411 h 53657"/>
                  <a:gd name="connsiteX20" fmla="*/ 31131 w 53657"/>
                  <a:gd name="connsiteY20" fmla="*/ 29101 h 53657"/>
                  <a:gd name="connsiteX21" fmla="*/ 32589 w 53657"/>
                  <a:gd name="connsiteY21" fmla="*/ 31160 h 53657"/>
                  <a:gd name="connsiteX22" fmla="*/ 27214 w 53657"/>
                  <a:gd name="connsiteY22" fmla="*/ 26185 h 53657"/>
                  <a:gd name="connsiteX23" fmla="*/ 34047 w 53657"/>
                  <a:gd name="connsiteY23" fmla="*/ 20640 h 53657"/>
                  <a:gd name="connsiteX24" fmla="*/ 28558 w 53657"/>
                  <a:gd name="connsiteY24" fmla="*/ 15037 h 53657"/>
                  <a:gd name="connsiteX25" fmla="*/ 20525 w 53657"/>
                  <a:gd name="connsiteY25" fmla="*/ 15037 h 53657"/>
                  <a:gd name="connsiteX26" fmla="*/ 20525 w 53657"/>
                  <a:gd name="connsiteY26" fmla="*/ 26157 h 53657"/>
                  <a:gd name="connsiteX27" fmla="*/ 27214 w 53657"/>
                  <a:gd name="connsiteY27" fmla="*/ 26157 h 53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53657" h="53657">
                    <a:moveTo>
                      <a:pt x="53657" y="26786"/>
                    </a:moveTo>
                    <a:cubicBezTo>
                      <a:pt x="53657" y="41708"/>
                      <a:pt x="41708" y="53657"/>
                      <a:pt x="26729" y="53657"/>
                    </a:cubicBezTo>
                    <a:cubicBezTo>
                      <a:pt x="11749" y="53657"/>
                      <a:pt x="0" y="41594"/>
                      <a:pt x="0" y="26786"/>
                    </a:cubicBezTo>
                    <a:cubicBezTo>
                      <a:pt x="0" y="11978"/>
                      <a:pt x="11949" y="0"/>
                      <a:pt x="26814" y="0"/>
                    </a:cubicBezTo>
                    <a:cubicBezTo>
                      <a:pt x="41679" y="0"/>
                      <a:pt x="53629" y="11892"/>
                      <a:pt x="53629" y="26786"/>
                    </a:cubicBezTo>
                    <a:close/>
                    <a:moveTo>
                      <a:pt x="49541" y="26900"/>
                    </a:moveTo>
                    <a:cubicBezTo>
                      <a:pt x="49541" y="14036"/>
                      <a:pt x="39392" y="3831"/>
                      <a:pt x="26843" y="3831"/>
                    </a:cubicBezTo>
                    <a:cubicBezTo>
                      <a:pt x="14293" y="3831"/>
                      <a:pt x="4145" y="13922"/>
                      <a:pt x="4145" y="26872"/>
                    </a:cubicBezTo>
                    <a:cubicBezTo>
                      <a:pt x="4145" y="39821"/>
                      <a:pt x="14408" y="49884"/>
                      <a:pt x="26729" y="49884"/>
                    </a:cubicBezTo>
                    <a:cubicBezTo>
                      <a:pt x="39049" y="49884"/>
                      <a:pt x="49541" y="39736"/>
                      <a:pt x="49541" y="26900"/>
                    </a:cubicBezTo>
                    <a:close/>
                    <a:moveTo>
                      <a:pt x="32589" y="31131"/>
                    </a:moveTo>
                    <a:lnTo>
                      <a:pt x="39335" y="41622"/>
                    </a:lnTo>
                    <a:lnTo>
                      <a:pt x="34876" y="41622"/>
                    </a:lnTo>
                    <a:lnTo>
                      <a:pt x="27386" y="29730"/>
                    </a:lnTo>
                    <a:lnTo>
                      <a:pt x="20554" y="29730"/>
                    </a:lnTo>
                    <a:lnTo>
                      <a:pt x="20554" y="41622"/>
                    </a:lnTo>
                    <a:lnTo>
                      <a:pt x="16809" y="41622"/>
                    </a:lnTo>
                    <a:lnTo>
                      <a:pt x="16809" y="11549"/>
                    </a:lnTo>
                    <a:lnTo>
                      <a:pt x="28472" y="11549"/>
                    </a:lnTo>
                    <a:cubicBezTo>
                      <a:pt x="34218" y="11549"/>
                      <a:pt x="37963" y="14636"/>
                      <a:pt x="37963" y="20411"/>
                    </a:cubicBezTo>
                    <a:cubicBezTo>
                      <a:pt x="37963" y="25071"/>
                      <a:pt x="35133" y="27958"/>
                      <a:pt x="31131" y="29101"/>
                    </a:cubicBezTo>
                    <a:cubicBezTo>
                      <a:pt x="31674" y="29702"/>
                      <a:pt x="32217" y="30445"/>
                      <a:pt x="32589" y="31160"/>
                    </a:cubicBezTo>
                    <a:close/>
                    <a:moveTo>
                      <a:pt x="27214" y="26185"/>
                    </a:moveTo>
                    <a:cubicBezTo>
                      <a:pt x="31445" y="26185"/>
                      <a:pt x="34047" y="24184"/>
                      <a:pt x="34047" y="20640"/>
                    </a:cubicBezTo>
                    <a:cubicBezTo>
                      <a:pt x="34047" y="17095"/>
                      <a:pt x="32246" y="15037"/>
                      <a:pt x="28558" y="15037"/>
                    </a:cubicBezTo>
                    <a:lnTo>
                      <a:pt x="20525" y="15037"/>
                    </a:lnTo>
                    <a:lnTo>
                      <a:pt x="20525" y="26157"/>
                    </a:lnTo>
                    <a:lnTo>
                      <a:pt x="27214" y="26157"/>
                    </a:ln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7B0C5E0A-149E-F3C0-5B88-51BC4A9436AE}"/>
                  </a:ext>
                </a:extLst>
              </p:cNvPr>
              <p:cNvSpPr/>
              <p:nvPr/>
            </p:nvSpPr>
            <p:spPr>
              <a:xfrm>
                <a:off x="10283815" y="3011724"/>
                <a:ext cx="68865" cy="342354"/>
              </a:xfrm>
              <a:custGeom>
                <a:avLst/>
                <a:gdLst>
                  <a:gd name="connsiteX0" fmla="*/ 62376 w 68865"/>
                  <a:gd name="connsiteY0" fmla="*/ 0 h 342354"/>
                  <a:gd name="connsiteX1" fmla="*/ 68866 w 68865"/>
                  <a:gd name="connsiteY1" fmla="*/ 6489 h 342354"/>
                  <a:gd name="connsiteX2" fmla="*/ 68866 w 68865"/>
                  <a:gd name="connsiteY2" fmla="*/ 335865 h 342354"/>
                  <a:gd name="connsiteX3" fmla="*/ 62376 w 68865"/>
                  <a:gd name="connsiteY3" fmla="*/ 342355 h 342354"/>
                  <a:gd name="connsiteX4" fmla="*/ 6489 w 68865"/>
                  <a:gd name="connsiteY4" fmla="*/ 342355 h 342354"/>
                  <a:gd name="connsiteX5" fmla="*/ 0 w 68865"/>
                  <a:gd name="connsiteY5" fmla="*/ 335865 h 342354"/>
                  <a:gd name="connsiteX6" fmla="*/ 0 w 68865"/>
                  <a:gd name="connsiteY6" fmla="*/ 6489 h 342354"/>
                  <a:gd name="connsiteX7" fmla="*/ 6489 w 68865"/>
                  <a:gd name="connsiteY7" fmla="*/ 0 h 3423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8865" h="342354">
                    <a:moveTo>
                      <a:pt x="62376" y="0"/>
                    </a:moveTo>
                    <a:cubicBezTo>
                      <a:pt x="65960" y="0"/>
                      <a:pt x="68866" y="2905"/>
                      <a:pt x="68866" y="6489"/>
                    </a:cubicBezTo>
                    <a:lnTo>
                      <a:pt x="68866" y="335865"/>
                    </a:lnTo>
                    <a:cubicBezTo>
                      <a:pt x="68866" y="339449"/>
                      <a:pt x="65960" y="342355"/>
                      <a:pt x="62376" y="342355"/>
                    </a:cubicBezTo>
                    <a:lnTo>
                      <a:pt x="6489" y="342355"/>
                    </a:lnTo>
                    <a:cubicBezTo>
                      <a:pt x="2905" y="342355"/>
                      <a:pt x="0" y="339449"/>
                      <a:pt x="0" y="335865"/>
                    </a:cubicBezTo>
                    <a:lnTo>
                      <a:pt x="0" y="6489"/>
                    </a:lnTo>
                    <a:cubicBezTo>
                      <a:pt x="0" y="2905"/>
                      <a:pt x="2905" y="0"/>
                      <a:pt x="6489" y="0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92B1A0F6-D8C9-2E49-CF59-5C3AD063766D}"/>
                  </a:ext>
                </a:extLst>
              </p:cNvPr>
              <p:cNvSpPr/>
              <p:nvPr/>
            </p:nvSpPr>
            <p:spPr>
              <a:xfrm>
                <a:off x="10006809" y="3011696"/>
                <a:ext cx="258538" cy="347300"/>
              </a:xfrm>
              <a:custGeom>
                <a:avLst/>
                <a:gdLst>
                  <a:gd name="connsiteX0" fmla="*/ 143734 w 258538"/>
                  <a:gd name="connsiteY0" fmla="*/ 93393 h 347300"/>
                  <a:gd name="connsiteX1" fmla="*/ 68894 w 258538"/>
                  <a:gd name="connsiteY1" fmla="*/ 129755 h 347300"/>
                  <a:gd name="connsiteX2" fmla="*/ 68894 w 258538"/>
                  <a:gd name="connsiteY2" fmla="*/ 6489 h 347300"/>
                  <a:gd name="connsiteX3" fmla="*/ 62405 w 258538"/>
                  <a:gd name="connsiteY3" fmla="*/ 0 h 347300"/>
                  <a:gd name="connsiteX4" fmla="*/ 6489 w 258538"/>
                  <a:gd name="connsiteY4" fmla="*/ 0 h 347300"/>
                  <a:gd name="connsiteX5" fmla="*/ 0 w 258538"/>
                  <a:gd name="connsiteY5" fmla="*/ 6489 h 347300"/>
                  <a:gd name="connsiteX6" fmla="*/ 0 w 258538"/>
                  <a:gd name="connsiteY6" fmla="*/ 335894 h 347300"/>
                  <a:gd name="connsiteX7" fmla="*/ 6489 w 258538"/>
                  <a:gd name="connsiteY7" fmla="*/ 342383 h 347300"/>
                  <a:gd name="connsiteX8" fmla="*/ 62405 w 258538"/>
                  <a:gd name="connsiteY8" fmla="*/ 342383 h 347300"/>
                  <a:gd name="connsiteX9" fmla="*/ 68894 w 258538"/>
                  <a:gd name="connsiteY9" fmla="*/ 335894 h 347300"/>
                  <a:gd name="connsiteX10" fmla="*/ 68894 w 258538"/>
                  <a:gd name="connsiteY10" fmla="*/ 311624 h 347300"/>
                  <a:gd name="connsiteX11" fmla="*/ 144249 w 258538"/>
                  <a:gd name="connsiteY11" fmla="*/ 347300 h 347300"/>
                  <a:gd name="connsiteX12" fmla="*/ 258539 w 258538"/>
                  <a:gd name="connsiteY12" fmla="*/ 220689 h 347300"/>
                  <a:gd name="connsiteX13" fmla="*/ 143763 w 258538"/>
                  <a:gd name="connsiteY13" fmla="*/ 93393 h 347300"/>
                  <a:gd name="connsiteX14" fmla="*/ 130041 w 258538"/>
                  <a:gd name="connsiteY14" fmla="*/ 282637 h 347300"/>
                  <a:gd name="connsiteX15" fmla="*/ 68894 w 258538"/>
                  <a:gd name="connsiteY15" fmla="*/ 220718 h 347300"/>
                  <a:gd name="connsiteX16" fmla="*/ 130041 w 258538"/>
                  <a:gd name="connsiteY16" fmla="*/ 159285 h 347300"/>
                  <a:gd name="connsiteX17" fmla="*/ 190216 w 258538"/>
                  <a:gd name="connsiteY17" fmla="*/ 220718 h 347300"/>
                  <a:gd name="connsiteX18" fmla="*/ 130041 w 258538"/>
                  <a:gd name="connsiteY18" fmla="*/ 282637 h 347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8538" h="347300">
                    <a:moveTo>
                      <a:pt x="143734" y="93393"/>
                    </a:moveTo>
                    <a:cubicBezTo>
                      <a:pt x="111946" y="93393"/>
                      <a:pt x="85503" y="107172"/>
                      <a:pt x="68894" y="129755"/>
                    </a:cubicBezTo>
                    <a:lnTo>
                      <a:pt x="68894" y="6489"/>
                    </a:lnTo>
                    <a:cubicBezTo>
                      <a:pt x="68894" y="2916"/>
                      <a:pt x="65978" y="0"/>
                      <a:pt x="62405" y="0"/>
                    </a:cubicBezTo>
                    <a:lnTo>
                      <a:pt x="6489" y="0"/>
                    </a:lnTo>
                    <a:cubicBezTo>
                      <a:pt x="2916" y="0"/>
                      <a:pt x="0" y="2916"/>
                      <a:pt x="0" y="6489"/>
                    </a:cubicBezTo>
                    <a:lnTo>
                      <a:pt x="0" y="335894"/>
                    </a:lnTo>
                    <a:cubicBezTo>
                      <a:pt x="0" y="339467"/>
                      <a:pt x="2916" y="342383"/>
                      <a:pt x="6489" y="342383"/>
                    </a:cubicBezTo>
                    <a:lnTo>
                      <a:pt x="62405" y="342383"/>
                    </a:lnTo>
                    <a:cubicBezTo>
                      <a:pt x="65978" y="342383"/>
                      <a:pt x="68894" y="339467"/>
                      <a:pt x="68894" y="335894"/>
                    </a:cubicBezTo>
                    <a:lnTo>
                      <a:pt x="68894" y="311624"/>
                    </a:lnTo>
                    <a:cubicBezTo>
                      <a:pt x="85532" y="334236"/>
                      <a:pt x="111946" y="347300"/>
                      <a:pt x="144249" y="347300"/>
                    </a:cubicBezTo>
                    <a:cubicBezTo>
                      <a:pt x="212257" y="347300"/>
                      <a:pt x="258539" y="292442"/>
                      <a:pt x="258539" y="220689"/>
                    </a:cubicBezTo>
                    <a:cubicBezTo>
                      <a:pt x="258539" y="148937"/>
                      <a:pt x="212257" y="93393"/>
                      <a:pt x="143763" y="93393"/>
                    </a:cubicBezTo>
                    <a:close/>
                    <a:moveTo>
                      <a:pt x="130041" y="282637"/>
                    </a:moveTo>
                    <a:cubicBezTo>
                      <a:pt x="94822" y="282637"/>
                      <a:pt x="68894" y="254136"/>
                      <a:pt x="68894" y="220718"/>
                    </a:cubicBezTo>
                    <a:cubicBezTo>
                      <a:pt x="68894" y="187300"/>
                      <a:pt x="94822" y="159285"/>
                      <a:pt x="130041" y="159285"/>
                    </a:cubicBezTo>
                    <a:cubicBezTo>
                      <a:pt x="165260" y="159285"/>
                      <a:pt x="190216" y="187300"/>
                      <a:pt x="190216" y="220718"/>
                    </a:cubicBezTo>
                    <a:cubicBezTo>
                      <a:pt x="190216" y="254136"/>
                      <a:pt x="164774" y="282637"/>
                      <a:pt x="130041" y="282637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021A9D03-7580-F1D4-3B4B-C34359D72A08}"/>
                  </a:ext>
                </a:extLst>
              </p:cNvPr>
              <p:cNvSpPr/>
              <p:nvPr/>
            </p:nvSpPr>
            <p:spPr>
              <a:xfrm>
                <a:off x="9736922" y="3105088"/>
                <a:ext cx="251792" cy="253935"/>
              </a:xfrm>
              <a:custGeom>
                <a:avLst/>
                <a:gdLst>
                  <a:gd name="connsiteX0" fmla="*/ 125896 w 251792"/>
                  <a:gd name="connsiteY0" fmla="*/ 0 h 253935"/>
                  <a:gd name="connsiteX1" fmla="*/ 0 w 251792"/>
                  <a:gd name="connsiteY1" fmla="*/ 126725 h 253935"/>
                  <a:gd name="connsiteX2" fmla="*/ 125896 w 251792"/>
                  <a:gd name="connsiteY2" fmla="*/ 253936 h 253935"/>
                  <a:gd name="connsiteX3" fmla="*/ 251792 w 251792"/>
                  <a:gd name="connsiteY3" fmla="*/ 126725 h 253935"/>
                  <a:gd name="connsiteX4" fmla="*/ 125896 w 251792"/>
                  <a:gd name="connsiteY4" fmla="*/ 0 h 253935"/>
                  <a:gd name="connsiteX5" fmla="*/ 126153 w 251792"/>
                  <a:gd name="connsiteY5" fmla="*/ 188558 h 253935"/>
                  <a:gd name="connsiteX6" fmla="*/ 65378 w 251792"/>
                  <a:gd name="connsiteY6" fmla="*/ 126725 h 253935"/>
                  <a:gd name="connsiteX7" fmla="*/ 126153 w 251792"/>
                  <a:gd name="connsiteY7" fmla="*/ 65378 h 253935"/>
                  <a:gd name="connsiteX8" fmla="*/ 186443 w 251792"/>
                  <a:gd name="connsiteY8" fmla="*/ 126725 h 253935"/>
                  <a:gd name="connsiteX9" fmla="*/ 126153 w 251792"/>
                  <a:gd name="connsiteY9" fmla="*/ 188558 h 253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1792" h="253935">
                    <a:moveTo>
                      <a:pt x="125896" y="0"/>
                    </a:moveTo>
                    <a:cubicBezTo>
                      <a:pt x="54944" y="0"/>
                      <a:pt x="0" y="55287"/>
                      <a:pt x="0" y="126725"/>
                    </a:cubicBezTo>
                    <a:cubicBezTo>
                      <a:pt x="0" y="198163"/>
                      <a:pt x="54915" y="253936"/>
                      <a:pt x="125896" y="253936"/>
                    </a:cubicBezTo>
                    <a:cubicBezTo>
                      <a:pt x="196877" y="253936"/>
                      <a:pt x="251792" y="198163"/>
                      <a:pt x="251792" y="126725"/>
                    </a:cubicBezTo>
                    <a:cubicBezTo>
                      <a:pt x="251792" y="55287"/>
                      <a:pt x="196877" y="0"/>
                      <a:pt x="125896" y="0"/>
                    </a:cubicBezTo>
                    <a:close/>
                    <a:moveTo>
                      <a:pt x="126153" y="188558"/>
                    </a:moveTo>
                    <a:cubicBezTo>
                      <a:pt x="91506" y="188558"/>
                      <a:pt x="65378" y="160314"/>
                      <a:pt x="65378" y="126725"/>
                    </a:cubicBezTo>
                    <a:cubicBezTo>
                      <a:pt x="65378" y="93136"/>
                      <a:pt x="91506" y="65378"/>
                      <a:pt x="126153" y="65378"/>
                    </a:cubicBezTo>
                    <a:cubicBezTo>
                      <a:pt x="160801" y="65378"/>
                      <a:pt x="186443" y="93136"/>
                      <a:pt x="186443" y="126725"/>
                    </a:cubicBezTo>
                    <a:cubicBezTo>
                      <a:pt x="186443" y="160314"/>
                      <a:pt x="161315" y="188558"/>
                      <a:pt x="126153" y="188558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7AD7C9EF-D082-D6DD-395E-7C20A237BC0F}"/>
                  </a:ext>
                </a:extLst>
              </p:cNvPr>
              <p:cNvSpPr/>
              <p:nvPr/>
            </p:nvSpPr>
            <p:spPr>
              <a:xfrm>
                <a:off x="10370776" y="3105088"/>
                <a:ext cx="251792" cy="253935"/>
              </a:xfrm>
              <a:custGeom>
                <a:avLst/>
                <a:gdLst>
                  <a:gd name="connsiteX0" fmla="*/ 125896 w 251792"/>
                  <a:gd name="connsiteY0" fmla="*/ 0 h 253935"/>
                  <a:gd name="connsiteX1" fmla="*/ 0 w 251792"/>
                  <a:gd name="connsiteY1" fmla="*/ 126725 h 253935"/>
                  <a:gd name="connsiteX2" fmla="*/ 125896 w 251792"/>
                  <a:gd name="connsiteY2" fmla="*/ 253936 h 253935"/>
                  <a:gd name="connsiteX3" fmla="*/ 251792 w 251792"/>
                  <a:gd name="connsiteY3" fmla="*/ 126725 h 253935"/>
                  <a:gd name="connsiteX4" fmla="*/ 125896 w 251792"/>
                  <a:gd name="connsiteY4" fmla="*/ 0 h 253935"/>
                  <a:gd name="connsiteX5" fmla="*/ 126153 w 251792"/>
                  <a:gd name="connsiteY5" fmla="*/ 188558 h 253935"/>
                  <a:gd name="connsiteX6" fmla="*/ 65378 w 251792"/>
                  <a:gd name="connsiteY6" fmla="*/ 126725 h 253935"/>
                  <a:gd name="connsiteX7" fmla="*/ 126153 w 251792"/>
                  <a:gd name="connsiteY7" fmla="*/ 65378 h 253935"/>
                  <a:gd name="connsiteX8" fmla="*/ 186443 w 251792"/>
                  <a:gd name="connsiteY8" fmla="*/ 126725 h 253935"/>
                  <a:gd name="connsiteX9" fmla="*/ 126153 w 251792"/>
                  <a:gd name="connsiteY9" fmla="*/ 188558 h 253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1792" h="253935">
                    <a:moveTo>
                      <a:pt x="125896" y="0"/>
                    </a:moveTo>
                    <a:cubicBezTo>
                      <a:pt x="54944" y="0"/>
                      <a:pt x="0" y="55287"/>
                      <a:pt x="0" y="126725"/>
                    </a:cubicBezTo>
                    <a:cubicBezTo>
                      <a:pt x="0" y="198163"/>
                      <a:pt x="54915" y="253936"/>
                      <a:pt x="125896" y="253936"/>
                    </a:cubicBezTo>
                    <a:cubicBezTo>
                      <a:pt x="196877" y="253936"/>
                      <a:pt x="251792" y="198163"/>
                      <a:pt x="251792" y="126725"/>
                    </a:cubicBezTo>
                    <a:cubicBezTo>
                      <a:pt x="251792" y="55287"/>
                      <a:pt x="196877" y="0"/>
                      <a:pt x="125896" y="0"/>
                    </a:cubicBezTo>
                    <a:close/>
                    <a:moveTo>
                      <a:pt x="126153" y="188558"/>
                    </a:moveTo>
                    <a:cubicBezTo>
                      <a:pt x="91506" y="188558"/>
                      <a:pt x="65378" y="160314"/>
                      <a:pt x="65378" y="126725"/>
                    </a:cubicBezTo>
                    <a:cubicBezTo>
                      <a:pt x="65378" y="93136"/>
                      <a:pt x="91506" y="65378"/>
                      <a:pt x="126153" y="65378"/>
                    </a:cubicBezTo>
                    <a:cubicBezTo>
                      <a:pt x="160801" y="65378"/>
                      <a:pt x="186443" y="93136"/>
                      <a:pt x="186443" y="126725"/>
                    </a:cubicBezTo>
                    <a:cubicBezTo>
                      <a:pt x="186443" y="160314"/>
                      <a:pt x="161315" y="188558"/>
                      <a:pt x="126153" y="188558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4AE3AF54-CF9A-3C6D-3E6C-E2D80283C4A1}"/>
                  </a:ext>
                </a:extLst>
              </p:cNvPr>
              <p:cNvSpPr/>
              <p:nvPr/>
            </p:nvSpPr>
            <p:spPr>
              <a:xfrm>
                <a:off x="9242171" y="3110092"/>
                <a:ext cx="68865" cy="243987"/>
              </a:xfrm>
              <a:custGeom>
                <a:avLst/>
                <a:gdLst>
                  <a:gd name="connsiteX0" fmla="*/ 62405 w 68865"/>
                  <a:gd name="connsiteY0" fmla="*/ 243987 h 243987"/>
                  <a:gd name="connsiteX1" fmla="*/ 6489 w 68865"/>
                  <a:gd name="connsiteY1" fmla="*/ 243987 h 243987"/>
                  <a:gd name="connsiteX2" fmla="*/ 0 w 68865"/>
                  <a:gd name="connsiteY2" fmla="*/ 237498 h 243987"/>
                  <a:gd name="connsiteX3" fmla="*/ 0 w 68865"/>
                  <a:gd name="connsiteY3" fmla="*/ 63891 h 243987"/>
                  <a:gd name="connsiteX4" fmla="*/ 3888 w 68865"/>
                  <a:gd name="connsiteY4" fmla="*/ 54629 h 243987"/>
                  <a:gd name="connsiteX5" fmla="*/ 57860 w 68865"/>
                  <a:gd name="connsiteY5" fmla="*/ 1858 h 243987"/>
                  <a:gd name="connsiteX6" fmla="*/ 68866 w 68865"/>
                  <a:gd name="connsiteY6" fmla="*/ 6489 h 243987"/>
                  <a:gd name="connsiteX7" fmla="*/ 68866 w 68865"/>
                  <a:gd name="connsiteY7" fmla="*/ 237498 h 243987"/>
                  <a:gd name="connsiteX8" fmla="*/ 62376 w 68865"/>
                  <a:gd name="connsiteY8" fmla="*/ 243987 h 243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8865" h="243987">
                    <a:moveTo>
                      <a:pt x="62405" y="243987"/>
                    </a:moveTo>
                    <a:lnTo>
                      <a:pt x="6489" y="243987"/>
                    </a:lnTo>
                    <a:cubicBezTo>
                      <a:pt x="2916" y="243987"/>
                      <a:pt x="0" y="241071"/>
                      <a:pt x="0" y="237498"/>
                    </a:cubicBezTo>
                    <a:lnTo>
                      <a:pt x="0" y="63891"/>
                    </a:lnTo>
                    <a:cubicBezTo>
                      <a:pt x="0" y="60403"/>
                      <a:pt x="1401" y="57059"/>
                      <a:pt x="3888" y="54629"/>
                    </a:cubicBezTo>
                    <a:lnTo>
                      <a:pt x="57860" y="1858"/>
                    </a:lnTo>
                    <a:cubicBezTo>
                      <a:pt x="61976" y="-2144"/>
                      <a:pt x="68866" y="743"/>
                      <a:pt x="68866" y="6489"/>
                    </a:cubicBezTo>
                    <a:lnTo>
                      <a:pt x="68866" y="237498"/>
                    </a:lnTo>
                    <a:cubicBezTo>
                      <a:pt x="68866" y="241071"/>
                      <a:pt x="65950" y="243987"/>
                      <a:pt x="62376" y="243987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19457B73-203A-77F5-DDD6-AE0FA59795DD}"/>
                  </a:ext>
                </a:extLst>
              </p:cNvPr>
              <p:cNvSpPr/>
              <p:nvPr/>
            </p:nvSpPr>
            <p:spPr>
              <a:xfrm>
                <a:off x="9347255" y="3105025"/>
                <a:ext cx="224777" cy="249082"/>
              </a:xfrm>
              <a:custGeom>
                <a:avLst/>
                <a:gdLst>
                  <a:gd name="connsiteX0" fmla="*/ 224749 w 224777"/>
                  <a:gd name="connsiteY0" fmla="*/ 87568 h 249082"/>
                  <a:gd name="connsiteX1" fmla="*/ 136416 w 224777"/>
                  <a:gd name="connsiteY1" fmla="*/ 6 h 249082"/>
                  <a:gd name="connsiteX2" fmla="*/ 68894 w 224777"/>
                  <a:gd name="connsiteY2" fmla="*/ 36540 h 249082"/>
                  <a:gd name="connsiteX3" fmla="*/ 68894 w 224777"/>
                  <a:gd name="connsiteY3" fmla="*/ 11670 h 249082"/>
                  <a:gd name="connsiteX4" fmla="*/ 62405 w 224777"/>
                  <a:gd name="connsiteY4" fmla="*/ 5181 h 249082"/>
                  <a:gd name="connsiteX5" fmla="*/ 6489 w 224777"/>
                  <a:gd name="connsiteY5" fmla="*/ 5181 h 249082"/>
                  <a:gd name="connsiteX6" fmla="*/ 0 w 224777"/>
                  <a:gd name="connsiteY6" fmla="*/ 11670 h 249082"/>
                  <a:gd name="connsiteX7" fmla="*/ 0 w 224777"/>
                  <a:gd name="connsiteY7" fmla="*/ 242565 h 249082"/>
                  <a:gd name="connsiteX8" fmla="*/ 6489 w 224777"/>
                  <a:gd name="connsiteY8" fmla="*/ 249054 h 249082"/>
                  <a:gd name="connsiteX9" fmla="*/ 62405 w 224777"/>
                  <a:gd name="connsiteY9" fmla="*/ 249054 h 249082"/>
                  <a:gd name="connsiteX10" fmla="*/ 68894 w 224777"/>
                  <a:gd name="connsiteY10" fmla="*/ 242565 h 249082"/>
                  <a:gd name="connsiteX11" fmla="*/ 68894 w 224777"/>
                  <a:gd name="connsiteY11" fmla="*/ 108293 h 249082"/>
                  <a:gd name="connsiteX12" fmla="*/ 112375 w 224777"/>
                  <a:gd name="connsiteY12" fmla="*/ 66385 h 249082"/>
                  <a:gd name="connsiteX13" fmla="*/ 155884 w 224777"/>
                  <a:gd name="connsiteY13" fmla="*/ 111266 h 249082"/>
                  <a:gd name="connsiteX14" fmla="*/ 155884 w 224777"/>
                  <a:gd name="connsiteY14" fmla="*/ 242593 h 249082"/>
                  <a:gd name="connsiteX15" fmla="*/ 162373 w 224777"/>
                  <a:gd name="connsiteY15" fmla="*/ 249083 h 249082"/>
                  <a:gd name="connsiteX16" fmla="*/ 218289 w 224777"/>
                  <a:gd name="connsiteY16" fmla="*/ 249083 h 249082"/>
                  <a:gd name="connsiteX17" fmla="*/ 224778 w 224777"/>
                  <a:gd name="connsiteY17" fmla="*/ 242593 h 249082"/>
                  <a:gd name="connsiteX18" fmla="*/ 224778 w 224777"/>
                  <a:gd name="connsiteY18" fmla="*/ 87596 h 249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4777" h="249082">
                    <a:moveTo>
                      <a:pt x="224749" y="87568"/>
                    </a:moveTo>
                    <a:cubicBezTo>
                      <a:pt x="224749" y="40257"/>
                      <a:pt x="185671" y="578"/>
                      <a:pt x="136416" y="6"/>
                    </a:cubicBezTo>
                    <a:cubicBezTo>
                      <a:pt x="104370" y="-365"/>
                      <a:pt x="82730" y="15329"/>
                      <a:pt x="68894" y="36540"/>
                    </a:cubicBezTo>
                    <a:lnTo>
                      <a:pt x="68894" y="11670"/>
                    </a:lnTo>
                    <a:cubicBezTo>
                      <a:pt x="68894" y="8097"/>
                      <a:pt x="65978" y="5181"/>
                      <a:pt x="62405" y="5181"/>
                    </a:cubicBezTo>
                    <a:lnTo>
                      <a:pt x="6489" y="5181"/>
                    </a:lnTo>
                    <a:cubicBezTo>
                      <a:pt x="2916" y="5181"/>
                      <a:pt x="0" y="8097"/>
                      <a:pt x="0" y="11670"/>
                    </a:cubicBezTo>
                    <a:lnTo>
                      <a:pt x="0" y="242565"/>
                    </a:lnTo>
                    <a:cubicBezTo>
                      <a:pt x="0" y="246138"/>
                      <a:pt x="2916" y="249054"/>
                      <a:pt x="6489" y="249054"/>
                    </a:cubicBezTo>
                    <a:lnTo>
                      <a:pt x="62405" y="249054"/>
                    </a:lnTo>
                    <a:cubicBezTo>
                      <a:pt x="65978" y="249054"/>
                      <a:pt x="68894" y="246138"/>
                      <a:pt x="68894" y="242565"/>
                    </a:cubicBezTo>
                    <a:lnTo>
                      <a:pt x="68894" y="108293"/>
                    </a:lnTo>
                    <a:cubicBezTo>
                      <a:pt x="70438" y="82451"/>
                      <a:pt x="86818" y="66385"/>
                      <a:pt x="112375" y="66385"/>
                    </a:cubicBezTo>
                    <a:cubicBezTo>
                      <a:pt x="137931" y="66385"/>
                      <a:pt x="155884" y="84423"/>
                      <a:pt x="155884" y="111266"/>
                    </a:cubicBezTo>
                    <a:lnTo>
                      <a:pt x="155884" y="242593"/>
                    </a:lnTo>
                    <a:cubicBezTo>
                      <a:pt x="155884" y="246167"/>
                      <a:pt x="158800" y="249083"/>
                      <a:pt x="162373" y="249083"/>
                    </a:cubicBezTo>
                    <a:lnTo>
                      <a:pt x="218289" y="249083"/>
                    </a:lnTo>
                    <a:cubicBezTo>
                      <a:pt x="221862" y="249083"/>
                      <a:pt x="224778" y="246167"/>
                      <a:pt x="224778" y="242593"/>
                    </a:cubicBezTo>
                    <a:lnTo>
                      <a:pt x="224778" y="87596"/>
                    </a:ln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55391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E0D33531-2BBD-4805-BC44-B7877BBDB4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8681" y="754902"/>
            <a:ext cx="9829471" cy="5556249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6113C630-36D9-7CAD-172C-B7F29876952E}"/>
              </a:ext>
            </a:extLst>
          </p:cNvPr>
          <p:cNvGrpSpPr/>
          <p:nvPr userDrawn="1"/>
        </p:nvGrpSpPr>
        <p:grpSpPr>
          <a:xfrm>
            <a:off x="11122821" y="6472473"/>
            <a:ext cx="799629" cy="166100"/>
            <a:chOff x="11122821" y="6472473"/>
            <a:chExt cx="799629" cy="166100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45B44D78-B97A-9BAA-009D-1139ECA9A47E}"/>
                </a:ext>
              </a:extLst>
            </p:cNvPr>
            <p:cNvSpPr/>
            <p:nvPr/>
          </p:nvSpPr>
          <p:spPr>
            <a:xfrm rot="18900000">
              <a:off x="11134957" y="6473485"/>
              <a:ext cx="35147" cy="35147"/>
            </a:xfrm>
            <a:custGeom>
              <a:avLst/>
              <a:gdLst>
                <a:gd name="connsiteX0" fmla="*/ 32044 w 35147"/>
                <a:gd name="connsiteY0" fmla="*/ 0 h 35147"/>
                <a:gd name="connsiteX1" fmla="*/ 35148 w 35147"/>
                <a:gd name="connsiteY1" fmla="*/ 3103 h 35147"/>
                <a:gd name="connsiteX2" fmla="*/ 35148 w 35147"/>
                <a:gd name="connsiteY2" fmla="*/ 32044 h 35147"/>
                <a:gd name="connsiteX3" fmla="*/ 32044 w 35147"/>
                <a:gd name="connsiteY3" fmla="*/ 35148 h 35147"/>
                <a:gd name="connsiteX4" fmla="*/ 3103 w 35147"/>
                <a:gd name="connsiteY4" fmla="*/ 35148 h 35147"/>
                <a:gd name="connsiteX5" fmla="*/ 0 w 35147"/>
                <a:gd name="connsiteY5" fmla="*/ 32044 h 35147"/>
                <a:gd name="connsiteX6" fmla="*/ 0 w 35147"/>
                <a:gd name="connsiteY6" fmla="*/ 3103 h 35147"/>
                <a:gd name="connsiteX7" fmla="*/ 3103 w 35147"/>
                <a:gd name="connsiteY7" fmla="*/ 0 h 35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147" h="35147">
                  <a:moveTo>
                    <a:pt x="32044" y="0"/>
                  </a:moveTo>
                  <a:cubicBezTo>
                    <a:pt x="33758" y="0"/>
                    <a:pt x="35148" y="1389"/>
                    <a:pt x="35148" y="3103"/>
                  </a:cubicBezTo>
                  <a:lnTo>
                    <a:pt x="35148" y="32044"/>
                  </a:lnTo>
                  <a:cubicBezTo>
                    <a:pt x="35148" y="33758"/>
                    <a:pt x="33758" y="35148"/>
                    <a:pt x="32044" y="35148"/>
                  </a:cubicBezTo>
                  <a:lnTo>
                    <a:pt x="3103" y="35148"/>
                  </a:lnTo>
                  <a:cubicBezTo>
                    <a:pt x="1389" y="35148"/>
                    <a:pt x="0" y="33758"/>
                    <a:pt x="0" y="32044"/>
                  </a:cubicBezTo>
                  <a:lnTo>
                    <a:pt x="0" y="3103"/>
                  </a:lnTo>
                  <a:cubicBezTo>
                    <a:pt x="0" y="1389"/>
                    <a:pt x="1389" y="0"/>
                    <a:pt x="3103" y="0"/>
                  </a:cubicBezTo>
                  <a:close/>
                </a:path>
              </a:pathLst>
            </a:custGeom>
            <a:solidFill>
              <a:srgbClr val="00BD4D"/>
            </a:solidFill>
            <a:ln w="135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6F53EF3A-82EE-2FA7-FF5D-E54497159C43}"/>
                </a:ext>
              </a:extLst>
            </p:cNvPr>
            <p:cNvGrpSpPr/>
            <p:nvPr/>
          </p:nvGrpSpPr>
          <p:grpSpPr>
            <a:xfrm>
              <a:off x="11122821" y="6472473"/>
              <a:ext cx="799629" cy="166100"/>
              <a:chOff x="11122821" y="6472473"/>
              <a:chExt cx="799629" cy="166100"/>
            </a:xfrm>
            <a:solidFill>
              <a:schemeClr val="bg1"/>
            </a:solidFill>
          </p:grpSpPr>
          <p:sp>
            <p:nvSpPr>
              <p:cNvPr id="7" name="Freeform: Shape 6">
                <a:extLst>
                  <a:ext uri="{FF2B5EF4-FFF2-40B4-BE49-F238E27FC236}">
                    <a16:creationId xmlns:a16="http://schemas.microsoft.com/office/drawing/2014/main" id="{E970DC5B-584B-150F-7DC1-42E4403BE9CF}"/>
                  </a:ext>
                </a:extLst>
              </p:cNvPr>
              <p:cNvSpPr/>
              <p:nvPr/>
            </p:nvSpPr>
            <p:spPr>
              <a:xfrm>
                <a:off x="11774281" y="6519597"/>
                <a:ext cx="119385" cy="116611"/>
              </a:xfrm>
              <a:custGeom>
                <a:avLst/>
                <a:gdLst>
                  <a:gd name="connsiteX0" fmla="*/ 82523 w 119385"/>
                  <a:gd name="connsiteY0" fmla="*/ 58306 h 116611"/>
                  <a:gd name="connsiteX1" fmla="*/ 118887 w 119385"/>
                  <a:gd name="connsiteY1" fmla="*/ 112265 h 116611"/>
                  <a:gd name="connsiteX2" fmla="*/ 116385 w 119385"/>
                  <a:gd name="connsiteY2" fmla="*/ 116612 h 116611"/>
                  <a:gd name="connsiteX3" fmla="*/ 85831 w 119385"/>
                  <a:gd name="connsiteY3" fmla="*/ 116612 h 116611"/>
                  <a:gd name="connsiteX4" fmla="*/ 80718 w 119385"/>
                  <a:gd name="connsiteY4" fmla="*/ 113919 h 116611"/>
                  <a:gd name="connsiteX5" fmla="*/ 59693 w 119385"/>
                  <a:gd name="connsiteY5" fmla="*/ 81751 h 116611"/>
                  <a:gd name="connsiteX6" fmla="*/ 38667 w 119385"/>
                  <a:gd name="connsiteY6" fmla="*/ 113919 h 116611"/>
                  <a:gd name="connsiteX7" fmla="*/ 33554 w 119385"/>
                  <a:gd name="connsiteY7" fmla="*/ 116612 h 116611"/>
                  <a:gd name="connsiteX8" fmla="*/ 3000 w 119385"/>
                  <a:gd name="connsiteY8" fmla="*/ 116612 h 116611"/>
                  <a:gd name="connsiteX9" fmla="*/ 498 w 119385"/>
                  <a:gd name="connsiteY9" fmla="*/ 112265 h 116611"/>
                  <a:gd name="connsiteX10" fmla="*/ 36753 w 119385"/>
                  <a:gd name="connsiteY10" fmla="*/ 58306 h 116611"/>
                  <a:gd name="connsiteX11" fmla="*/ 498 w 119385"/>
                  <a:gd name="connsiteY11" fmla="*/ 4347 h 116611"/>
                  <a:gd name="connsiteX12" fmla="*/ 3000 w 119385"/>
                  <a:gd name="connsiteY12" fmla="*/ 0 h 116611"/>
                  <a:gd name="connsiteX13" fmla="*/ 34853 w 119385"/>
                  <a:gd name="connsiteY13" fmla="*/ 0 h 116611"/>
                  <a:gd name="connsiteX14" fmla="*/ 37778 w 119385"/>
                  <a:gd name="connsiteY14" fmla="*/ 1449 h 116611"/>
                  <a:gd name="connsiteX15" fmla="*/ 59679 w 119385"/>
                  <a:gd name="connsiteY15" fmla="*/ 34806 h 116611"/>
                  <a:gd name="connsiteX16" fmla="*/ 80240 w 119385"/>
                  <a:gd name="connsiteY16" fmla="*/ 1463 h 116611"/>
                  <a:gd name="connsiteX17" fmla="*/ 83165 w 119385"/>
                  <a:gd name="connsiteY17" fmla="*/ 0 h 116611"/>
                  <a:gd name="connsiteX18" fmla="*/ 115333 w 119385"/>
                  <a:gd name="connsiteY18" fmla="*/ 0 h 116611"/>
                  <a:gd name="connsiteX19" fmla="*/ 117834 w 119385"/>
                  <a:gd name="connsiteY19" fmla="*/ 4334 h 116611"/>
                  <a:gd name="connsiteX20" fmla="*/ 82495 w 119385"/>
                  <a:gd name="connsiteY20" fmla="*/ 58306 h 116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19385" h="116611">
                    <a:moveTo>
                      <a:pt x="82523" y="58306"/>
                    </a:moveTo>
                    <a:lnTo>
                      <a:pt x="118887" y="112265"/>
                    </a:lnTo>
                    <a:cubicBezTo>
                      <a:pt x="120199" y="114124"/>
                      <a:pt x="118764" y="116612"/>
                      <a:pt x="116385" y="116612"/>
                    </a:cubicBezTo>
                    <a:lnTo>
                      <a:pt x="85831" y="116612"/>
                    </a:lnTo>
                    <a:cubicBezTo>
                      <a:pt x="83794" y="116612"/>
                      <a:pt x="81880" y="115600"/>
                      <a:pt x="80718" y="113919"/>
                    </a:cubicBezTo>
                    <a:lnTo>
                      <a:pt x="59693" y="81751"/>
                    </a:lnTo>
                    <a:lnTo>
                      <a:pt x="38667" y="113919"/>
                    </a:lnTo>
                    <a:cubicBezTo>
                      <a:pt x="37505" y="115600"/>
                      <a:pt x="35605" y="116612"/>
                      <a:pt x="33554" y="116612"/>
                    </a:cubicBezTo>
                    <a:lnTo>
                      <a:pt x="3000" y="116612"/>
                    </a:lnTo>
                    <a:cubicBezTo>
                      <a:pt x="621" y="116612"/>
                      <a:pt x="-814" y="114138"/>
                      <a:pt x="498" y="112265"/>
                    </a:cubicBezTo>
                    <a:lnTo>
                      <a:pt x="36753" y="58306"/>
                    </a:lnTo>
                    <a:lnTo>
                      <a:pt x="498" y="4347"/>
                    </a:lnTo>
                    <a:cubicBezTo>
                      <a:pt x="-814" y="2488"/>
                      <a:pt x="621" y="0"/>
                      <a:pt x="3000" y="0"/>
                    </a:cubicBezTo>
                    <a:lnTo>
                      <a:pt x="34853" y="0"/>
                    </a:lnTo>
                    <a:cubicBezTo>
                      <a:pt x="36042" y="0"/>
                      <a:pt x="37149" y="547"/>
                      <a:pt x="37778" y="1449"/>
                    </a:cubicBezTo>
                    <a:lnTo>
                      <a:pt x="59679" y="34806"/>
                    </a:lnTo>
                    <a:lnTo>
                      <a:pt x="80240" y="1463"/>
                    </a:lnTo>
                    <a:cubicBezTo>
                      <a:pt x="80855" y="561"/>
                      <a:pt x="81976" y="0"/>
                      <a:pt x="83165" y="0"/>
                    </a:cubicBezTo>
                    <a:lnTo>
                      <a:pt x="115333" y="0"/>
                    </a:lnTo>
                    <a:cubicBezTo>
                      <a:pt x="117711" y="0"/>
                      <a:pt x="119133" y="2474"/>
                      <a:pt x="117834" y="4334"/>
                    </a:cubicBezTo>
                    <a:lnTo>
                      <a:pt x="82495" y="58306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" name="Freeform: Shape 7">
                <a:extLst>
                  <a:ext uri="{FF2B5EF4-FFF2-40B4-BE49-F238E27FC236}">
                    <a16:creationId xmlns:a16="http://schemas.microsoft.com/office/drawing/2014/main" id="{31843E05-C424-F9C6-B74F-114721938A6C}"/>
                  </a:ext>
                </a:extLst>
              </p:cNvPr>
              <p:cNvSpPr/>
              <p:nvPr/>
            </p:nvSpPr>
            <p:spPr>
              <a:xfrm>
                <a:off x="11284928" y="6472473"/>
                <a:ext cx="78825" cy="163762"/>
              </a:xfrm>
              <a:custGeom>
                <a:avLst/>
                <a:gdLst>
                  <a:gd name="connsiteX0" fmla="*/ 75722 w 78825"/>
                  <a:gd name="connsiteY0" fmla="*/ 14 h 163762"/>
                  <a:gd name="connsiteX1" fmla="*/ 50377 w 78825"/>
                  <a:gd name="connsiteY1" fmla="*/ 14 h 163762"/>
                  <a:gd name="connsiteX2" fmla="*/ 43801 w 78825"/>
                  <a:gd name="connsiteY2" fmla="*/ 2734 h 163762"/>
                  <a:gd name="connsiteX3" fmla="*/ 19987 w 78825"/>
                  <a:gd name="connsiteY3" fmla="*/ 26549 h 163762"/>
                  <a:gd name="connsiteX4" fmla="*/ 17266 w 78825"/>
                  <a:gd name="connsiteY4" fmla="*/ 33124 h 163762"/>
                  <a:gd name="connsiteX5" fmla="*/ 17266 w 78825"/>
                  <a:gd name="connsiteY5" fmla="*/ 51867 h 163762"/>
                  <a:gd name="connsiteX6" fmla="*/ 3049 w 78825"/>
                  <a:gd name="connsiteY6" fmla="*/ 51867 h 163762"/>
                  <a:gd name="connsiteX7" fmla="*/ 0 w 78825"/>
                  <a:gd name="connsiteY7" fmla="*/ 54916 h 163762"/>
                  <a:gd name="connsiteX8" fmla="*/ 0 w 78825"/>
                  <a:gd name="connsiteY8" fmla="*/ 75955 h 163762"/>
                  <a:gd name="connsiteX9" fmla="*/ 3049 w 78825"/>
                  <a:gd name="connsiteY9" fmla="*/ 79004 h 163762"/>
                  <a:gd name="connsiteX10" fmla="*/ 17266 w 78825"/>
                  <a:gd name="connsiteY10" fmla="*/ 79004 h 163762"/>
                  <a:gd name="connsiteX11" fmla="*/ 17266 w 78825"/>
                  <a:gd name="connsiteY11" fmla="*/ 160659 h 163762"/>
                  <a:gd name="connsiteX12" fmla="*/ 20369 w 78825"/>
                  <a:gd name="connsiteY12" fmla="*/ 163763 h 163762"/>
                  <a:gd name="connsiteX13" fmla="*/ 47109 w 78825"/>
                  <a:gd name="connsiteY13" fmla="*/ 163763 h 163762"/>
                  <a:gd name="connsiteX14" fmla="*/ 50213 w 78825"/>
                  <a:gd name="connsiteY14" fmla="*/ 160659 h 163762"/>
                  <a:gd name="connsiteX15" fmla="*/ 50213 w 78825"/>
                  <a:gd name="connsiteY15" fmla="*/ 78990 h 163762"/>
                  <a:gd name="connsiteX16" fmla="*/ 71443 w 78825"/>
                  <a:gd name="connsiteY16" fmla="*/ 78990 h 163762"/>
                  <a:gd name="connsiteX17" fmla="*/ 74492 w 78825"/>
                  <a:gd name="connsiteY17" fmla="*/ 75941 h 163762"/>
                  <a:gd name="connsiteX18" fmla="*/ 74492 w 78825"/>
                  <a:gd name="connsiteY18" fmla="*/ 54902 h 163762"/>
                  <a:gd name="connsiteX19" fmla="*/ 71443 w 78825"/>
                  <a:gd name="connsiteY19" fmla="*/ 51853 h 163762"/>
                  <a:gd name="connsiteX20" fmla="*/ 50213 w 78825"/>
                  <a:gd name="connsiteY20" fmla="*/ 51853 h 163762"/>
                  <a:gd name="connsiteX21" fmla="*/ 50213 w 78825"/>
                  <a:gd name="connsiteY21" fmla="*/ 38565 h 163762"/>
                  <a:gd name="connsiteX22" fmla="*/ 59509 w 78825"/>
                  <a:gd name="connsiteY22" fmla="*/ 29269 h 163762"/>
                  <a:gd name="connsiteX23" fmla="*/ 75722 w 78825"/>
                  <a:gd name="connsiteY23" fmla="*/ 29269 h 163762"/>
                  <a:gd name="connsiteX24" fmla="*/ 78826 w 78825"/>
                  <a:gd name="connsiteY24" fmla="*/ 26166 h 163762"/>
                  <a:gd name="connsiteX25" fmla="*/ 78826 w 78825"/>
                  <a:gd name="connsiteY25" fmla="*/ 3103 h 163762"/>
                  <a:gd name="connsiteX26" fmla="*/ 75722 w 78825"/>
                  <a:gd name="connsiteY26" fmla="*/ 0 h 163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78825" h="163762">
                    <a:moveTo>
                      <a:pt x="75722" y="14"/>
                    </a:moveTo>
                    <a:lnTo>
                      <a:pt x="50377" y="14"/>
                    </a:lnTo>
                    <a:cubicBezTo>
                      <a:pt x="47916" y="14"/>
                      <a:pt x="45551" y="998"/>
                      <a:pt x="43801" y="2734"/>
                    </a:cubicBezTo>
                    <a:lnTo>
                      <a:pt x="19987" y="26549"/>
                    </a:lnTo>
                    <a:cubicBezTo>
                      <a:pt x="18237" y="28299"/>
                      <a:pt x="17266" y="30664"/>
                      <a:pt x="17266" y="33124"/>
                    </a:cubicBezTo>
                    <a:lnTo>
                      <a:pt x="17266" y="51867"/>
                    </a:lnTo>
                    <a:lnTo>
                      <a:pt x="3049" y="51867"/>
                    </a:lnTo>
                    <a:cubicBezTo>
                      <a:pt x="1367" y="51867"/>
                      <a:pt x="0" y="53234"/>
                      <a:pt x="0" y="54916"/>
                    </a:cubicBezTo>
                    <a:lnTo>
                      <a:pt x="0" y="75955"/>
                    </a:lnTo>
                    <a:cubicBezTo>
                      <a:pt x="0" y="77636"/>
                      <a:pt x="1367" y="79004"/>
                      <a:pt x="3049" y="79004"/>
                    </a:cubicBezTo>
                    <a:lnTo>
                      <a:pt x="17266" y="79004"/>
                    </a:lnTo>
                    <a:lnTo>
                      <a:pt x="17266" y="160659"/>
                    </a:lnTo>
                    <a:cubicBezTo>
                      <a:pt x="17266" y="162368"/>
                      <a:pt x="18661" y="163763"/>
                      <a:pt x="20369" y="163763"/>
                    </a:cubicBezTo>
                    <a:lnTo>
                      <a:pt x="47109" y="163763"/>
                    </a:lnTo>
                    <a:cubicBezTo>
                      <a:pt x="48818" y="163763"/>
                      <a:pt x="50213" y="162368"/>
                      <a:pt x="50213" y="160659"/>
                    </a:cubicBezTo>
                    <a:lnTo>
                      <a:pt x="50213" y="78990"/>
                    </a:lnTo>
                    <a:lnTo>
                      <a:pt x="71443" y="78990"/>
                    </a:lnTo>
                    <a:cubicBezTo>
                      <a:pt x="73125" y="78990"/>
                      <a:pt x="74492" y="77623"/>
                      <a:pt x="74492" y="75941"/>
                    </a:cubicBezTo>
                    <a:lnTo>
                      <a:pt x="74492" y="54902"/>
                    </a:lnTo>
                    <a:cubicBezTo>
                      <a:pt x="74492" y="53220"/>
                      <a:pt x="73125" y="51853"/>
                      <a:pt x="71443" y="51853"/>
                    </a:cubicBezTo>
                    <a:lnTo>
                      <a:pt x="50213" y="51853"/>
                    </a:lnTo>
                    <a:lnTo>
                      <a:pt x="50213" y="38565"/>
                    </a:lnTo>
                    <a:cubicBezTo>
                      <a:pt x="50213" y="33425"/>
                      <a:pt x="54382" y="29269"/>
                      <a:pt x="59509" y="29269"/>
                    </a:cubicBezTo>
                    <a:lnTo>
                      <a:pt x="75722" y="29269"/>
                    </a:lnTo>
                    <a:cubicBezTo>
                      <a:pt x="77431" y="29269"/>
                      <a:pt x="78826" y="27875"/>
                      <a:pt x="78826" y="26166"/>
                    </a:cubicBezTo>
                    <a:lnTo>
                      <a:pt x="78826" y="3103"/>
                    </a:lnTo>
                    <a:cubicBezTo>
                      <a:pt x="78826" y="1394"/>
                      <a:pt x="77431" y="0"/>
                      <a:pt x="75722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751C4D4A-CB74-742B-F3F8-2ED80086C118}"/>
                  </a:ext>
                </a:extLst>
              </p:cNvPr>
              <p:cNvSpPr/>
              <p:nvPr/>
            </p:nvSpPr>
            <p:spPr>
              <a:xfrm>
                <a:off x="11896791" y="6612367"/>
                <a:ext cx="25659" cy="25660"/>
              </a:xfrm>
              <a:custGeom>
                <a:avLst/>
                <a:gdLst>
                  <a:gd name="connsiteX0" fmla="*/ 25660 w 25659"/>
                  <a:gd name="connsiteY0" fmla="*/ 12810 h 25660"/>
                  <a:gd name="connsiteX1" fmla="*/ 12782 w 25659"/>
                  <a:gd name="connsiteY1" fmla="*/ 25660 h 25660"/>
                  <a:gd name="connsiteX2" fmla="*/ 0 w 25659"/>
                  <a:gd name="connsiteY2" fmla="*/ 12810 h 25660"/>
                  <a:gd name="connsiteX3" fmla="*/ 12823 w 25659"/>
                  <a:gd name="connsiteY3" fmla="*/ 0 h 25660"/>
                  <a:gd name="connsiteX4" fmla="*/ 25646 w 25659"/>
                  <a:gd name="connsiteY4" fmla="*/ 12810 h 25660"/>
                  <a:gd name="connsiteX5" fmla="*/ 23691 w 25659"/>
                  <a:gd name="connsiteY5" fmla="*/ 12864 h 25660"/>
                  <a:gd name="connsiteX6" fmla="*/ 12837 w 25659"/>
                  <a:gd name="connsiteY6" fmla="*/ 1832 h 25660"/>
                  <a:gd name="connsiteX7" fmla="*/ 1982 w 25659"/>
                  <a:gd name="connsiteY7" fmla="*/ 12851 h 25660"/>
                  <a:gd name="connsiteX8" fmla="*/ 12782 w 25659"/>
                  <a:gd name="connsiteY8" fmla="*/ 23856 h 25660"/>
                  <a:gd name="connsiteX9" fmla="*/ 23691 w 25659"/>
                  <a:gd name="connsiteY9" fmla="*/ 12864 h 25660"/>
                  <a:gd name="connsiteX10" fmla="*/ 15585 w 25659"/>
                  <a:gd name="connsiteY10" fmla="*/ 14888 h 25660"/>
                  <a:gd name="connsiteX11" fmla="*/ 18811 w 25659"/>
                  <a:gd name="connsiteY11" fmla="*/ 19905 h 25660"/>
                  <a:gd name="connsiteX12" fmla="*/ 16678 w 25659"/>
                  <a:gd name="connsiteY12" fmla="*/ 19905 h 25660"/>
                  <a:gd name="connsiteX13" fmla="*/ 13097 w 25659"/>
                  <a:gd name="connsiteY13" fmla="*/ 14218 h 25660"/>
                  <a:gd name="connsiteX14" fmla="*/ 9829 w 25659"/>
                  <a:gd name="connsiteY14" fmla="*/ 14218 h 25660"/>
                  <a:gd name="connsiteX15" fmla="*/ 9829 w 25659"/>
                  <a:gd name="connsiteY15" fmla="*/ 19905 h 25660"/>
                  <a:gd name="connsiteX16" fmla="*/ 8038 w 25659"/>
                  <a:gd name="connsiteY16" fmla="*/ 19905 h 25660"/>
                  <a:gd name="connsiteX17" fmla="*/ 8038 w 25659"/>
                  <a:gd name="connsiteY17" fmla="*/ 5523 h 25660"/>
                  <a:gd name="connsiteX18" fmla="*/ 13616 w 25659"/>
                  <a:gd name="connsiteY18" fmla="*/ 5523 h 25660"/>
                  <a:gd name="connsiteX19" fmla="*/ 18155 w 25659"/>
                  <a:gd name="connsiteY19" fmla="*/ 9761 h 25660"/>
                  <a:gd name="connsiteX20" fmla="*/ 14887 w 25659"/>
                  <a:gd name="connsiteY20" fmla="*/ 13917 h 25660"/>
                  <a:gd name="connsiteX21" fmla="*/ 15585 w 25659"/>
                  <a:gd name="connsiteY21" fmla="*/ 14901 h 25660"/>
                  <a:gd name="connsiteX22" fmla="*/ 13015 w 25659"/>
                  <a:gd name="connsiteY22" fmla="*/ 12522 h 25660"/>
                  <a:gd name="connsiteX23" fmla="*/ 16282 w 25659"/>
                  <a:gd name="connsiteY23" fmla="*/ 9870 h 25660"/>
                  <a:gd name="connsiteX24" fmla="*/ 13657 w 25659"/>
                  <a:gd name="connsiteY24" fmla="*/ 7191 h 25660"/>
                  <a:gd name="connsiteX25" fmla="*/ 9816 w 25659"/>
                  <a:gd name="connsiteY25" fmla="*/ 7191 h 25660"/>
                  <a:gd name="connsiteX26" fmla="*/ 9816 w 25659"/>
                  <a:gd name="connsiteY26" fmla="*/ 12509 h 25660"/>
                  <a:gd name="connsiteX27" fmla="*/ 13015 w 25659"/>
                  <a:gd name="connsiteY27" fmla="*/ 12509 h 25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25659" h="25660">
                    <a:moveTo>
                      <a:pt x="25660" y="12810"/>
                    </a:moveTo>
                    <a:cubicBezTo>
                      <a:pt x="25660" y="19946"/>
                      <a:pt x="19946" y="25660"/>
                      <a:pt x="12782" y="25660"/>
                    </a:cubicBezTo>
                    <a:cubicBezTo>
                      <a:pt x="5619" y="25660"/>
                      <a:pt x="0" y="19891"/>
                      <a:pt x="0" y="12810"/>
                    </a:cubicBezTo>
                    <a:cubicBezTo>
                      <a:pt x="0" y="5728"/>
                      <a:pt x="5714" y="0"/>
                      <a:pt x="12823" y="0"/>
                    </a:cubicBezTo>
                    <a:cubicBezTo>
                      <a:pt x="19932" y="0"/>
                      <a:pt x="25646" y="5687"/>
                      <a:pt x="25646" y="12810"/>
                    </a:cubicBezTo>
                    <a:close/>
                    <a:moveTo>
                      <a:pt x="23691" y="12864"/>
                    </a:moveTo>
                    <a:cubicBezTo>
                      <a:pt x="23691" y="6712"/>
                      <a:pt x="18838" y="1832"/>
                      <a:pt x="12837" y="1832"/>
                    </a:cubicBezTo>
                    <a:cubicBezTo>
                      <a:pt x="6835" y="1832"/>
                      <a:pt x="1982" y="6658"/>
                      <a:pt x="1982" y="12851"/>
                    </a:cubicBezTo>
                    <a:cubicBezTo>
                      <a:pt x="1982" y="19043"/>
                      <a:pt x="6890" y="23856"/>
                      <a:pt x="12782" y="23856"/>
                    </a:cubicBezTo>
                    <a:cubicBezTo>
                      <a:pt x="18674" y="23856"/>
                      <a:pt x="23691" y="19002"/>
                      <a:pt x="23691" y="12864"/>
                    </a:cubicBezTo>
                    <a:close/>
                    <a:moveTo>
                      <a:pt x="15585" y="14888"/>
                    </a:moveTo>
                    <a:lnTo>
                      <a:pt x="18811" y="19905"/>
                    </a:lnTo>
                    <a:lnTo>
                      <a:pt x="16678" y="19905"/>
                    </a:lnTo>
                    <a:lnTo>
                      <a:pt x="13097" y="14218"/>
                    </a:lnTo>
                    <a:lnTo>
                      <a:pt x="9829" y="14218"/>
                    </a:lnTo>
                    <a:lnTo>
                      <a:pt x="9829" y="19905"/>
                    </a:lnTo>
                    <a:lnTo>
                      <a:pt x="8038" y="19905"/>
                    </a:lnTo>
                    <a:lnTo>
                      <a:pt x="8038" y="5523"/>
                    </a:lnTo>
                    <a:lnTo>
                      <a:pt x="13616" y="5523"/>
                    </a:lnTo>
                    <a:cubicBezTo>
                      <a:pt x="16364" y="5523"/>
                      <a:pt x="18155" y="6999"/>
                      <a:pt x="18155" y="9761"/>
                    </a:cubicBezTo>
                    <a:cubicBezTo>
                      <a:pt x="18155" y="11989"/>
                      <a:pt x="16801" y="13370"/>
                      <a:pt x="14887" y="13917"/>
                    </a:cubicBezTo>
                    <a:cubicBezTo>
                      <a:pt x="15147" y="14204"/>
                      <a:pt x="15407" y="14559"/>
                      <a:pt x="15585" y="14901"/>
                    </a:cubicBezTo>
                    <a:close/>
                    <a:moveTo>
                      <a:pt x="13015" y="12522"/>
                    </a:moveTo>
                    <a:cubicBezTo>
                      <a:pt x="15038" y="12522"/>
                      <a:pt x="16282" y="11565"/>
                      <a:pt x="16282" y="9870"/>
                    </a:cubicBezTo>
                    <a:cubicBezTo>
                      <a:pt x="16282" y="8175"/>
                      <a:pt x="15421" y="7191"/>
                      <a:pt x="13657" y="7191"/>
                    </a:cubicBezTo>
                    <a:lnTo>
                      <a:pt x="9816" y="7191"/>
                    </a:lnTo>
                    <a:lnTo>
                      <a:pt x="9816" y="12509"/>
                    </a:lnTo>
                    <a:lnTo>
                      <a:pt x="13015" y="12509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027C7927-0C93-71CA-C86E-A777622F06B0}"/>
                  </a:ext>
                </a:extLst>
              </p:cNvPr>
              <p:cNvSpPr/>
              <p:nvPr/>
            </p:nvSpPr>
            <p:spPr>
              <a:xfrm>
                <a:off x="11620956" y="6472487"/>
                <a:ext cx="32932" cy="163721"/>
              </a:xfrm>
              <a:custGeom>
                <a:avLst/>
                <a:gdLst>
                  <a:gd name="connsiteX0" fmla="*/ 29830 w 32932"/>
                  <a:gd name="connsiteY0" fmla="*/ 0 h 163721"/>
                  <a:gd name="connsiteX1" fmla="*/ 32933 w 32932"/>
                  <a:gd name="connsiteY1" fmla="*/ 3103 h 163721"/>
                  <a:gd name="connsiteX2" fmla="*/ 32933 w 32932"/>
                  <a:gd name="connsiteY2" fmla="*/ 160618 h 163721"/>
                  <a:gd name="connsiteX3" fmla="*/ 29830 w 32932"/>
                  <a:gd name="connsiteY3" fmla="*/ 163722 h 163721"/>
                  <a:gd name="connsiteX4" fmla="*/ 3103 w 32932"/>
                  <a:gd name="connsiteY4" fmla="*/ 163722 h 163721"/>
                  <a:gd name="connsiteX5" fmla="*/ 0 w 32932"/>
                  <a:gd name="connsiteY5" fmla="*/ 160618 h 163721"/>
                  <a:gd name="connsiteX6" fmla="*/ 0 w 32932"/>
                  <a:gd name="connsiteY6" fmla="*/ 3103 h 163721"/>
                  <a:gd name="connsiteX7" fmla="*/ 3103 w 32932"/>
                  <a:gd name="connsiteY7" fmla="*/ 0 h 163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2932" h="163721">
                    <a:moveTo>
                      <a:pt x="29830" y="0"/>
                    </a:moveTo>
                    <a:cubicBezTo>
                      <a:pt x="31544" y="0"/>
                      <a:pt x="32933" y="1389"/>
                      <a:pt x="32933" y="3103"/>
                    </a:cubicBezTo>
                    <a:lnTo>
                      <a:pt x="32933" y="160618"/>
                    </a:lnTo>
                    <a:cubicBezTo>
                      <a:pt x="32933" y="162332"/>
                      <a:pt x="31543" y="163722"/>
                      <a:pt x="29830" y="163722"/>
                    </a:cubicBezTo>
                    <a:lnTo>
                      <a:pt x="3103" y="163722"/>
                    </a:lnTo>
                    <a:cubicBezTo>
                      <a:pt x="1389" y="163722"/>
                      <a:pt x="0" y="162332"/>
                      <a:pt x="0" y="160618"/>
                    </a:cubicBezTo>
                    <a:lnTo>
                      <a:pt x="0" y="3103"/>
                    </a:lnTo>
                    <a:cubicBezTo>
                      <a:pt x="0" y="1389"/>
                      <a:pt x="1389" y="0"/>
                      <a:pt x="3103" y="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BC443CA2-CD91-21CA-305A-5E0CC2700609}"/>
                  </a:ext>
                </a:extLst>
              </p:cNvPr>
              <p:cNvSpPr/>
              <p:nvPr/>
            </p:nvSpPr>
            <p:spPr>
              <a:xfrm>
                <a:off x="11488486" y="6472473"/>
                <a:ext cx="123638" cy="166086"/>
              </a:xfrm>
              <a:custGeom>
                <a:avLst/>
                <a:gdLst>
                  <a:gd name="connsiteX0" fmla="*/ 68737 w 123638"/>
                  <a:gd name="connsiteY0" fmla="*/ 44663 h 166086"/>
                  <a:gd name="connsiteX1" fmla="*/ 32947 w 123638"/>
                  <a:gd name="connsiteY1" fmla="*/ 62052 h 166086"/>
                  <a:gd name="connsiteX2" fmla="*/ 32947 w 123638"/>
                  <a:gd name="connsiteY2" fmla="*/ 3103 h 166086"/>
                  <a:gd name="connsiteX3" fmla="*/ 29843 w 123638"/>
                  <a:gd name="connsiteY3" fmla="*/ 0 h 166086"/>
                  <a:gd name="connsiteX4" fmla="*/ 3103 w 123638"/>
                  <a:gd name="connsiteY4" fmla="*/ 0 h 166086"/>
                  <a:gd name="connsiteX5" fmla="*/ 0 w 123638"/>
                  <a:gd name="connsiteY5" fmla="*/ 3103 h 166086"/>
                  <a:gd name="connsiteX6" fmla="*/ 0 w 123638"/>
                  <a:gd name="connsiteY6" fmla="*/ 160632 h 166086"/>
                  <a:gd name="connsiteX7" fmla="*/ 3103 w 123638"/>
                  <a:gd name="connsiteY7" fmla="*/ 163735 h 166086"/>
                  <a:gd name="connsiteX8" fmla="*/ 29843 w 123638"/>
                  <a:gd name="connsiteY8" fmla="*/ 163735 h 166086"/>
                  <a:gd name="connsiteX9" fmla="*/ 32947 w 123638"/>
                  <a:gd name="connsiteY9" fmla="*/ 160632 h 166086"/>
                  <a:gd name="connsiteX10" fmla="*/ 32947 w 123638"/>
                  <a:gd name="connsiteY10" fmla="*/ 149025 h 166086"/>
                  <a:gd name="connsiteX11" fmla="*/ 68983 w 123638"/>
                  <a:gd name="connsiteY11" fmla="*/ 166087 h 166086"/>
                  <a:gd name="connsiteX12" fmla="*/ 123638 w 123638"/>
                  <a:gd name="connsiteY12" fmla="*/ 105539 h 166086"/>
                  <a:gd name="connsiteX13" fmla="*/ 68750 w 123638"/>
                  <a:gd name="connsiteY13" fmla="*/ 44663 h 166086"/>
                  <a:gd name="connsiteX14" fmla="*/ 62188 w 123638"/>
                  <a:gd name="connsiteY14" fmla="*/ 135163 h 166086"/>
                  <a:gd name="connsiteX15" fmla="*/ 32947 w 123638"/>
                  <a:gd name="connsiteY15" fmla="*/ 105552 h 166086"/>
                  <a:gd name="connsiteX16" fmla="*/ 62188 w 123638"/>
                  <a:gd name="connsiteY16" fmla="*/ 76174 h 166086"/>
                  <a:gd name="connsiteX17" fmla="*/ 90965 w 123638"/>
                  <a:gd name="connsiteY17" fmla="*/ 105552 h 166086"/>
                  <a:gd name="connsiteX18" fmla="*/ 62188 w 123638"/>
                  <a:gd name="connsiteY18" fmla="*/ 135163 h 166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23638" h="166086">
                    <a:moveTo>
                      <a:pt x="68737" y="44663"/>
                    </a:moveTo>
                    <a:cubicBezTo>
                      <a:pt x="53535" y="44663"/>
                      <a:pt x="40889" y="51252"/>
                      <a:pt x="32947" y="62052"/>
                    </a:cubicBezTo>
                    <a:lnTo>
                      <a:pt x="32947" y="3103"/>
                    </a:lnTo>
                    <a:cubicBezTo>
                      <a:pt x="32947" y="1394"/>
                      <a:pt x="31552" y="0"/>
                      <a:pt x="29843" y="0"/>
                    </a:cubicBezTo>
                    <a:lnTo>
                      <a:pt x="3103" y="0"/>
                    </a:lnTo>
                    <a:cubicBezTo>
                      <a:pt x="1394" y="0"/>
                      <a:pt x="0" y="1394"/>
                      <a:pt x="0" y="3103"/>
                    </a:cubicBezTo>
                    <a:lnTo>
                      <a:pt x="0" y="160632"/>
                    </a:lnTo>
                    <a:cubicBezTo>
                      <a:pt x="0" y="162341"/>
                      <a:pt x="1394" y="163735"/>
                      <a:pt x="3103" y="163735"/>
                    </a:cubicBezTo>
                    <a:lnTo>
                      <a:pt x="29843" y="163735"/>
                    </a:lnTo>
                    <a:cubicBezTo>
                      <a:pt x="31552" y="163735"/>
                      <a:pt x="32947" y="162341"/>
                      <a:pt x="32947" y="160632"/>
                    </a:cubicBezTo>
                    <a:lnTo>
                      <a:pt x="32947" y="149025"/>
                    </a:lnTo>
                    <a:cubicBezTo>
                      <a:pt x="40903" y="159839"/>
                      <a:pt x="53535" y="166087"/>
                      <a:pt x="68983" y="166087"/>
                    </a:cubicBezTo>
                    <a:cubicBezTo>
                      <a:pt x="101505" y="166087"/>
                      <a:pt x="123638" y="139852"/>
                      <a:pt x="123638" y="105539"/>
                    </a:cubicBezTo>
                    <a:cubicBezTo>
                      <a:pt x="123638" y="71225"/>
                      <a:pt x="101505" y="44663"/>
                      <a:pt x="68750" y="44663"/>
                    </a:cubicBezTo>
                    <a:close/>
                    <a:moveTo>
                      <a:pt x="62188" y="135163"/>
                    </a:moveTo>
                    <a:cubicBezTo>
                      <a:pt x="45346" y="135163"/>
                      <a:pt x="32947" y="121533"/>
                      <a:pt x="32947" y="105552"/>
                    </a:cubicBezTo>
                    <a:cubicBezTo>
                      <a:pt x="32947" y="89571"/>
                      <a:pt x="45346" y="76174"/>
                      <a:pt x="62188" y="76174"/>
                    </a:cubicBezTo>
                    <a:cubicBezTo>
                      <a:pt x="79031" y="76174"/>
                      <a:pt x="90965" y="89571"/>
                      <a:pt x="90965" y="105552"/>
                    </a:cubicBezTo>
                    <a:cubicBezTo>
                      <a:pt x="90965" y="121533"/>
                      <a:pt x="78798" y="135163"/>
                      <a:pt x="62188" y="13516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0A4149B2-761D-D0D1-4A72-950146DA66BE}"/>
                  </a:ext>
                </a:extLst>
              </p:cNvPr>
              <p:cNvSpPr/>
              <p:nvPr/>
            </p:nvSpPr>
            <p:spPr>
              <a:xfrm>
                <a:off x="11359421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99CC81D2-784D-7650-F157-24C6DD9CA8FE}"/>
                  </a:ext>
                </a:extLst>
              </p:cNvPr>
              <p:cNvSpPr/>
              <p:nvPr/>
            </p:nvSpPr>
            <p:spPr>
              <a:xfrm>
                <a:off x="11662542" y="6517136"/>
                <a:ext cx="120412" cy="121437"/>
              </a:xfrm>
              <a:custGeom>
                <a:avLst/>
                <a:gdLst>
                  <a:gd name="connsiteX0" fmla="*/ 60206 w 120412"/>
                  <a:gd name="connsiteY0" fmla="*/ 0 h 121437"/>
                  <a:gd name="connsiteX1" fmla="*/ 0 w 120412"/>
                  <a:gd name="connsiteY1" fmla="*/ 60603 h 121437"/>
                  <a:gd name="connsiteX2" fmla="*/ 60206 w 120412"/>
                  <a:gd name="connsiteY2" fmla="*/ 121438 h 121437"/>
                  <a:gd name="connsiteX3" fmla="*/ 120412 w 120412"/>
                  <a:gd name="connsiteY3" fmla="*/ 60603 h 121437"/>
                  <a:gd name="connsiteX4" fmla="*/ 60206 w 120412"/>
                  <a:gd name="connsiteY4" fmla="*/ 0 h 121437"/>
                  <a:gd name="connsiteX5" fmla="*/ 60329 w 120412"/>
                  <a:gd name="connsiteY5" fmla="*/ 90173 h 121437"/>
                  <a:gd name="connsiteX6" fmla="*/ 31265 w 120412"/>
                  <a:gd name="connsiteY6" fmla="*/ 60603 h 121437"/>
                  <a:gd name="connsiteX7" fmla="*/ 60329 w 120412"/>
                  <a:gd name="connsiteY7" fmla="*/ 31265 h 121437"/>
                  <a:gd name="connsiteX8" fmla="*/ 89161 w 120412"/>
                  <a:gd name="connsiteY8" fmla="*/ 60603 h 121437"/>
                  <a:gd name="connsiteX9" fmla="*/ 60329 w 120412"/>
                  <a:gd name="connsiteY9" fmla="*/ 90173 h 12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412" h="121437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0B1C4471-A601-4EC2-4C40-0E8AB8325549}"/>
                  </a:ext>
                </a:extLst>
              </p:cNvPr>
              <p:cNvSpPr/>
              <p:nvPr/>
            </p:nvSpPr>
            <p:spPr>
              <a:xfrm>
                <a:off x="11122821" y="6519528"/>
                <a:ext cx="32932" cy="116680"/>
              </a:xfrm>
              <a:custGeom>
                <a:avLst/>
                <a:gdLst>
                  <a:gd name="connsiteX0" fmla="*/ 29843 w 32932"/>
                  <a:gd name="connsiteY0" fmla="*/ 116680 h 116680"/>
                  <a:gd name="connsiteX1" fmla="*/ 3103 w 32932"/>
                  <a:gd name="connsiteY1" fmla="*/ 116680 h 116680"/>
                  <a:gd name="connsiteX2" fmla="*/ 0 w 32932"/>
                  <a:gd name="connsiteY2" fmla="*/ 113577 h 116680"/>
                  <a:gd name="connsiteX3" fmla="*/ 0 w 32932"/>
                  <a:gd name="connsiteY3" fmla="*/ 30554 h 116680"/>
                  <a:gd name="connsiteX4" fmla="*/ 1859 w 32932"/>
                  <a:gd name="connsiteY4" fmla="*/ 26125 h 116680"/>
                  <a:gd name="connsiteX5" fmla="*/ 27670 w 32932"/>
                  <a:gd name="connsiteY5" fmla="*/ 888 h 116680"/>
                  <a:gd name="connsiteX6" fmla="*/ 32933 w 32932"/>
                  <a:gd name="connsiteY6" fmla="*/ 3103 h 116680"/>
                  <a:gd name="connsiteX7" fmla="*/ 32933 w 32932"/>
                  <a:gd name="connsiteY7" fmla="*/ 113577 h 116680"/>
                  <a:gd name="connsiteX8" fmla="*/ 29830 w 32932"/>
                  <a:gd name="connsiteY8" fmla="*/ 116680 h 116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932" h="116680">
                    <a:moveTo>
                      <a:pt x="29843" y="116680"/>
                    </a:moveTo>
                    <a:lnTo>
                      <a:pt x="3103" y="116680"/>
                    </a:lnTo>
                    <a:cubicBezTo>
                      <a:pt x="1394" y="116680"/>
                      <a:pt x="0" y="115286"/>
                      <a:pt x="0" y="113577"/>
                    </a:cubicBezTo>
                    <a:lnTo>
                      <a:pt x="0" y="30554"/>
                    </a:lnTo>
                    <a:cubicBezTo>
                      <a:pt x="0" y="28886"/>
                      <a:pt x="670" y="27287"/>
                      <a:pt x="1859" y="26125"/>
                    </a:cubicBezTo>
                    <a:lnTo>
                      <a:pt x="27670" y="888"/>
                    </a:lnTo>
                    <a:cubicBezTo>
                      <a:pt x="29638" y="-1026"/>
                      <a:pt x="32933" y="355"/>
                      <a:pt x="32933" y="3103"/>
                    </a:cubicBezTo>
                    <a:lnTo>
                      <a:pt x="32933" y="113577"/>
                    </a:lnTo>
                    <a:cubicBezTo>
                      <a:pt x="32933" y="115286"/>
                      <a:pt x="31538" y="116680"/>
                      <a:pt x="29830" y="116680"/>
                    </a:cubicBez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4987DD2C-2011-299F-9DA6-EE4F132A6E50}"/>
                  </a:ext>
                </a:extLst>
              </p:cNvPr>
              <p:cNvSpPr/>
              <p:nvPr/>
            </p:nvSpPr>
            <p:spPr>
              <a:xfrm>
                <a:off x="11173074" y="6517105"/>
                <a:ext cx="107493" cy="119116"/>
              </a:xfrm>
              <a:custGeom>
                <a:avLst/>
                <a:gdLst>
                  <a:gd name="connsiteX0" fmla="*/ 107480 w 107493"/>
                  <a:gd name="connsiteY0" fmla="*/ 41877 h 119116"/>
                  <a:gd name="connsiteX1" fmla="*/ 65237 w 107493"/>
                  <a:gd name="connsiteY1" fmla="*/ 3 h 119116"/>
                  <a:gd name="connsiteX2" fmla="*/ 32947 w 107493"/>
                  <a:gd name="connsiteY2" fmla="*/ 17474 h 119116"/>
                  <a:gd name="connsiteX3" fmla="*/ 32947 w 107493"/>
                  <a:gd name="connsiteY3" fmla="*/ 5581 h 119116"/>
                  <a:gd name="connsiteX4" fmla="*/ 29843 w 107493"/>
                  <a:gd name="connsiteY4" fmla="*/ 2478 h 119116"/>
                  <a:gd name="connsiteX5" fmla="*/ 3103 w 107493"/>
                  <a:gd name="connsiteY5" fmla="*/ 2478 h 119116"/>
                  <a:gd name="connsiteX6" fmla="*/ 0 w 107493"/>
                  <a:gd name="connsiteY6" fmla="*/ 5581 h 119116"/>
                  <a:gd name="connsiteX7" fmla="*/ 0 w 107493"/>
                  <a:gd name="connsiteY7" fmla="*/ 116000 h 119116"/>
                  <a:gd name="connsiteX8" fmla="*/ 3103 w 107493"/>
                  <a:gd name="connsiteY8" fmla="*/ 119103 h 119116"/>
                  <a:gd name="connsiteX9" fmla="*/ 29843 w 107493"/>
                  <a:gd name="connsiteY9" fmla="*/ 119103 h 119116"/>
                  <a:gd name="connsiteX10" fmla="*/ 32947 w 107493"/>
                  <a:gd name="connsiteY10" fmla="*/ 116000 h 119116"/>
                  <a:gd name="connsiteX11" fmla="*/ 32947 w 107493"/>
                  <a:gd name="connsiteY11" fmla="*/ 51788 h 119116"/>
                  <a:gd name="connsiteX12" fmla="*/ 53740 w 107493"/>
                  <a:gd name="connsiteY12" fmla="*/ 31747 h 119116"/>
                  <a:gd name="connsiteX13" fmla="*/ 74547 w 107493"/>
                  <a:gd name="connsiteY13" fmla="*/ 53210 h 119116"/>
                  <a:gd name="connsiteX14" fmla="*/ 74547 w 107493"/>
                  <a:gd name="connsiteY14" fmla="*/ 116014 h 119116"/>
                  <a:gd name="connsiteX15" fmla="*/ 77650 w 107493"/>
                  <a:gd name="connsiteY15" fmla="*/ 119117 h 119116"/>
                  <a:gd name="connsiteX16" fmla="*/ 104390 w 107493"/>
                  <a:gd name="connsiteY16" fmla="*/ 119117 h 119116"/>
                  <a:gd name="connsiteX17" fmla="*/ 107493 w 107493"/>
                  <a:gd name="connsiteY17" fmla="*/ 116014 h 119116"/>
                  <a:gd name="connsiteX18" fmla="*/ 107493 w 107493"/>
                  <a:gd name="connsiteY18" fmla="*/ 41890 h 119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7493" h="119116">
                    <a:moveTo>
                      <a:pt x="107480" y="41877"/>
                    </a:moveTo>
                    <a:cubicBezTo>
                      <a:pt x="107480" y="19252"/>
                      <a:pt x="88792" y="277"/>
                      <a:pt x="65237" y="3"/>
                    </a:cubicBezTo>
                    <a:cubicBezTo>
                      <a:pt x="49912" y="-175"/>
                      <a:pt x="39563" y="7331"/>
                      <a:pt x="32947" y="17474"/>
                    </a:cubicBezTo>
                    <a:lnTo>
                      <a:pt x="32947" y="5581"/>
                    </a:lnTo>
                    <a:cubicBezTo>
                      <a:pt x="32947" y="3872"/>
                      <a:pt x="31552" y="2478"/>
                      <a:pt x="29843" y="2478"/>
                    </a:cubicBezTo>
                    <a:lnTo>
                      <a:pt x="3103" y="2478"/>
                    </a:lnTo>
                    <a:cubicBezTo>
                      <a:pt x="1394" y="2478"/>
                      <a:pt x="0" y="3872"/>
                      <a:pt x="0" y="5581"/>
                    </a:cubicBezTo>
                    <a:lnTo>
                      <a:pt x="0" y="116000"/>
                    </a:lnTo>
                    <a:cubicBezTo>
                      <a:pt x="0" y="117709"/>
                      <a:pt x="1394" y="119103"/>
                      <a:pt x="3103" y="119103"/>
                    </a:cubicBezTo>
                    <a:lnTo>
                      <a:pt x="29843" y="119103"/>
                    </a:lnTo>
                    <a:cubicBezTo>
                      <a:pt x="31552" y="119103"/>
                      <a:pt x="32947" y="117709"/>
                      <a:pt x="32947" y="116000"/>
                    </a:cubicBezTo>
                    <a:lnTo>
                      <a:pt x="32947" y="51788"/>
                    </a:lnTo>
                    <a:cubicBezTo>
                      <a:pt x="33685" y="39430"/>
                      <a:pt x="41518" y="31747"/>
                      <a:pt x="53740" y="31747"/>
                    </a:cubicBezTo>
                    <a:cubicBezTo>
                      <a:pt x="65961" y="31747"/>
                      <a:pt x="74547" y="40373"/>
                      <a:pt x="74547" y="53210"/>
                    </a:cubicBezTo>
                    <a:lnTo>
                      <a:pt x="74547" y="116014"/>
                    </a:lnTo>
                    <a:cubicBezTo>
                      <a:pt x="74547" y="117722"/>
                      <a:pt x="75941" y="119117"/>
                      <a:pt x="77650" y="119117"/>
                    </a:cubicBezTo>
                    <a:lnTo>
                      <a:pt x="104390" y="119117"/>
                    </a:lnTo>
                    <a:cubicBezTo>
                      <a:pt x="106099" y="119117"/>
                      <a:pt x="107493" y="117722"/>
                      <a:pt x="107493" y="116014"/>
                    </a:cubicBezTo>
                    <a:lnTo>
                      <a:pt x="107493" y="41890"/>
                    </a:lnTo>
                    <a:close/>
                  </a:path>
                </a:pathLst>
              </a:custGeom>
              <a:grpFill/>
              <a:ln w="13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EBFF722D-D508-F92E-51AA-5936AEE2E0B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9596" y="2115594"/>
            <a:ext cx="2585545" cy="215160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B5C3865-ED5B-9EAB-BCB8-D40670AE8986}"/>
              </a:ext>
            </a:extLst>
          </p:cNvPr>
          <p:cNvSpPr txBox="1"/>
          <p:nvPr userDrawn="1"/>
        </p:nvSpPr>
        <p:spPr>
          <a:xfrm>
            <a:off x="4553355" y="4267201"/>
            <a:ext cx="25855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spc="300">
                <a:solidFill>
                  <a:srgbClr val="00BD4D"/>
                </a:solidFill>
                <a:latin typeface="Lato" panose="020F0502020204030203" pitchFamily="34" charset="77"/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3890096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bg>
      <p:bgPr>
        <a:solidFill>
          <a:srgbClr val="D9E1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raphic 8">
            <a:extLst>
              <a:ext uri="{FF2B5EF4-FFF2-40B4-BE49-F238E27FC236}">
                <a16:creationId xmlns:a16="http://schemas.microsoft.com/office/drawing/2014/main" id="{3D80FB7B-74A3-6A81-4C33-C398C6B43519}"/>
              </a:ext>
            </a:extLst>
          </p:cNvPr>
          <p:cNvSpPr/>
          <p:nvPr userDrawn="1"/>
        </p:nvSpPr>
        <p:spPr>
          <a:xfrm>
            <a:off x="5303305" y="863296"/>
            <a:ext cx="5244562" cy="5244562"/>
          </a:xfrm>
          <a:custGeom>
            <a:avLst/>
            <a:gdLst>
              <a:gd name="connsiteX0" fmla="*/ 3985217 w 4062497"/>
              <a:gd name="connsiteY0" fmla="*/ 1844654 h 4062497"/>
              <a:gd name="connsiteX1" fmla="*/ 2217844 w 4062497"/>
              <a:gd name="connsiteY1" fmla="*/ 77281 h 4062497"/>
              <a:gd name="connsiteX2" fmla="*/ 1844654 w 4062497"/>
              <a:gd name="connsiteY2" fmla="*/ 77281 h 4062497"/>
              <a:gd name="connsiteX3" fmla="*/ 77281 w 4062497"/>
              <a:gd name="connsiteY3" fmla="*/ 1844654 h 4062497"/>
              <a:gd name="connsiteX4" fmla="*/ 77281 w 4062497"/>
              <a:gd name="connsiteY4" fmla="*/ 2217844 h 4062497"/>
              <a:gd name="connsiteX5" fmla="*/ 1844654 w 4062497"/>
              <a:gd name="connsiteY5" fmla="*/ 3985217 h 4062497"/>
              <a:gd name="connsiteX6" fmla="*/ 2217844 w 4062497"/>
              <a:gd name="connsiteY6" fmla="*/ 3985217 h 4062497"/>
              <a:gd name="connsiteX7" fmla="*/ 3985217 w 4062497"/>
              <a:gd name="connsiteY7" fmla="*/ 2217844 h 4062497"/>
              <a:gd name="connsiteX8" fmla="*/ 3985217 w 4062497"/>
              <a:gd name="connsiteY8" fmla="*/ 1844654 h 4062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2497" h="4062497">
                <a:moveTo>
                  <a:pt x="3985217" y="1844654"/>
                </a:moveTo>
                <a:lnTo>
                  <a:pt x="2217844" y="77281"/>
                </a:lnTo>
                <a:cubicBezTo>
                  <a:pt x="2114803" y="-25760"/>
                  <a:pt x="1947695" y="-25760"/>
                  <a:pt x="1844654" y="77281"/>
                </a:cubicBezTo>
                <a:lnTo>
                  <a:pt x="77281" y="1844654"/>
                </a:lnTo>
                <a:cubicBezTo>
                  <a:pt x="-25760" y="1947695"/>
                  <a:pt x="-25760" y="2114803"/>
                  <a:pt x="77281" y="2217844"/>
                </a:cubicBezTo>
                <a:lnTo>
                  <a:pt x="1844654" y="3985217"/>
                </a:lnTo>
                <a:cubicBezTo>
                  <a:pt x="1947695" y="4088258"/>
                  <a:pt x="2114803" y="4088258"/>
                  <a:pt x="2217844" y="3985217"/>
                </a:cubicBezTo>
                <a:lnTo>
                  <a:pt x="3985217" y="2217844"/>
                </a:lnTo>
                <a:cubicBezTo>
                  <a:pt x="4088258" y="2114803"/>
                  <a:pt x="4088258" y="1947695"/>
                  <a:pt x="3985217" y="1844654"/>
                </a:cubicBezTo>
                <a:close/>
              </a:path>
            </a:pathLst>
          </a:custGeom>
          <a:gradFill>
            <a:gsLst>
              <a:gs pos="12000">
                <a:schemeClr val="bg1">
                  <a:alpha val="17000"/>
                </a:schemeClr>
              </a:gs>
              <a:gs pos="74000">
                <a:schemeClr val="bg1">
                  <a:alpha val="0"/>
                </a:schemeClr>
              </a:gs>
            </a:gsLst>
            <a:lin ang="8100000" scaled="1"/>
          </a:gradFill>
          <a:ln w="685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43E1E3EA-36ED-CF88-5DB7-165D3BB88523}"/>
              </a:ext>
            </a:extLst>
          </p:cNvPr>
          <p:cNvGrpSpPr/>
          <p:nvPr userDrawn="1"/>
        </p:nvGrpSpPr>
        <p:grpSpPr>
          <a:xfrm>
            <a:off x="7798966" y="3075980"/>
            <a:ext cx="3234036" cy="671772"/>
            <a:chOff x="733434" y="876300"/>
            <a:chExt cx="2455606" cy="510077"/>
          </a:xfrm>
        </p:grpSpPr>
        <p:sp>
          <p:nvSpPr>
            <p:cNvPr id="45" name="Freeform: Shape 29">
              <a:extLst>
                <a:ext uri="{FF2B5EF4-FFF2-40B4-BE49-F238E27FC236}">
                  <a16:creationId xmlns:a16="http://schemas.microsoft.com/office/drawing/2014/main" id="{3990BC49-765F-A5D3-A280-7B9AF3CE094A}"/>
                </a:ext>
              </a:extLst>
            </p:cNvPr>
            <p:cNvSpPr/>
            <p:nvPr/>
          </p:nvSpPr>
          <p:spPr>
            <a:xfrm rot="18900000">
              <a:off x="770705" y="879406"/>
              <a:ext cx="107935" cy="107935"/>
            </a:xfrm>
            <a:custGeom>
              <a:avLst/>
              <a:gdLst>
                <a:gd name="connsiteX0" fmla="*/ 67007 w 73496"/>
                <a:gd name="connsiteY0" fmla="*/ 0 h 73496"/>
                <a:gd name="connsiteX1" fmla="*/ 73497 w 73496"/>
                <a:gd name="connsiteY1" fmla="*/ 6489 h 73496"/>
                <a:gd name="connsiteX2" fmla="*/ 73497 w 73496"/>
                <a:gd name="connsiteY2" fmla="*/ 67007 h 73496"/>
                <a:gd name="connsiteX3" fmla="*/ 67007 w 73496"/>
                <a:gd name="connsiteY3" fmla="*/ 73496 h 73496"/>
                <a:gd name="connsiteX4" fmla="*/ 6489 w 73496"/>
                <a:gd name="connsiteY4" fmla="*/ 73496 h 73496"/>
                <a:gd name="connsiteX5" fmla="*/ 0 w 73496"/>
                <a:gd name="connsiteY5" fmla="*/ 67007 h 73496"/>
                <a:gd name="connsiteX6" fmla="*/ 0 w 73496"/>
                <a:gd name="connsiteY6" fmla="*/ 6489 h 73496"/>
                <a:gd name="connsiteX7" fmla="*/ 6489 w 73496"/>
                <a:gd name="connsiteY7" fmla="*/ 0 h 73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496" h="73496">
                  <a:moveTo>
                    <a:pt x="67007" y="0"/>
                  </a:moveTo>
                  <a:cubicBezTo>
                    <a:pt x="70591" y="0"/>
                    <a:pt x="73497" y="2905"/>
                    <a:pt x="73497" y="6489"/>
                  </a:cubicBezTo>
                  <a:lnTo>
                    <a:pt x="73497" y="67007"/>
                  </a:lnTo>
                  <a:cubicBezTo>
                    <a:pt x="73497" y="70591"/>
                    <a:pt x="70591" y="73496"/>
                    <a:pt x="67007" y="73496"/>
                  </a:cubicBezTo>
                  <a:lnTo>
                    <a:pt x="6489" y="73496"/>
                  </a:lnTo>
                  <a:cubicBezTo>
                    <a:pt x="2905" y="73496"/>
                    <a:pt x="0" y="70591"/>
                    <a:pt x="0" y="67007"/>
                  </a:cubicBezTo>
                  <a:lnTo>
                    <a:pt x="0" y="6489"/>
                  </a:lnTo>
                  <a:cubicBezTo>
                    <a:pt x="0" y="2905"/>
                    <a:pt x="2905" y="0"/>
                    <a:pt x="6489" y="0"/>
                  </a:cubicBezTo>
                  <a:close/>
                </a:path>
              </a:pathLst>
            </a:custGeom>
            <a:solidFill>
              <a:srgbClr val="00BD4D"/>
            </a:solidFill>
            <a:ln w="284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="0" i="0" dirty="0">
                <a:latin typeface="Lato" panose="020F0502020204030203" pitchFamily="34" charset="77"/>
              </a:endParaRPr>
            </a:p>
          </p:txBody>
        </p: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2C33A6CD-A13B-2BE1-1F18-C57724B6D6D3}"/>
                </a:ext>
              </a:extLst>
            </p:cNvPr>
            <p:cNvGrpSpPr/>
            <p:nvPr/>
          </p:nvGrpSpPr>
          <p:grpSpPr>
            <a:xfrm>
              <a:off x="733434" y="876300"/>
              <a:ext cx="2455606" cy="510077"/>
              <a:chOff x="9242171" y="3011696"/>
              <a:chExt cx="1672097" cy="347327"/>
            </a:xfrm>
            <a:solidFill>
              <a:schemeClr val="tx1"/>
            </a:solidFill>
          </p:grpSpPr>
          <p:sp>
            <p:nvSpPr>
              <p:cNvPr id="47" name="Freeform: Shape 31">
                <a:extLst>
                  <a:ext uri="{FF2B5EF4-FFF2-40B4-BE49-F238E27FC236}">
                    <a16:creationId xmlns:a16="http://schemas.microsoft.com/office/drawing/2014/main" id="{1FA7BC52-54AE-2FD8-3D84-CC595A053B86}"/>
                  </a:ext>
                </a:extLst>
              </p:cNvPr>
              <p:cNvSpPr/>
              <p:nvPr/>
            </p:nvSpPr>
            <p:spPr>
              <a:xfrm>
                <a:off x="10604432" y="3110234"/>
                <a:ext cx="249644" cy="243844"/>
              </a:xfrm>
              <a:custGeom>
                <a:avLst/>
                <a:gdLst>
                  <a:gd name="connsiteX0" fmla="*/ 172562 w 249644"/>
                  <a:gd name="connsiteY0" fmla="*/ 121922 h 243844"/>
                  <a:gd name="connsiteX1" fmla="*/ 248603 w 249644"/>
                  <a:gd name="connsiteY1" fmla="*/ 234754 h 243844"/>
                  <a:gd name="connsiteX2" fmla="*/ 243372 w 249644"/>
                  <a:gd name="connsiteY2" fmla="*/ 243845 h 243844"/>
                  <a:gd name="connsiteX3" fmla="*/ 179480 w 249644"/>
                  <a:gd name="connsiteY3" fmla="*/ 243845 h 243844"/>
                  <a:gd name="connsiteX4" fmla="*/ 168789 w 249644"/>
                  <a:gd name="connsiteY4" fmla="*/ 238213 h 243844"/>
                  <a:gd name="connsiteX5" fmla="*/ 124822 w 249644"/>
                  <a:gd name="connsiteY5" fmla="*/ 170949 h 243844"/>
                  <a:gd name="connsiteX6" fmla="*/ 80856 w 249644"/>
                  <a:gd name="connsiteY6" fmla="*/ 238213 h 243844"/>
                  <a:gd name="connsiteX7" fmla="*/ 70164 w 249644"/>
                  <a:gd name="connsiteY7" fmla="*/ 243845 h 243844"/>
                  <a:gd name="connsiteX8" fmla="*/ 6273 w 249644"/>
                  <a:gd name="connsiteY8" fmla="*/ 243845 h 243844"/>
                  <a:gd name="connsiteX9" fmla="*/ 1042 w 249644"/>
                  <a:gd name="connsiteY9" fmla="*/ 234754 h 243844"/>
                  <a:gd name="connsiteX10" fmla="*/ 76854 w 249644"/>
                  <a:gd name="connsiteY10" fmla="*/ 121922 h 243844"/>
                  <a:gd name="connsiteX11" fmla="*/ 1042 w 249644"/>
                  <a:gd name="connsiteY11" fmla="*/ 9091 h 243844"/>
                  <a:gd name="connsiteX12" fmla="*/ 6273 w 249644"/>
                  <a:gd name="connsiteY12" fmla="*/ 0 h 243844"/>
                  <a:gd name="connsiteX13" fmla="*/ 72880 w 249644"/>
                  <a:gd name="connsiteY13" fmla="*/ 0 h 243844"/>
                  <a:gd name="connsiteX14" fmla="*/ 78998 w 249644"/>
                  <a:gd name="connsiteY14" fmla="*/ 3030 h 243844"/>
                  <a:gd name="connsiteX15" fmla="*/ 124794 w 249644"/>
                  <a:gd name="connsiteY15" fmla="*/ 72782 h 243844"/>
                  <a:gd name="connsiteX16" fmla="*/ 167788 w 249644"/>
                  <a:gd name="connsiteY16" fmla="*/ 3059 h 243844"/>
                  <a:gd name="connsiteX17" fmla="*/ 173906 w 249644"/>
                  <a:gd name="connsiteY17" fmla="*/ 0 h 243844"/>
                  <a:gd name="connsiteX18" fmla="*/ 241171 w 249644"/>
                  <a:gd name="connsiteY18" fmla="*/ 0 h 243844"/>
                  <a:gd name="connsiteX19" fmla="*/ 246402 w 249644"/>
                  <a:gd name="connsiteY19" fmla="*/ 9062 h 243844"/>
                  <a:gd name="connsiteX20" fmla="*/ 172505 w 249644"/>
                  <a:gd name="connsiteY20" fmla="*/ 121922 h 243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49644" h="243844">
                    <a:moveTo>
                      <a:pt x="172562" y="121922"/>
                    </a:moveTo>
                    <a:lnTo>
                      <a:pt x="248603" y="234754"/>
                    </a:lnTo>
                    <a:cubicBezTo>
                      <a:pt x="251347" y="238642"/>
                      <a:pt x="248346" y="243845"/>
                      <a:pt x="243372" y="243845"/>
                    </a:cubicBezTo>
                    <a:lnTo>
                      <a:pt x="179480" y="243845"/>
                    </a:lnTo>
                    <a:cubicBezTo>
                      <a:pt x="175221" y="243845"/>
                      <a:pt x="171219" y="241729"/>
                      <a:pt x="168789" y="238213"/>
                    </a:cubicBezTo>
                    <a:lnTo>
                      <a:pt x="124822" y="170949"/>
                    </a:lnTo>
                    <a:lnTo>
                      <a:pt x="80856" y="238213"/>
                    </a:lnTo>
                    <a:cubicBezTo>
                      <a:pt x="78426" y="241729"/>
                      <a:pt x="74452" y="243845"/>
                      <a:pt x="70164" y="243845"/>
                    </a:cubicBezTo>
                    <a:lnTo>
                      <a:pt x="6273" y="243845"/>
                    </a:lnTo>
                    <a:cubicBezTo>
                      <a:pt x="1299" y="243845"/>
                      <a:pt x="-1703" y="238671"/>
                      <a:pt x="1042" y="234754"/>
                    </a:cubicBezTo>
                    <a:lnTo>
                      <a:pt x="76854" y="121922"/>
                    </a:lnTo>
                    <a:lnTo>
                      <a:pt x="1042" y="9091"/>
                    </a:lnTo>
                    <a:cubicBezTo>
                      <a:pt x="-1703" y="5203"/>
                      <a:pt x="1299" y="0"/>
                      <a:pt x="6273" y="0"/>
                    </a:cubicBezTo>
                    <a:lnTo>
                      <a:pt x="72880" y="0"/>
                    </a:lnTo>
                    <a:cubicBezTo>
                      <a:pt x="75367" y="0"/>
                      <a:pt x="77683" y="1143"/>
                      <a:pt x="78998" y="3030"/>
                    </a:cubicBezTo>
                    <a:lnTo>
                      <a:pt x="124794" y="72782"/>
                    </a:lnTo>
                    <a:lnTo>
                      <a:pt x="167788" y="3059"/>
                    </a:lnTo>
                    <a:cubicBezTo>
                      <a:pt x="169075" y="1172"/>
                      <a:pt x="171419" y="0"/>
                      <a:pt x="173906" y="0"/>
                    </a:cubicBezTo>
                    <a:lnTo>
                      <a:pt x="241171" y="0"/>
                    </a:lnTo>
                    <a:cubicBezTo>
                      <a:pt x="246145" y="0"/>
                      <a:pt x="249118" y="5174"/>
                      <a:pt x="246402" y="9062"/>
                    </a:cubicBezTo>
                    <a:lnTo>
                      <a:pt x="172505" y="121922"/>
                    </a:ln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48" name="Freeform: Shape 32">
                <a:extLst>
                  <a:ext uri="{FF2B5EF4-FFF2-40B4-BE49-F238E27FC236}">
                    <a16:creationId xmlns:a16="http://schemas.microsoft.com/office/drawing/2014/main" id="{308ACE89-B33B-745C-6CA0-0C20B519E95A}"/>
                  </a:ext>
                </a:extLst>
              </p:cNvPr>
              <p:cNvSpPr/>
              <p:nvPr/>
            </p:nvSpPr>
            <p:spPr>
              <a:xfrm>
                <a:off x="9581152" y="3011696"/>
                <a:ext cx="164831" cy="342440"/>
              </a:xfrm>
              <a:custGeom>
                <a:avLst/>
                <a:gdLst>
                  <a:gd name="connsiteX0" fmla="*/ 158342 w 164831"/>
                  <a:gd name="connsiteY0" fmla="*/ 29 h 342440"/>
                  <a:gd name="connsiteX1" fmla="*/ 105342 w 164831"/>
                  <a:gd name="connsiteY1" fmla="*/ 29 h 342440"/>
                  <a:gd name="connsiteX2" fmla="*/ 91592 w 164831"/>
                  <a:gd name="connsiteY2" fmla="*/ 5717 h 342440"/>
                  <a:gd name="connsiteX3" fmla="*/ 41794 w 164831"/>
                  <a:gd name="connsiteY3" fmla="*/ 55515 h 342440"/>
                  <a:gd name="connsiteX4" fmla="*/ 36105 w 164831"/>
                  <a:gd name="connsiteY4" fmla="*/ 69266 h 342440"/>
                  <a:gd name="connsiteX5" fmla="*/ 36105 w 164831"/>
                  <a:gd name="connsiteY5" fmla="*/ 108458 h 342440"/>
                  <a:gd name="connsiteX6" fmla="*/ 6375 w 164831"/>
                  <a:gd name="connsiteY6" fmla="*/ 108458 h 342440"/>
                  <a:gd name="connsiteX7" fmla="*/ 0 w 164831"/>
                  <a:gd name="connsiteY7" fmla="*/ 114833 h 342440"/>
                  <a:gd name="connsiteX8" fmla="*/ 0 w 164831"/>
                  <a:gd name="connsiteY8" fmla="*/ 158828 h 342440"/>
                  <a:gd name="connsiteX9" fmla="*/ 6375 w 164831"/>
                  <a:gd name="connsiteY9" fmla="*/ 165203 h 342440"/>
                  <a:gd name="connsiteX10" fmla="*/ 36105 w 164831"/>
                  <a:gd name="connsiteY10" fmla="*/ 165203 h 342440"/>
                  <a:gd name="connsiteX11" fmla="*/ 36105 w 164831"/>
                  <a:gd name="connsiteY11" fmla="*/ 335951 h 342440"/>
                  <a:gd name="connsiteX12" fmla="*/ 42594 w 164831"/>
                  <a:gd name="connsiteY12" fmla="*/ 342440 h 342440"/>
                  <a:gd name="connsiteX13" fmla="*/ 98510 w 164831"/>
                  <a:gd name="connsiteY13" fmla="*/ 342440 h 342440"/>
                  <a:gd name="connsiteX14" fmla="*/ 104999 w 164831"/>
                  <a:gd name="connsiteY14" fmla="*/ 335951 h 342440"/>
                  <a:gd name="connsiteX15" fmla="*/ 104999 w 164831"/>
                  <a:gd name="connsiteY15" fmla="*/ 165174 h 342440"/>
                  <a:gd name="connsiteX16" fmla="*/ 149394 w 164831"/>
                  <a:gd name="connsiteY16" fmla="*/ 165174 h 342440"/>
                  <a:gd name="connsiteX17" fmla="*/ 155769 w 164831"/>
                  <a:gd name="connsiteY17" fmla="*/ 158799 h 342440"/>
                  <a:gd name="connsiteX18" fmla="*/ 155769 w 164831"/>
                  <a:gd name="connsiteY18" fmla="*/ 114804 h 342440"/>
                  <a:gd name="connsiteX19" fmla="*/ 149394 w 164831"/>
                  <a:gd name="connsiteY19" fmla="*/ 108429 h 342440"/>
                  <a:gd name="connsiteX20" fmla="*/ 104999 w 164831"/>
                  <a:gd name="connsiteY20" fmla="*/ 108429 h 342440"/>
                  <a:gd name="connsiteX21" fmla="*/ 104999 w 164831"/>
                  <a:gd name="connsiteY21" fmla="*/ 80643 h 342440"/>
                  <a:gd name="connsiteX22" fmla="*/ 124438 w 164831"/>
                  <a:gd name="connsiteY22" fmla="*/ 61204 h 342440"/>
                  <a:gd name="connsiteX23" fmla="*/ 158342 w 164831"/>
                  <a:gd name="connsiteY23" fmla="*/ 61204 h 342440"/>
                  <a:gd name="connsiteX24" fmla="*/ 164831 w 164831"/>
                  <a:gd name="connsiteY24" fmla="*/ 54715 h 342440"/>
                  <a:gd name="connsiteX25" fmla="*/ 164831 w 164831"/>
                  <a:gd name="connsiteY25" fmla="*/ 6489 h 342440"/>
                  <a:gd name="connsiteX26" fmla="*/ 158342 w 164831"/>
                  <a:gd name="connsiteY26" fmla="*/ 0 h 342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64831" h="342440">
                    <a:moveTo>
                      <a:pt x="158342" y="29"/>
                    </a:moveTo>
                    <a:lnTo>
                      <a:pt x="105342" y="29"/>
                    </a:lnTo>
                    <a:cubicBezTo>
                      <a:pt x="100197" y="29"/>
                      <a:pt x="95251" y="2087"/>
                      <a:pt x="91592" y="5717"/>
                    </a:cubicBezTo>
                    <a:lnTo>
                      <a:pt x="41794" y="55515"/>
                    </a:lnTo>
                    <a:cubicBezTo>
                      <a:pt x="38135" y="59175"/>
                      <a:pt x="36105" y="64120"/>
                      <a:pt x="36105" y="69266"/>
                    </a:cubicBezTo>
                    <a:lnTo>
                      <a:pt x="36105" y="108458"/>
                    </a:lnTo>
                    <a:lnTo>
                      <a:pt x="6375" y="108458"/>
                    </a:lnTo>
                    <a:cubicBezTo>
                      <a:pt x="2859" y="108458"/>
                      <a:pt x="0" y="111317"/>
                      <a:pt x="0" y="114833"/>
                    </a:cubicBezTo>
                    <a:lnTo>
                      <a:pt x="0" y="158828"/>
                    </a:lnTo>
                    <a:cubicBezTo>
                      <a:pt x="0" y="162344"/>
                      <a:pt x="2859" y="165203"/>
                      <a:pt x="6375" y="165203"/>
                    </a:cubicBezTo>
                    <a:lnTo>
                      <a:pt x="36105" y="165203"/>
                    </a:lnTo>
                    <a:lnTo>
                      <a:pt x="36105" y="335951"/>
                    </a:lnTo>
                    <a:cubicBezTo>
                      <a:pt x="36105" y="339524"/>
                      <a:pt x="39021" y="342440"/>
                      <a:pt x="42594" y="342440"/>
                    </a:cubicBezTo>
                    <a:lnTo>
                      <a:pt x="98510" y="342440"/>
                    </a:lnTo>
                    <a:cubicBezTo>
                      <a:pt x="102083" y="342440"/>
                      <a:pt x="104999" y="339524"/>
                      <a:pt x="104999" y="335951"/>
                    </a:cubicBezTo>
                    <a:lnTo>
                      <a:pt x="104999" y="165174"/>
                    </a:lnTo>
                    <a:lnTo>
                      <a:pt x="149394" y="165174"/>
                    </a:lnTo>
                    <a:cubicBezTo>
                      <a:pt x="152911" y="165174"/>
                      <a:pt x="155769" y="162315"/>
                      <a:pt x="155769" y="158799"/>
                    </a:cubicBezTo>
                    <a:lnTo>
                      <a:pt x="155769" y="114804"/>
                    </a:lnTo>
                    <a:cubicBezTo>
                      <a:pt x="155769" y="111288"/>
                      <a:pt x="152911" y="108429"/>
                      <a:pt x="149394" y="108429"/>
                    </a:cubicBezTo>
                    <a:lnTo>
                      <a:pt x="104999" y="108429"/>
                    </a:lnTo>
                    <a:lnTo>
                      <a:pt x="104999" y="80643"/>
                    </a:lnTo>
                    <a:cubicBezTo>
                      <a:pt x="104999" y="69895"/>
                      <a:pt x="113718" y="61204"/>
                      <a:pt x="124438" y="61204"/>
                    </a:cubicBezTo>
                    <a:lnTo>
                      <a:pt x="158342" y="61204"/>
                    </a:lnTo>
                    <a:cubicBezTo>
                      <a:pt x="161915" y="61204"/>
                      <a:pt x="164831" y="58288"/>
                      <a:pt x="164831" y="54715"/>
                    </a:cubicBezTo>
                    <a:lnTo>
                      <a:pt x="164831" y="6489"/>
                    </a:lnTo>
                    <a:cubicBezTo>
                      <a:pt x="164831" y="2916"/>
                      <a:pt x="161915" y="0"/>
                      <a:pt x="158342" y="0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49" name="Freeform: Shape 33">
                <a:extLst>
                  <a:ext uri="{FF2B5EF4-FFF2-40B4-BE49-F238E27FC236}">
                    <a16:creationId xmlns:a16="http://schemas.microsoft.com/office/drawing/2014/main" id="{1A9CCB0F-BD82-D7FF-8A43-032F0A9C4780}"/>
                  </a:ext>
                </a:extLst>
              </p:cNvPr>
              <p:cNvSpPr/>
              <p:nvPr/>
            </p:nvSpPr>
            <p:spPr>
              <a:xfrm>
                <a:off x="10860611" y="3304224"/>
                <a:ext cx="53657" cy="53657"/>
              </a:xfrm>
              <a:custGeom>
                <a:avLst/>
                <a:gdLst>
                  <a:gd name="connsiteX0" fmla="*/ 53657 w 53657"/>
                  <a:gd name="connsiteY0" fmla="*/ 26786 h 53657"/>
                  <a:gd name="connsiteX1" fmla="*/ 26729 w 53657"/>
                  <a:gd name="connsiteY1" fmla="*/ 53657 h 53657"/>
                  <a:gd name="connsiteX2" fmla="*/ 0 w 53657"/>
                  <a:gd name="connsiteY2" fmla="*/ 26786 h 53657"/>
                  <a:gd name="connsiteX3" fmla="*/ 26814 w 53657"/>
                  <a:gd name="connsiteY3" fmla="*/ 0 h 53657"/>
                  <a:gd name="connsiteX4" fmla="*/ 53629 w 53657"/>
                  <a:gd name="connsiteY4" fmla="*/ 26786 h 53657"/>
                  <a:gd name="connsiteX5" fmla="*/ 49541 w 53657"/>
                  <a:gd name="connsiteY5" fmla="*/ 26900 h 53657"/>
                  <a:gd name="connsiteX6" fmla="*/ 26843 w 53657"/>
                  <a:gd name="connsiteY6" fmla="*/ 3831 h 53657"/>
                  <a:gd name="connsiteX7" fmla="*/ 4145 w 53657"/>
                  <a:gd name="connsiteY7" fmla="*/ 26872 h 53657"/>
                  <a:gd name="connsiteX8" fmla="*/ 26729 w 53657"/>
                  <a:gd name="connsiteY8" fmla="*/ 49884 h 53657"/>
                  <a:gd name="connsiteX9" fmla="*/ 49541 w 53657"/>
                  <a:gd name="connsiteY9" fmla="*/ 26900 h 53657"/>
                  <a:gd name="connsiteX10" fmla="*/ 32589 w 53657"/>
                  <a:gd name="connsiteY10" fmla="*/ 31131 h 53657"/>
                  <a:gd name="connsiteX11" fmla="*/ 39335 w 53657"/>
                  <a:gd name="connsiteY11" fmla="*/ 41622 h 53657"/>
                  <a:gd name="connsiteX12" fmla="*/ 34876 w 53657"/>
                  <a:gd name="connsiteY12" fmla="*/ 41622 h 53657"/>
                  <a:gd name="connsiteX13" fmla="*/ 27386 w 53657"/>
                  <a:gd name="connsiteY13" fmla="*/ 29730 h 53657"/>
                  <a:gd name="connsiteX14" fmla="*/ 20554 w 53657"/>
                  <a:gd name="connsiteY14" fmla="*/ 29730 h 53657"/>
                  <a:gd name="connsiteX15" fmla="*/ 20554 w 53657"/>
                  <a:gd name="connsiteY15" fmla="*/ 41622 h 53657"/>
                  <a:gd name="connsiteX16" fmla="*/ 16809 w 53657"/>
                  <a:gd name="connsiteY16" fmla="*/ 41622 h 53657"/>
                  <a:gd name="connsiteX17" fmla="*/ 16809 w 53657"/>
                  <a:gd name="connsiteY17" fmla="*/ 11549 h 53657"/>
                  <a:gd name="connsiteX18" fmla="*/ 28472 w 53657"/>
                  <a:gd name="connsiteY18" fmla="*/ 11549 h 53657"/>
                  <a:gd name="connsiteX19" fmla="*/ 37963 w 53657"/>
                  <a:gd name="connsiteY19" fmla="*/ 20411 h 53657"/>
                  <a:gd name="connsiteX20" fmla="*/ 31131 w 53657"/>
                  <a:gd name="connsiteY20" fmla="*/ 29101 h 53657"/>
                  <a:gd name="connsiteX21" fmla="*/ 32589 w 53657"/>
                  <a:gd name="connsiteY21" fmla="*/ 31160 h 53657"/>
                  <a:gd name="connsiteX22" fmla="*/ 27214 w 53657"/>
                  <a:gd name="connsiteY22" fmla="*/ 26185 h 53657"/>
                  <a:gd name="connsiteX23" fmla="*/ 34047 w 53657"/>
                  <a:gd name="connsiteY23" fmla="*/ 20640 h 53657"/>
                  <a:gd name="connsiteX24" fmla="*/ 28558 w 53657"/>
                  <a:gd name="connsiteY24" fmla="*/ 15037 h 53657"/>
                  <a:gd name="connsiteX25" fmla="*/ 20525 w 53657"/>
                  <a:gd name="connsiteY25" fmla="*/ 15037 h 53657"/>
                  <a:gd name="connsiteX26" fmla="*/ 20525 w 53657"/>
                  <a:gd name="connsiteY26" fmla="*/ 26157 h 53657"/>
                  <a:gd name="connsiteX27" fmla="*/ 27214 w 53657"/>
                  <a:gd name="connsiteY27" fmla="*/ 26157 h 53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53657" h="53657">
                    <a:moveTo>
                      <a:pt x="53657" y="26786"/>
                    </a:moveTo>
                    <a:cubicBezTo>
                      <a:pt x="53657" y="41708"/>
                      <a:pt x="41708" y="53657"/>
                      <a:pt x="26729" y="53657"/>
                    </a:cubicBezTo>
                    <a:cubicBezTo>
                      <a:pt x="11749" y="53657"/>
                      <a:pt x="0" y="41594"/>
                      <a:pt x="0" y="26786"/>
                    </a:cubicBezTo>
                    <a:cubicBezTo>
                      <a:pt x="0" y="11978"/>
                      <a:pt x="11949" y="0"/>
                      <a:pt x="26814" y="0"/>
                    </a:cubicBezTo>
                    <a:cubicBezTo>
                      <a:pt x="41679" y="0"/>
                      <a:pt x="53629" y="11892"/>
                      <a:pt x="53629" y="26786"/>
                    </a:cubicBezTo>
                    <a:close/>
                    <a:moveTo>
                      <a:pt x="49541" y="26900"/>
                    </a:moveTo>
                    <a:cubicBezTo>
                      <a:pt x="49541" y="14036"/>
                      <a:pt x="39392" y="3831"/>
                      <a:pt x="26843" y="3831"/>
                    </a:cubicBezTo>
                    <a:cubicBezTo>
                      <a:pt x="14293" y="3831"/>
                      <a:pt x="4145" y="13922"/>
                      <a:pt x="4145" y="26872"/>
                    </a:cubicBezTo>
                    <a:cubicBezTo>
                      <a:pt x="4145" y="39821"/>
                      <a:pt x="14408" y="49884"/>
                      <a:pt x="26729" y="49884"/>
                    </a:cubicBezTo>
                    <a:cubicBezTo>
                      <a:pt x="39049" y="49884"/>
                      <a:pt x="49541" y="39736"/>
                      <a:pt x="49541" y="26900"/>
                    </a:cubicBezTo>
                    <a:close/>
                    <a:moveTo>
                      <a:pt x="32589" y="31131"/>
                    </a:moveTo>
                    <a:lnTo>
                      <a:pt x="39335" y="41622"/>
                    </a:lnTo>
                    <a:lnTo>
                      <a:pt x="34876" y="41622"/>
                    </a:lnTo>
                    <a:lnTo>
                      <a:pt x="27386" y="29730"/>
                    </a:lnTo>
                    <a:lnTo>
                      <a:pt x="20554" y="29730"/>
                    </a:lnTo>
                    <a:lnTo>
                      <a:pt x="20554" y="41622"/>
                    </a:lnTo>
                    <a:lnTo>
                      <a:pt x="16809" y="41622"/>
                    </a:lnTo>
                    <a:lnTo>
                      <a:pt x="16809" y="11549"/>
                    </a:lnTo>
                    <a:lnTo>
                      <a:pt x="28472" y="11549"/>
                    </a:lnTo>
                    <a:cubicBezTo>
                      <a:pt x="34218" y="11549"/>
                      <a:pt x="37963" y="14636"/>
                      <a:pt x="37963" y="20411"/>
                    </a:cubicBezTo>
                    <a:cubicBezTo>
                      <a:pt x="37963" y="25071"/>
                      <a:pt x="35133" y="27958"/>
                      <a:pt x="31131" y="29101"/>
                    </a:cubicBezTo>
                    <a:cubicBezTo>
                      <a:pt x="31674" y="29702"/>
                      <a:pt x="32217" y="30445"/>
                      <a:pt x="32589" y="31160"/>
                    </a:cubicBezTo>
                    <a:close/>
                    <a:moveTo>
                      <a:pt x="27214" y="26185"/>
                    </a:moveTo>
                    <a:cubicBezTo>
                      <a:pt x="31445" y="26185"/>
                      <a:pt x="34047" y="24184"/>
                      <a:pt x="34047" y="20640"/>
                    </a:cubicBezTo>
                    <a:cubicBezTo>
                      <a:pt x="34047" y="17095"/>
                      <a:pt x="32246" y="15037"/>
                      <a:pt x="28558" y="15037"/>
                    </a:cubicBezTo>
                    <a:lnTo>
                      <a:pt x="20525" y="15037"/>
                    </a:lnTo>
                    <a:lnTo>
                      <a:pt x="20525" y="26157"/>
                    </a:lnTo>
                    <a:lnTo>
                      <a:pt x="27214" y="26157"/>
                    </a:ln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50" name="Freeform: Shape 34">
                <a:extLst>
                  <a:ext uri="{FF2B5EF4-FFF2-40B4-BE49-F238E27FC236}">
                    <a16:creationId xmlns:a16="http://schemas.microsoft.com/office/drawing/2014/main" id="{7C7E58A0-E52D-D51A-CF35-D5240E03BF24}"/>
                  </a:ext>
                </a:extLst>
              </p:cNvPr>
              <p:cNvSpPr/>
              <p:nvPr/>
            </p:nvSpPr>
            <p:spPr>
              <a:xfrm>
                <a:off x="10283815" y="3011724"/>
                <a:ext cx="68865" cy="342354"/>
              </a:xfrm>
              <a:custGeom>
                <a:avLst/>
                <a:gdLst>
                  <a:gd name="connsiteX0" fmla="*/ 62376 w 68865"/>
                  <a:gd name="connsiteY0" fmla="*/ 0 h 342354"/>
                  <a:gd name="connsiteX1" fmla="*/ 68866 w 68865"/>
                  <a:gd name="connsiteY1" fmla="*/ 6489 h 342354"/>
                  <a:gd name="connsiteX2" fmla="*/ 68866 w 68865"/>
                  <a:gd name="connsiteY2" fmla="*/ 335865 h 342354"/>
                  <a:gd name="connsiteX3" fmla="*/ 62376 w 68865"/>
                  <a:gd name="connsiteY3" fmla="*/ 342355 h 342354"/>
                  <a:gd name="connsiteX4" fmla="*/ 6489 w 68865"/>
                  <a:gd name="connsiteY4" fmla="*/ 342355 h 342354"/>
                  <a:gd name="connsiteX5" fmla="*/ 0 w 68865"/>
                  <a:gd name="connsiteY5" fmla="*/ 335865 h 342354"/>
                  <a:gd name="connsiteX6" fmla="*/ 0 w 68865"/>
                  <a:gd name="connsiteY6" fmla="*/ 6489 h 342354"/>
                  <a:gd name="connsiteX7" fmla="*/ 6489 w 68865"/>
                  <a:gd name="connsiteY7" fmla="*/ 0 h 3423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8865" h="342354">
                    <a:moveTo>
                      <a:pt x="62376" y="0"/>
                    </a:moveTo>
                    <a:cubicBezTo>
                      <a:pt x="65960" y="0"/>
                      <a:pt x="68866" y="2905"/>
                      <a:pt x="68866" y="6489"/>
                    </a:cubicBezTo>
                    <a:lnTo>
                      <a:pt x="68866" y="335865"/>
                    </a:lnTo>
                    <a:cubicBezTo>
                      <a:pt x="68866" y="339449"/>
                      <a:pt x="65960" y="342355"/>
                      <a:pt x="62376" y="342355"/>
                    </a:cubicBezTo>
                    <a:lnTo>
                      <a:pt x="6489" y="342355"/>
                    </a:lnTo>
                    <a:cubicBezTo>
                      <a:pt x="2905" y="342355"/>
                      <a:pt x="0" y="339449"/>
                      <a:pt x="0" y="335865"/>
                    </a:cubicBezTo>
                    <a:lnTo>
                      <a:pt x="0" y="6489"/>
                    </a:lnTo>
                    <a:cubicBezTo>
                      <a:pt x="0" y="2905"/>
                      <a:pt x="2905" y="0"/>
                      <a:pt x="6489" y="0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51" name="Freeform: Shape 35">
                <a:extLst>
                  <a:ext uri="{FF2B5EF4-FFF2-40B4-BE49-F238E27FC236}">
                    <a16:creationId xmlns:a16="http://schemas.microsoft.com/office/drawing/2014/main" id="{F4F9A83A-A150-526A-30FB-0E3A7B5F0DB3}"/>
                  </a:ext>
                </a:extLst>
              </p:cNvPr>
              <p:cNvSpPr/>
              <p:nvPr/>
            </p:nvSpPr>
            <p:spPr>
              <a:xfrm>
                <a:off x="10006809" y="3011696"/>
                <a:ext cx="258538" cy="347300"/>
              </a:xfrm>
              <a:custGeom>
                <a:avLst/>
                <a:gdLst>
                  <a:gd name="connsiteX0" fmla="*/ 143734 w 258538"/>
                  <a:gd name="connsiteY0" fmla="*/ 93393 h 347300"/>
                  <a:gd name="connsiteX1" fmla="*/ 68894 w 258538"/>
                  <a:gd name="connsiteY1" fmla="*/ 129755 h 347300"/>
                  <a:gd name="connsiteX2" fmla="*/ 68894 w 258538"/>
                  <a:gd name="connsiteY2" fmla="*/ 6489 h 347300"/>
                  <a:gd name="connsiteX3" fmla="*/ 62405 w 258538"/>
                  <a:gd name="connsiteY3" fmla="*/ 0 h 347300"/>
                  <a:gd name="connsiteX4" fmla="*/ 6489 w 258538"/>
                  <a:gd name="connsiteY4" fmla="*/ 0 h 347300"/>
                  <a:gd name="connsiteX5" fmla="*/ 0 w 258538"/>
                  <a:gd name="connsiteY5" fmla="*/ 6489 h 347300"/>
                  <a:gd name="connsiteX6" fmla="*/ 0 w 258538"/>
                  <a:gd name="connsiteY6" fmla="*/ 335894 h 347300"/>
                  <a:gd name="connsiteX7" fmla="*/ 6489 w 258538"/>
                  <a:gd name="connsiteY7" fmla="*/ 342383 h 347300"/>
                  <a:gd name="connsiteX8" fmla="*/ 62405 w 258538"/>
                  <a:gd name="connsiteY8" fmla="*/ 342383 h 347300"/>
                  <a:gd name="connsiteX9" fmla="*/ 68894 w 258538"/>
                  <a:gd name="connsiteY9" fmla="*/ 335894 h 347300"/>
                  <a:gd name="connsiteX10" fmla="*/ 68894 w 258538"/>
                  <a:gd name="connsiteY10" fmla="*/ 311624 h 347300"/>
                  <a:gd name="connsiteX11" fmla="*/ 144249 w 258538"/>
                  <a:gd name="connsiteY11" fmla="*/ 347300 h 347300"/>
                  <a:gd name="connsiteX12" fmla="*/ 258539 w 258538"/>
                  <a:gd name="connsiteY12" fmla="*/ 220689 h 347300"/>
                  <a:gd name="connsiteX13" fmla="*/ 143763 w 258538"/>
                  <a:gd name="connsiteY13" fmla="*/ 93393 h 347300"/>
                  <a:gd name="connsiteX14" fmla="*/ 130041 w 258538"/>
                  <a:gd name="connsiteY14" fmla="*/ 282637 h 347300"/>
                  <a:gd name="connsiteX15" fmla="*/ 68894 w 258538"/>
                  <a:gd name="connsiteY15" fmla="*/ 220718 h 347300"/>
                  <a:gd name="connsiteX16" fmla="*/ 130041 w 258538"/>
                  <a:gd name="connsiteY16" fmla="*/ 159285 h 347300"/>
                  <a:gd name="connsiteX17" fmla="*/ 190216 w 258538"/>
                  <a:gd name="connsiteY17" fmla="*/ 220718 h 347300"/>
                  <a:gd name="connsiteX18" fmla="*/ 130041 w 258538"/>
                  <a:gd name="connsiteY18" fmla="*/ 282637 h 347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8538" h="347300">
                    <a:moveTo>
                      <a:pt x="143734" y="93393"/>
                    </a:moveTo>
                    <a:cubicBezTo>
                      <a:pt x="111946" y="93393"/>
                      <a:pt x="85503" y="107172"/>
                      <a:pt x="68894" y="129755"/>
                    </a:cubicBezTo>
                    <a:lnTo>
                      <a:pt x="68894" y="6489"/>
                    </a:lnTo>
                    <a:cubicBezTo>
                      <a:pt x="68894" y="2916"/>
                      <a:pt x="65978" y="0"/>
                      <a:pt x="62405" y="0"/>
                    </a:cubicBezTo>
                    <a:lnTo>
                      <a:pt x="6489" y="0"/>
                    </a:lnTo>
                    <a:cubicBezTo>
                      <a:pt x="2916" y="0"/>
                      <a:pt x="0" y="2916"/>
                      <a:pt x="0" y="6489"/>
                    </a:cubicBezTo>
                    <a:lnTo>
                      <a:pt x="0" y="335894"/>
                    </a:lnTo>
                    <a:cubicBezTo>
                      <a:pt x="0" y="339467"/>
                      <a:pt x="2916" y="342383"/>
                      <a:pt x="6489" y="342383"/>
                    </a:cubicBezTo>
                    <a:lnTo>
                      <a:pt x="62405" y="342383"/>
                    </a:lnTo>
                    <a:cubicBezTo>
                      <a:pt x="65978" y="342383"/>
                      <a:pt x="68894" y="339467"/>
                      <a:pt x="68894" y="335894"/>
                    </a:cubicBezTo>
                    <a:lnTo>
                      <a:pt x="68894" y="311624"/>
                    </a:lnTo>
                    <a:cubicBezTo>
                      <a:pt x="85532" y="334236"/>
                      <a:pt x="111946" y="347300"/>
                      <a:pt x="144249" y="347300"/>
                    </a:cubicBezTo>
                    <a:cubicBezTo>
                      <a:pt x="212257" y="347300"/>
                      <a:pt x="258539" y="292442"/>
                      <a:pt x="258539" y="220689"/>
                    </a:cubicBezTo>
                    <a:cubicBezTo>
                      <a:pt x="258539" y="148937"/>
                      <a:pt x="212257" y="93393"/>
                      <a:pt x="143763" y="93393"/>
                    </a:cubicBezTo>
                    <a:close/>
                    <a:moveTo>
                      <a:pt x="130041" y="282637"/>
                    </a:moveTo>
                    <a:cubicBezTo>
                      <a:pt x="94822" y="282637"/>
                      <a:pt x="68894" y="254136"/>
                      <a:pt x="68894" y="220718"/>
                    </a:cubicBezTo>
                    <a:cubicBezTo>
                      <a:pt x="68894" y="187300"/>
                      <a:pt x="94822" y="159285"/>
                      <a:pt x="130041" y="159285"/>
                    </a:cubicBezTo>
                    <a:cubicBezTo>
                      <a:pt x="165260" y="159285"/>
                      <a:pt x="190216" y="187300"/>
                      <a:pt x="190216" y="220718"/>
                    </a:cubicBezTo>
                    <a:cubicBezTo>
                      <a:pt x="190216" y="254136"/>
                      <a:pt x="164774" y="282637"/>
                      <a:pt x="130041" y="282637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52" name="Freeform: Shape 36">
                <a:extLst>
                  <a:ext uri="{FF2B5EF4-FFF2-40B4-BE49-F238E27FC236}">
                    <a16:creationId xmlns:a16="http://schemas.microsoft.com/office/drawing/2014/main" id="{8E79E48A-1C48-4DD3-4E30-685516A69C36}"/>
                  </a:ext>
                </a:extLst>
              </p:cNvPr>
              <p:cNvSpPr/>
              <p:nvPr/>
            </p:nvSpPr>
            <p:spPr>
              <a:xfrm>
                <a:off x="9736922" y="3105088"/>
                <a:ext cx="251792" cy="253935"/>
              </a:xfrm>
              <a:custGeom>
                <a:avLst/>
                <a:gdLst>
                  <a:gd name="connsiteX0" fmla="*/ 125896 w 251792"/>
                  <a:gd name="connsiteY0" fmla="*/ 0 h 253935"/>
                  <a:gd name="connsiteX1" fmla="*/ 0 w 251792"/>
                  <a:gd name="connsiteY1" fmla="*/ 126725 h 253935"/>
                  <a:gd name="connsiteX2" fmla="*/ 125896 w 251792"/>
                  <a:gd name="connsiteY2" fmla="*/ 253936 h 253935"/>
                  <a:gd name="connsiteX3" fmla="*/ 251792 w 251792"/>
                  <a:gd name="connsiteY3" fmla="*/ 126725 h 253935"/>
                  <a:gd name="connsiteX4" fmla="*/ 125896 w 251792"/>
                  <a:gd name="connsiteY4" fmla="*/ 0 h 253935"/>
                  <a:gd name="connsiteX5" fmla="*/ 126153 w 251792"/>
                  <a:gd name="connsiteY5" fmla="*/ 188558 h 253935"/>
                  <a:gd name="connsiteX6" fmla="*/ 65378 w 251792"/>
                  <a:gd name="connsiteY6" fmla="*/ 126725 h 253935"/>
                  <a:gd name="connsiteX7" fmla="*/ 126153 w 251792"/>
                  <a:gd name="connsiteY7" fmla="*/ 65378 h 253935"/>
                  <a:gd name="connsiteX8" fmla="*/ 186443 w 251792"/>
                  <a:gd name="connsiteY8" fmla="*/ 126725 h 253935"/>
                  <a:gd name="connsiteX9" fmla="*/ 126153 w 251792"/>
                  <a:gd name="connsiteY9" fmla="*/ 188558 h 253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1792" h="253935">
                    <a:moveTo>
                      <a:pt x="125896" y="0"/>
                    </a:moveTo>
                    <a:cubicBezTo>
                      <a:pt x="54944" y="0"/>
                      <a:pt x="0" y="55287"/>
                      <a:pt x="0" y="126725"/>
                    </a:cubicBezTo>
                    <a:cubicBezTo>
                      <a:pt x="0" y="198163"/>
                      <a:pt x="54915" y="253936"/>
                      <a:pt x="125896" y="253936"/>
                    </a:cubicBezTo>
                    <a:cubicBezTo>
                      <a:pt x="196877" y="253936"/>
                      <a:pt x="251792" y="198163"/>
                      <a:pt x="251792" y="126725"/>
                    </a:cubicBezTo>
                    <a:cubicBezTo>
                      <a:pt x="251792" y="55287"/>
                      <a:pt x="196877" y="0"/>
                      <a:pt x="125896" y="0"/>
                    </a:cubicBezTo>
                    <a:close/>
                    <a:moveTo>
                      <a:pt x="126153" y="188558"/>
                    </a:moveTo>
                    <a:cubicBezTo>
                      <a:pt x="91506" y="188558"/>
                      <a:pt x="65378" y="160314"/>
                      <a:pt x="65378" y="126725"/>
                    </a:cubicBezTo>
                    <a:cubicBezTo>
                      <a:pt x="65378" y="93136"/>
                      <a:pt x="91506" y="65378"/>
                      <a:pt x="126153" y="65378"/>
                    </a:cubicBezTo>
                    <a:cubicBezTo>
                      <a:pt x="160801" y="65378"/>
                      <a:pt x="186443" y="93136"/>
                      <a:pt x="186443" y="126725"/>
                    </a:cubicBezTo>
                    <a:cubicBezTo>
                      <a:pt x="186443" y="160314"/>
                      <a:pt x="161315" y="188558"/>
                      <a:pt x="126153" y="188558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53" name="Freeform: Shape 37">
                <a:extLst>
                  <a:ext uri="{FF2B5EF4-FFF2-40B4-BE49-F238E27FC236}">
                    <a16:creationId xmlns:a16="http://schemas.microsoft.com/office/drawing/2014/main" id="{1DDA3A8B-5DC6-E12B-0C95-23425AF6451E}"/>
                  </a:ext>
                </a:extLst>
              </p:cNvPr>
              <p:cNvSpPr/>
              <p:nvPr/>
            </p:nvSpPr>
            <p:spPr>
              <a:xfrm>
                <a:off x="10370776" y="3105088"/>
                <a:ext cx="251792" cy="253935"/>
              </a:xfrm>
              <a:custGeom>
                <a:avLst/>
                <a:gdLst>
                  <a:gd name="connsiteX0" fmla="*/ 125896 w 251792"/>
                  <a:gd name="connsiteY0" fmla="*/ 0 h 253935"/>
                  <a:gd name="connsiteX1" fmla="*/ 0 w 251792"/>
                  <a:gd name="connsiteY1" fmla="*/ 126725 h 253935"/>
                  <a:gd name="connsiteX2" fmla="*/ 125896 w 251792"/>
                  <a:gd name="connsiteY2" fmla="*/ 253936 h 253935"/>
                  <a:gd name="connsiteX3" fmla="*/ 251792 w 251792"/>
                  <a:gd name="connsiteY3" fmla="*/ 126725 h 253935"/>
                  <a:gd name="connsiteX4" fmla="*/ 125896 w 251792"/>
                  <a:gd name="connsiteY4" fmla="*/ 0 h 253935"/>
                  <a:gd name="connsiteX5" fmla="*/ 126153 w 251792"/>
                  <a:gd name="connsiteY5" fmla="*/ 188558 h 253935"/>
                  <a:gd name="connsiteX6" fmla="*/ 65378 w 251792"/>
                  <a:gd name="connsiteY6" fmla="*/ 126725 h 253935"/>
                  <a:gd name="connsiteX7" fmla="*/ 126153 w 251792"/>
                  <a:gd name="connsiteY7" fmla="*/ 65378 h 253935"/>
                  <a:gd name="connsiteX8" fmla="*/ 186443 w 251792"/>
                  <a:gd name="connsiteY8" fmla="*/ 126725 h 253935"/>
                  <a:gd name="connsiteX9" fmla="*/ 126153 w 251792"/>
                  <a:gd name="connsiteY9" fmla="*/ 188558 h 253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1792" h="253935">
                    <a:moveTo>
                      <a:pt x="125896" y="0"/>
                    </a:moveTo>
                    <a:cubicBezTo>
                      <a:pt x="54944" y="0"/>
                      <a:pt x="0" y="55287"/>
                      <a:pt x="0" y="126725"/>
                    </a:cubicBezTo>
                    <a:cubicBezTo>
                      <a:pt x="0" y="198163"/>
                      <a:pt x="54915" y="253936"/>
                      <a:pt x="125896" y="253936"/>
                    </a:cubicBezTo>
                    <a:cubicBezTo>
                      <a:pt x="196877" y="253936"/>
                      <a:pt x="251792" y="198163"/>
                      <a:pt x="251792" y="126725"/>
                    </a:cubicBezTo>
                    <a:cubicBezTo>
                      <a:pt x="251792" y="55287"/>
                      <a:pt x="196877" y="0"/>
                      <a:pt x="125896" y="0"/>
                    </a:cubicBezTo>
                    <a:close/>
                    <a:moveTo>
                      <a:pt x="126153" y="188558"/>
                    </a:moveTo>
                    <a:cubicBezTo>
                      <a:pt x="91506" y="188558"/>
                      <a:pt x="65378" y="160314"/>
                      <a:pt x="65378" y="126725"/>
                    </a:cubicBezTo>
                    <a:cubicBezTo>
                      <a:pt x="65378" y="93136"/>
                      <a:pt x="91506" y="65378"/>
                      <a:pt x="126153" y="65378"/>
                    </a:cubicBezTo>
                    <a:cubicBezTo>
                      <a:pt x="160801" y="65378"/>
                      <a:pt x="186443" y="93136"/>
                      <a:pt x="186443" y="126725"/>
                    </a:cubicBezTo>
                    <a:cubicBezTo>
                      <a:pt x="186443" y="160314"/>
                      <a:pt x="161315" y="188558"/>
                      <a:pt x="126153" y="188558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54" name="Freeform: Shape 38">
                <a:extLst>
                  <a:ext uri="{FF2B5EF4-FFF2-40B4-BE49-F238E27FC236}">
                    <a16:creationId xmlns:a16="http://schemas.microsoft.com/office/drawing/2014/main" id="{E929ACC3-7461-5317-B438-6F70F494C775}"/>
                  </a:ext>
                </a:extLst>
              </p:cNvPr>
              <p:cNvSpPr/>
              <p:nvPr/>
            </p:nvSpPr>
            <p:spPr>
              <a:xfrm>
                <a:off x="9242171" y="3110092"/>
                <a:ext cx="68865" cy="243987"/>
              </a:xfrm>
              <a:custGeom>
                <a:avLst/>
                <a:gdLst>
                  <a:gd name="connsiteX0" fmla="*/ 62405 w 68865"/>
                  <a:gd name="connsiteY0" fmla="*/ 243987 h 243987"/>
                  <a:gd name="connsiteX1" fmla="*/ 6489 w 68865"/>
                  <a:gd name="connsiteY1" fmla="*/ 243987 h 243987"/>
                  <a:gd name="connsiteX2" fmla="*/ 0 w 68865"/>
                  <a:gd name="connsiteY2" fmla="*/ 237498 h 243987"/>
                  <a:gd name="connsiteX3" fmla="*/ 0 w 68865"/>
                  <a:gd name="connsiteY3" fmla="*/ 63891 h 243987"/>
                  <a:gd name="connsiteX4" fmla="*/ 3888 w 68865"/>
                  <a:gd name="connsiteY4" fmla="*/ 54629 h 243987"/>
                  <a:gd name="connsiteX5" fmla="*/ 57860 w 68865"/>
                  <a:gd name="connsiteY5" fmla="*/ 1858 h 243987"/>
                  <a:gd name="connsiteX6" fmla="*/ 68866 w 68865"/>
                  <a:gd name="connsiteY6" fmla="*/ 6489 h 243987"/>
                  <a:gd name="connsiteX7" fmla="*/ 68866 w 68865"/>
                  <a:gd name="connsiteY7" fmla="*/ 237498 h 243987"/>
                  <a:gd name="connsiteX8" fmla="*/ 62376 w 68865"/>
                  <a:gd name="connsiteY8" fmla="*/ 243987 h 243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8865" h="243987">
                    <a:moveTo>
                      <a:pt x="62405" y="243987"/>
                    </a:moveTo>
                    <a:lnTo>
                      <a:pt x="6489" y="243987"/>
                    </a:lnTo>
                    <a:cubicBezTo>
                      <a:pt x="2916" y="243987"/>
                      <a:pt x="0" y="241071"/>
                      <a:pt x="0" y="237498"/>
                    </a:cubicBezTo>
                    <a:lnTo>
                      <a:pt x="0" y="63891"/>
                    </a:lnTo>
                    <a:cubicBezTo>
                      <a:pt x="0" y="60403"/>
                      <a:pt x="1401" y="57059"/>
                      <a:pt x="3888" y="54629"/>
                    </a:cubicBezTo>
                    <a:lnTo>
                      <a:pt x="57860" y="1858"/>
                    </a:lnTo>
                    <a:cubicBezTo>
                      <a:pt x="61976" y="-2144"/>
                      <a:pt x="68866" y="743"/>
                      <a:pt x="68866" y="6489"/>
                    </a:cubicBezTo>
                    <a:lnTo>
                      <a:pt x="68866" y="237498"/>
                    </a:lnTo>
                    <a:cubicBezTo>
                      <a:pt x="68866" y="241071"/>
                      <a:pt x="65950" y="243987"/>
                      <a:pt x="62376" y="243987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55" name="Freeform: Shape 39">
                <a:extLst>
                  <a:ext uri="{FF2B5EF4-FFF2-40B4-BE49-F238E27FC236}">
                    <a16:creationId xmlns:a16="http://schemas.microsoft.com/office/drawing/2014/main" id="{75EB654F-6ACD-0052-835C-A83B9DB35F33}"/>
                  </a:ext>
                </a:extLst>
              </p:cNvPr>
              <p:cNvSpPr/>
              <p:nvPr/>
            </p:nvSpPr>
            <p:spPr>
              <a:xfrm>
                <a:off x="9347255" y="3105025"/>
                <a:ext cx="224777" cy="249082"/>
              </a:xfrm>
              <a:custGeom>
                <a:avLst/>
                <a:gdLst>
                  <a:gd name="connsiteX0" fmla="*/ 224749 w 224777"/>
                  <a:gd name="connsiteY0" fmla="*/ 87568 h 249082"/>
                  <a:gd name="connsiteX1" fmla="*/ 136416 w 224777"/>
                  <a:gd name="connsiteY1" fmla="*/ 6 h 249082"/>
                  <a:gd name="connsiteX2" fmla="*/ 68894 w 224777"/>
                  <a:gd name="connsiteY2" fmla="*/ 36540 h 249082"/>
                  <a:gd name="connsiteX3" fmla="*/ 68894 w 224777"/>
                  <a:gd name="connsiteY3" fmla="*/ 11670 h 249082"/>
                  <a:gd name="connsiteX4" fmla="*/ 62405 w 224777"/>
                  <a:gd name="connsiteY4" fmla="*/ 5181 h 249082"/>
                  <a:gd name="connsiteX5" fmla="*/ 6489 w 224777"/>
                  <a:gd name="connsiteY5" fmla="*/ 5181 h 249082"/>
                  <a:gd name="connsiteX6" fmla="*/ 0 w 224777"/>
                  <a:gd name="connsiteY6" fmla="*/ 11670 h 249082"/>
                  <a:gd name="connsiteX7" fmla="*/ 0 w 224777"/>
                  <a:gd name="connsiteY7" fmla="*/ 242565 h 249082"/>
                  <a:gd name="connsiteX8" fmla="*/ 6489 w 224777"/>
                  <a:gd name="connsiteY8" fmla="*/ 249054 h 249082"/>
                  <a:gd name="connsiteX9" fmla="*/ 62405 w 224777"/>
                  <a:gd name="connsiteY9" fmla="*/ 249054 h 249082"/>
                  <a:gd name="connsiteX10" fmla="*/ 68894 w 224777"/>
                  <a:gd name="connsiteY10" fmla="*/ 242565 h 249082"/>
                  <a:gd name="connsiteX11" fmla="*/ 68894 w 224777"/>
                  <a:gd name="connsiteY11" fmla="*/ 108293 h 249082"/>
                  <a:gd name="connsiteX12" fmla="*/ 112375 w 224777"/>
                  <a:gd name="connsiteY12" fmla="*/ 66385 h 249082"/>
                  <a:gd name="connsiteX13" fmla="*/ 155884 w 224777"/>
                  <a:gd name="connsiteY13" fmla="*/ 111266 h 249082"/>
                  <a:gd name="connsiteX14" fmla="*/ 155884 w 224777"/>
                  <a:gd name="connsiteY14" fmla="*/ 242593 h 249082"/>
                  <a:gd name="connsiteX15" fmla="*/ 162373 w 224777"/>
                  <a:gd name="connsiteY15" fmla="*/ 249083 h 249082"/>
                  <a:gd name="connsiteX16" fmla="*/ 218289 w 224777"/>
                  <a:gd name="connsiteY16" fmla="*/ 249083 h 249082"/>
                  <a:gd name="connsiteX17" fmla="*/ 224778 w 224777"/>
                  <a:gd name="connsiteY17" fmla="*/ 242593 h 249082"/>
                  <a:gd name="connsiteX18" fmla="*/ 224778 w 224777"/>
                  <a:gd name="connsiteY18" fmla="*/ 87596 h 249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4777" h="249082">
                    <a:moveTo>
                      <a:pt x="224749" y="87568"/>
                    </a:moveTo>
                    <a:cubicBezTo>
                      <a:pt x="224749" y="40257"/>
                      <a:pt x="185671" y="578"/>
                      <a:pt x="136416" y="6"/>
                    </a:cubicBezTo>
                    <a:cubicBezTo>
                      <a:pt x="104370" y="-365"/>
                      <a:pt x="82730" y="15329"/>
                      <a:pt x="68894" y="36540"/>
                    </a:cubicBezTo>
                    <a:lnTo>
                      <a:pt x="68894" y="11670"/>
                    </a:lnTo>
                    <a:cubicBezTo>
                      <a:pt x="68894" y="8097"/>
                      <a:pt x="65978" y="5181"/>
                      <a:pt x="62405" y="5181"/>
                    </a:cubicBezTo>
                    <a:lnTo>
                      <a:pt x="6489" y="5181"/>
                    </a:lnTo>
                    <a:cubicBezTo>
                      <a:pt x="2916" y="5181"/>
                      <a:pt x="0" y="8097"/>
                      <a:pt x="0" y="11670"/>
                    </a:cubicBezTo>
                    <a:lnTo>
                      <a:pt x="0" y="242565"/>
                    </a:lnTo>
                    <a:cubicBezTo>
                      <a:pt x="0" y="246138"/>
                      <a:pt x="2916" y="249054"/>
                      <a:pt x="6489" y="249054"/>
                    </a:cubicBezTo>
                    <a:lnTo>
                      <a:pt x="62405" y="249054"/>
                    </a:lnTo>
                    <a:cubicBezTo>
                      <a:pt x="65978" y="249054"/>
                      <a:pt x="68894" y="246138"/>
                      <a:pt x="68894" y="242565"/>
                    </a:cubicBezTo>
                    <a:lnTo>
                      <a:pt x="68894" y="108293"/>
                    </a:lnTo>
                    <a:cubicBezTo>
                      <a:pt x="70438" y="82451"/>
                      <a:pt x="86818" y="66385"/>
                      <a:pt x="112375" y="66385"/>
                    </a:cubicBezTo>
                    <a:cubicBezTo>
                      <a:pt x="137931" y="66385"/>
                      <a:pt x="155884" y="84423"/>
                      <a:pt x="155884" y="111266"/>
                    </a:cubicBezTo>
                    <a:lnTo>
                      <a:pt x="155884" y="242593"/>
                    </a:lnTo>
                    <a:cubicBezTo>
                      <a:pt x="155884" y="246167"/>
                      <a:pt x="158800" y="249083"/>
                      <a:pt x="162373" y="249083"/>
                    </a:cubicBezTo>
                    <a:lnTo>
                      <a:pt x="218289" y="249083"/>
                    </a:lnTo>
                    <a:cubicBezTo>
                      <a:pt x="221862" y="249083"/>
                      <a:pt x="224778" y="246167"/>
                      <a:pt x="224778" y="242593"/>
                    </a:cubicBezTo>
                    <a:lnTo>
                      <a:pt x="224778" y="87596"/>
                    </a:ln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</p:grpSp>
      </p:grpSp>
      <p:sp>
        <p:nvSpPr>
          <p:cNvPr id="56" name="Graphic 8">
            <a:extLst>
              <a:ext uri="{FF2B5EF4-FFF2-40B4-BE49-F238E27FC236}">
                <a16:creationId xmlns:a16="http://schemas.microsoft.com/office/drawing/2014/main" id="{D53A07EA-5DFE-0D34-76E7-A69DE6F07D41}"/>
              </a:ext>
            </a:extLst>
          </p:cNvPr>
          <p:cNvSpPr/>
          <p:nvPr userDrawn="1"/>
        </p:nvSpPr>
        <p:spPr>
          <a:xfrm>
            <a:off x="8560855" y="863296"/>
            <a:ext cx="5244562" cy="5244562"/>
          </a:xfrm>
          <a:custGeom>
            <a:avLst/>
            <a:gdLst>
              <a:gd name="connsiteX0" fmla="*/ 3985217 w 4062497"/>
              <a:gd name="connsiteY0" fmla="*/ 1844654 h 4062497"/>
              <a:gd name="connsiteX1" fmla="*/ 2217844 w 4062497"/>
              <a:gd name="connsiteY1" fmla="*/ 77281 h 4062497"/>
              <a:gd name="connsiteX2" fmla="*/ 1844654 w 4062497"/>
              <a:gd name="connsiteY2" fmla="*/ 77281 h 4062497"/>
              <a:gd name="connsiteX3" fmla="*/ 77281 w 4062497"/>
              <a:gd name="connsiteY3" fmla="*/ 1844654 h 4062497"/>
              <a:gd name="connsiteX4" fmla="*/ 77281 w 4062497"/>
              <a:gd name="connsiteY4" fmla="*/ 2217844 h 4062497"/>
              <a:gd name="connsiteX5" fmla="*/ 1844654 w 4062497"/>
              <a:gd name="connsiteY5" fmla="*/ 3985217 h 4062497"/>
              <a:gd name="connsiteX6" fmla="*/ 2217844 w 4062497"/>
              <a:gd name="connsiteY6" fmla="*/ 3985217 h 4062497"/>
              <a:gd name="connsiteX7" fmla="*/ 3985217 w 4062497"/>
              <a:gd name="connsiteY7" fmla="*/ 2217844 h 4062497"/>
              <a:gd name="connsiteX8" fmla="*/ 3985217 w 4062497"/>
              <a:gd name="connsiteY8" fmla="*/ 1844654 h 4062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2497" h="4062497">
                <a:moveTo>
                  <a:pt x="3985217" y="1844654"/>
                </a:moveTo>
                <a:lnTo>
                  <a:pt x="2217844" y="77281"/>
                </a:lnTo>
                <a:cubicBezTo>
                  <a:pt x="2114803" y="-25760"/>
                  <a:pt x="1947695" y="-25760"/>
                  <a:pt x="1844654" y="77281"/>
                </a:cubicBezTo>
                <a:lnTo>
                  <a:pt x="77281" y="1844654"/>
                </a:lnTo>
                <a:cubicBezTo>
                  <a:pt x="-25760" y="1947695"/>
                  <a:pt x="-25760" y="2114803"/>
                  <a:pt x="77281" y="2217844"/>
                </a:cubicBezTo>
                <a:lnTo>
                  <a:pt x="1844654" y="3985217"/>
                </a:lnTo>
                <a:cubicBezTo>
                  <a:pt x="1947695" y="4088258"/>
                  <a:pt x="2114803" y="4088258"/>
                  <a:pt x="2217844" y="3985217"/>
                </a:cubicBezTo>
                <a:lnTo>
                  <a:pt x="3985217" y="2217844"/>
                </a:lnTo>
                <a:cubicBezTo>
                  <a:pt x="4088258" y="2114803"/>
                  <a:pt x="4088258" y="1947695"/>
                  <a:pt x="3985217" y="1844654"/>
                </a:cubicBezTo>
                <a:close/>
              </a:path>
            </a:pathLst>
          </a:custGeom>
          <a:gradFill>
            <a:gsLst>
              <a:gs pos="12000">
                <a:schemeClr val="bg1">
                  <a:alpha val="38000"/>
                </a:schemeClr>
              </a:gs>
              <a:gs pos="74000">
                <a:schemeClr val="bg1">
                  <a:alpha val="0"/>
                </a:schemeClr>
              </a:gs>
            </a:gsLst>
            <a:lin ang="8100000" scaled="1"/>
          </a:gradFill>
          <a:ln w="685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5B65C95-A97A-C6F0-25BC-32668084202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0758" y="1947352"/>
            <a:ext cx="5766931" cy="1517279"/>
          </a:xfrm>
          <a:prstGeom prst="rect">
            <a:avLst/>
          </a:prstGeom>
        </p:spPr>
        <p:txBody>
          <a:bodyPr anchor="b" anchorCtr="0"/>
          <a:lstStyle>
            <a:lvl1pPr algn="l">
              <a:defRPr sz="3800" b="1" i="0" cap="all" baseline="0">
                <a:solidFill>
                  <a:schemeClr val="tx1"/>
                </a:solidFill>
                <a:latin typeface="Lato" panose="020F0502020204030203" pitchFamily="34" charset="77"/>
              </a:defRPr>
            </a:lvl1pPr>
          </a:lstStyle>
          <a:p>
            <a:r>
              <a:rPr lang="en-US" dirty="0"/>
              <a:t>title sty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6028FB3B-2CC4-8C13-62B8-FDE2A9FBFF6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7179" y="3582814"/>
            <a:ext cx="5275116" cy="1406620"/>
          </a:xfrm>
          <a:prstGeom prst="rect">
            <a:avLst/>
          </a:prstGeom>
        </p:spPr>
        <p:txBody>
          <a:bodyPr anchor="t" anchorCtr="0"/>
          <a:lstStyle>
            <a:lvl1pPr marL="0" indent="0" algn="l">
              <a:buNone/>
              <a:defRPr sz="2200" b="0" i="0" cap="all" baseline="0">
                <a:solidFill>
                  <a:schemeClr val="tx1"/>
                </a:solidFill>
                <a:latin typeface="Lato" panose="020F0502020204030203" pitchFamily="34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B1FC0C47-8393-809C-81DC-519C0FD6FC5D}"/>
              </a:ext>
            </a:extLst>
          </p:cNvPr>
          <p:cNvSpPr/>
          <p:nvPr userDrawn="1"/>
        </p:nvSpPr>
        <p:spPr>
          <a:xfrm>
            <a:off x="42929" y="6364224"/>
            <a:ext cx="493776" cy="493776"/>
          </a:xfrm>
          <a:prstGeom prst="ellipse">
            <a:avLst/>
          </a:prstGeom>
          <a:solidFill>
            <a:srgbClr val="D9E1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rgbClr val="10182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1088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12419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preserve="1" userDrawn="1">
  <p:cSld name="Title Slide">
    <p:bg>
      <p:bgPr>
        <a:gradFill>
          <a:gsLst>
            <a:gs pos="0">
              <a:schemeClr val="dk1"/>
            </a:gs>
            <a:gs pos="10000">
              <a:schemeClr val="dk1"/>
            </a:gs>
            <a:gs pos="100000">
              <a:srgbClr val="353C42"/>
            </a:gs>
          </a:gsLst>
          <a:lin ang="2700000" scaled="0"/>
        </a:gradFill>
        <a:effectLst/>
      </p:bgPr>
    </p:bg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41">
            <a:extLst>
              <a:ext uri="{FF2B5EF4-FFF2-40B4-BE49-F238E27FC236}">
                <a16:creationId xmlns:a16="http://schemas.microsoft.com/office/drawing/2014/main" id="{023313C6-9F60-6D1B-C9E9-B19A5F4FAA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-1" y="0"/>
            <a:ext cx="12191999" cy="6857999"/>
          </a:xfrm>
          <a:prstGeom prst="rect">
            <a:avLst/>
          </a:prstGeom>
        </p:spPr>
      </p:pic>
      <p:grpSp>
        <p:nvGrpSpPr>
          <p:cNvPr id="10" name="Google Shape;12;p61">
            <a:extLst>
              <a:ext uri="{FF2B5EF4-FFF2-40B4-BE49-F238E27FC236}">
                <a16:creationId xmlns:a16="http://schemas.microsoft.com/office/drawing/2014/main" id="{DF5F4A1B-A9E0-63CE-5984-E4DFF29548E2}"/>
              </a:ext>
            </a:extLst>
          </p:cNvPr>
          <p:cNvGrpSpPr/>
          <p:nvPr userDrawn="1"/>
        </p:nvGrpSpPr>
        <p:grpSpPr>
          <a:xfrm>
            <a:off x="733434" y="525356"/>
            <a:ext cx="1756137" cy="378549"/>
            <a:chOff x="9242171" y="2998589"/>
            <a:chExt cx="1672097" cy="360434"/>
          </a:xfrm>
        </p:grpSpPr>
        <p:sp>
          <p:nvSpPr>
            <p:cNvPr id="26" name="Google Shape;13;p61">
              <a:extLst>
                <a:ext uri="{FF2B5EF4-FFF2-40B4-BE49-F238E27FC236}">
                  <a16:creationId xmlns:a16="http://schemas.microsoft.com/office/drawing/2014/main" id="{66A84DB4-C185-F07C-0F71-C891C75C3F0B}"/>
                </a:ext>
              </a:extLst>
            </p:cNvPr>
            <p:cNvSpPr/>
            <p:nvPr/>
          </p:nvSpPr>
          <p:spPr>
            <a:xfrm rot="-2700000">
              <a:off x="9267550" y="3013811"/>
              <a:ext cx="73496" cy="73496"/>
            </a:xfrm>
            <a:custGeom>
              <a:avLst/>
              <a:gdLst/>
              <a:ahLst/>
              <a:cxnLst/>
              <a:rect l="l" t="t" r="r" b="b"/>
              <a:pathLst>
                <a:path w="73496" h="73496" extrusionOk="0">
                  <a:moveTo>
                    <a:pt x="67007" y="0"/>
                  </a:moveTo>
                  <a:cubicBezTo>
                    <a:pt x="70591" y="0"/>
                    <a:pt x="73497" y="2905"/>
                    <a:pt x="73497" y="6489"/>
                  </a:cubicBezTo>
                  <a:lnTo>
                    <a:pt x="73497" y="67007"/>
                  </a:lnTo>
                  <a:cubicBezTo>
                    <a:pt x="73497" y="70591"/>
                    <a:pt x="70591" y="73496"/>
                    <a:pt x="67007" y="73496"/>
                  </a:cubicBezTo>
                  <a:lnTo>
                    <a:pt x="6489" y="73496"/>
                  </a:lnTo>
                  <a:cubicBezTo>
                    <a:pt x="2905" y="73496"/>
                    <a:pt x="0" y="70591"/>
                    <a:pt x="0" y="67007"/>
                  </a:cubicBezTo>
                  <a:lnTo>
                    <a:pt x="0" y="6489"/>
                  </a:lnTo>
                  <a:cubicBezTo>
                    <a:pt x="0" y="2905"/>
                    <a:pt x="2905" y="0"/>
                    <a:pt x="6489" y="0"/>
                  </a:cubicBezTo>
                  <a:close/>
                </a:path>
              </a:pathLst>
            </a:custGeom>
            <a:solidFill>
              <a:srgbClr val="00B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endParaRPr>
            </a:p>
          </p:txBody>
        </p:sp>
        <p:grpSp>
          <p:nvGrpSpPr>
            <p:cNvPr id="27" name="Google Shape;14;p61">
              <a:extLst>
                <a:ext uri="{FF2B5EF4-FFF2-40B4-BE49-F238E27FC236}">
                  <a16:creationId xmlns:a16="http://schemas.microsoft.com/office/drawing/2014/main" id="{D2B67A44-2A52-5BAB-6D9F-606074C2DFEB}"/>
                </a:ext>
              </a:extLst>
            </p:cNvPr>
            <p:cNvGrpSpPr/>
            <p:nvPr/>
          </p:nvGrpSpPr>
          <p:grpSpPr>
            <a:xfrm>
              <a:off x="9242171" y="3011696"/>
              <a:ext cx="1672097" cy="347327"/>
              <a:chOff x="9242171" y="3011696"/>
              <a:chExt cx="1672097" cy="347327"/>
            </a:xfrm>
          </p:grpSpPr>
          <p:sp>
            <p:nvSpPr>
              <p:cNvPr id="28" name="Google Shape;15;p61">
                <a:extLst>
                  <a:ext uri="{FF2B5EF4-FFF2-40B4-BE49-F238E27FC236}">
                    <a16:creationId xmlns:a16="http://schemas.microsoft.com/office/drawing/2014/main" id="{5DE69D6F-46F3-D893-84E9-160DB6FE7178}"/>
                  </a:ext>
                </a:extLst>
              </p:cNvPr>
              <p:cNvSpPr/>
              <p:nvPr/>
            </p:nvSpPr>
            <p:spPr>
              <a:xfrm>
                <a:off x="10604432" y="3110234"/>
                <a:ext cx="249644" cy="243844"/>
              </a:xfrm>
              <a:custGeom>
                <a:avLst/>
                <a:gdLst/>
                <a:ahLst/>
                <a:cxnLst/>
                <a:rect l="l" t="t" r="r" b="b"/>
                <a:pathLst>
                  <a:path w="249644" h="243844" extrusionOk="0">
                    <a:moveTo>
                      <a:pt x="172562" y="121922"/>
                    </a:moveTo>
                    <a:lnTo>
                      <a:pt x="248603" y="234754"/>
                    </a:lnTo>
                    <a:cubicBezTo>
                      <a:pt x="251347" y="238642"/>
                      <a:pt x="248346" y="243845"/>
                      <a:pt x="243372" y="243845"/>
                    </a:cubicBezTo>
                    <a:lnTo>
                      <a:pt x="179480" y="243845"/>
                    </a:lnTo>
                    <a:cubicBezTo>
                      <a:pt x="175221" y="243845"/>
                      <a:pt x="171219" y="241729"/>
                      <a:pt x="168789" y="238213"/>
                    </a:cubicBezTo>
                    <a:lnTo>
                      <a:pt x="124822" y="170949"/>
                    </a:lnTo>
                    <a:lnTo>
                      <a:pt x="80856" y="238213"/>
                    </a:lnTo>
                    <a:cubicBezTo>
                      <a:pt x="78426" y="241729"/>
                      <a:pt x="74452" y="243845"/>
                      <a:pt x="70164" y="243845"/>
                    </a:cubicBezTo>
                    <a:lnTo>
                      <a:pt x="6273" y="243845"/>
                    </a:lnTo>
                    <a:cubicBezTo>
                      <a:pt x="1299" y="243845"/>
                      <a:pt x="-1703" y="238671"/>
                      <a:pt x="1042" y="234754"/>
                    </a:cubicBezTo>
                    <a:lnTo>
                      <a:pt x="76854" y="121922"/>
                    </a:lnTo>
                    <a:lnTo>
                      <a:pt x="1042" y="9091"/>
                    </a:lnTo>
                    <a:cubicBezTo>
                      <a:pt x="-1703" y="5203"/>
                      <a:pt x="1299" y="0"/>
                      <a:pt x="6273" y="0"/>
                    </a:cubicBezTo>
                    <a:lnTo>
                      <a:pt x="72880" y="0"/>
                    </a:lnTo>
                    <a:cubicBezTo>
                      <a:pt x="75367" y="0"/>
                      <a:pt x="77683" y="1143"/>
                      <a:pt x="78998" y="3030"/>
                    </a:cubicBezTo>
                    <a:lnTo>
                      <a:pt x="124794" y="72782"/>
                    </a:lnTo>
                    <a:lnTo>
                      <a:pt x="167788" y="3059"/>
                    </a:lnTo>
                    <a:cubicBezTo>
                      <a:pt x="169075" y="1172"/>
                      <a:pt x="171419" y="0"/>
                      <a:pt x="173906" y="0"/>
                    </a:cubicBezTo>
                    <a:lnTo>
                      <a:pt x="241171" y="0"/>
                    </a:lnTo>
                    <a:cubicBezTo>
                      <a:pt x="246145" y="0"/>
                      <a:pt x="249118" y="5174"/>
                      <a:pt x="246402" y="9062"/>
                    </a:cubicBezTo>
                    <a:lnTo>
                      <a:pt x="172505" y="121922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  <p:sp>
            <p:nvSpPr>
              <p:cNvPr id="29" name="Google Shape;16;p61">
                <a:extLst>
                  <a:ext uri="{FF2B5EF4-FFF2-40B4-BE49-F238E27FC236}">
                    <a16:creationId xmlns:a16="http://schemas.microsoft.com/office/drawing/2014/main" id="{4E528E51-A353-CA52-B432-3CE2495A2D0A}"/>
                  </a:ext>
                </a:extLst>
              </p:cNvPr>
              <p:cNvSpPr/>
              <p:nvPr/>
            </p:nvSpPr>
            <p:spPr>
              <a:xfrm>
                <a:off x="9581152" y="3011696"/>
                <a:ext cx="164831" cy="342440"/>
              </a:xfrm>
              <a:custGeom>
                <a:avLst/>
                <a:gdLst/>
                <a:ahLst/>
                <a:cxnLst/>
                <a:rect l="l" t="t" r="r" b="b"/>
                <a:pathLst>
                  <a:path w="164831" h="342440" extrusionOk="0">
                    <a:moveTo>
                      <a:pt x="158342" y="29"/>
                    </a:moveTo>
                    <a:lnTo>
                      <a:pt x="105342" y="29"/>
                    </a:lnTo>
                    <a:cubicBezTo>
                      <a:pt x="100197" y="29"/>
                      <a:pt x="95251" y="2087"/>
                      <a:pt x="91592" y="5717"/>
                    </a:cubicBezTo>
                    <a:lnTo>
                      <a:pt x="41794" y="55515"/>
                    </a:lnTo>
                    <a:cubicBezTo>
                      <a:pt x="38135" y="59175"/>
                      <a:pt x="36105" y="64120"/>
                      <a:pt x="36105" y="69266"/>
                    </a:cubicBezTo>
                    <a:lnTo>
                      <a:pt x="36105" y="108458"/>
                    </a:lnTo>
                    <a:lnTo>
                      <a:pt x="6375" y="108458"/>
                    </a:lnTo>
                    <a:cubicBezTo>
                      <a:pt x="2859" y="108458"/>
                      <a:pt x="0" y="111317"/>
                      <a:pt x="0" y="114833"/>
                    </a:cubicBezTo>
                    <a:lnTo>
                      <a:pt x="0" y="158828"/>
                    </a:lnTo>
                    <a:cubicBezTo>
                      <a:pt x="0" y="162344"/>
                      <a:pt x="2859" y="165203"/>
                      <a:pt x="6375" y="165203"/>
                    </a:cubicBezTo>
                    <a:lnTo>
                      <a:pt x="36105" y="165203"/>
                    </a:lnTo>
                    <a:lnTo>
                      <a:pt x="36105" y="335951"/>
                    </a:lnTo>
                    <a:cubicBezTo>
                      <a:pt x="36105" y="339524"/>
                      <a:pt x="39021" y="342440"/>
                      <a:pt x="42594" y="342440"/>
                    </a:cubicBezTo>
                    <a:lnTo>
                      <a:pt x="98510" y="342440"/>
                    </a:lnTo>
                    <a:cubicBezTo>
                      <a:pt x="102083" y="342440"/>
                      <a:pt x="104999" y="339524"/>
                      <a:pt x="104999" y="335951"/>
                    </a:cubicBezTo>
                    <a:lnTo>
                      <a:pt x="104999" y="165174"/>
                    </a:lnTo>
                    <a:lnTo>
                      <a:pt x="149394" y="165174"/>
                    </a:lnTo>
                    <a:cubicBezTo>
                      <a:pt x="152911" y="165174"/>
                      <a:pt x="155769" y="162315"/>
                      <a:pt x="155769" y="158799"/>
                    </a:cubicBezTo>
                    <a:lnTo>
                      <a:pt x="155769" y="114804"/>
                    </a:lnTo>
                    <a:cubicBezTo>
                      <a:pt x="155769" y="111288"/>
                      <a:pt x="152911" y="108429"/>
                      <a:pt x="149394" y="108429"/>
                    </a:cubicBezTo>
                    <a:lnTo>
                      <a:pt x="104999" y="108429"/>
                    </a:lnTo>
                    <a:lnTo>
                      <a:pt x="104999" y="80643"/>
                    </a:lnTo>
                    <a:cubicBezTo>
                      <a:pt x="104999" y="69895"/>
                      <a:pt x="113718" y="61204"/>
                      <a:pt x="124438" y="61204"/>
                    </a:cubicBezTo>
                    <a:lnTo>
                      <a:pt x="158342" y="61204"/>
                    </a:lnTo>
                    <a:cubicBezTo>
                      <a:pt x="161915" y="61204"/>
                      <a:pt x="164831" y="58288"/>
                      <a:pt x="164831" y="54715"/>
                    </a:cubicBezTo>
                    <a:lnTo>
                      <a:pt x="164831" y="6489"/>
                    </a:lnTo>
                    <a:cubicBezTo>
                      <a:pt x="164831" y="2916"/>
                      <a:pt x="161915" y="0"/>
                      <a:pt x="158342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  <p:sp>
            <p:nvSpPr>
              <p:cNvPr id="30" name="Google Shape;17;p61">
                <a:extLst>
                  <a:ext uri="{FF2B5EF4-FFF2-40B4-BE49-F238E27FC236}">
                    <a16:creationId xmlns:a16="http://schemas.microsoft.com/office/drawing/2014/main" id="{935B2B1B-DCE4-AFE4-B20B-8CA8D5C05399}"/>
                  </a:ext>
                </a:extLst>
              </p:cNvPr>
              <p:cNvSpPr/>
              <p:nvPr/>
            </p:nvSpPr>
            <p:spPr>
              <a:xfrm>
                <a:off x="10860611" y="3304224"/>
                <a:ext cx="53657" cy="53657"/>
              </a:xfrm>
              <a:custGeom>
                <a:avLst/>
                <a:gdLst/>
                <a:ahLst/>
                <a:cxnLst/>
                <a:rect l="l" t="t" r="r" b="b"/>
                <a:pathLst>
                  <a:path w="53657" h="53657" extrusionOk="0">
                    <a:moveTo>
                      <a:pt x="53657" y="26786"/>
                    </a:moveTo>
                    <a:cubicBezTo>
                      <a:pt x="53657" y="41708"/>
                      <a:pt x="41708" y="53657"/>
                      <a:pt x="26729" y="53657"/>
                    </a:cubicBezTo>
                    <a:cubicBezTo>
                      <a:pt x="11749" y="53657"/>
                      <a:pt x="0" y="41594"/>
                      <a:pt x="0" y="26786"/>
                    </a:cubicBezTo>
                    <a:cubicBezTo>
                      <a:pt x="0" y="11978"/>
                      <a:pt x="11949" y="0"/>
                      <a:pt x="26814" y="0"/>
                    </a:cubicBezTo>
                    <a:cubicBezTo>
                      <a:pt x="41679" y="0"/>
                      <a:pt x="53629" y="11892"/>
                      <a:pt x="53629" y="26786"/>
                    </a:cubicBezTo>
                    <a:close/>
                    <a:moveTo>
                      <a:pt x="49541" y="26900"/>
                    </a:moveTo>
                    <a:cubicBezTo>
                      <a:pt x="49541" y="14036"/>
                      <a:pt x="39392" y="3831"/>
                      <a:pt x="26843" y="3831"/>
                    </a:cubicBezTo>
                    <a:cubicBezTo>
                      <a:pt x="14293" y="3831"/>
                      <a:pt x="4145" y="13922"/>
                      <a:pt x="4145" y="26872"/>
                    </a:cubicBezTo>
                    <a:cubicBezTo>
                      <a:pt x="4145" y="39821"/>
                      <a:pt x="14408" y="49884"/>
                      <a:pt x="26729" y="49884"/>
                    </a:cubicBezTo>
                    <a:cubicBezTo>
                      <a:pt x="39049" y="49884"/>
                      <a:pt x="49541" y="39736"/>
                      <a:pt x="49541" y="26900"/>
                    </a:cubicBezTo>
                    <a:close/>
                    <a:moveTo>
                      <a:pt x="32589" y="31131"/>
                    </a:moveTo>
                    <a:lnTo>
                      <a:pt x="39335" y="41622"/>
                    </a:lnTo>
                    <a:lnTo>
                      <a:pt x="34876" y="41622"/>
                    </a:lnTo>
                    <a:lnTo>
                      <a:pt x="27386" y="29730"/>
                    </a:lnTo>
                    <a:lnTo>
                      <a:pt x="20554" y="29730"/>
                    </a:lnTo>
                    <a:lnTo>
                      <a:pt x="20554" y="41622"/>
                    </a:lnTo>
                    <a:lnTo>
                      <a:pt x="16809" y="41622"/>
                    </a:lnTo>
                    <a:lnTo>
                      <a:pt x="16809" y="11549"/>
                    </a:lnTo>
                    <a:lnTo>
                      <a:pt x="28472" y="11549"/>
                    </a:lnTo>
                    <a:cubicBezTo>
                      <a:pt x="34218" y="11549"/>
                      <a:pt x="37963" y="14636"/>
                      <a:pt x="37963" y="20411"/>
                    </a:cubicBezTo>
                    <a:cubicBezTo>
                      <a:pt x="37963" y="25071"/>
                      <a:pt x="35133" y="27958"/>
                      <a:pt x="31131" y="29101"/>
                    </a:cubicBezTo>
                    <a:cubicBezTo>
                      <a:pt x="31674" y="29702"/>
                      <a:pt x="32217" y="30445"/>
                      <a:pt x="32589" y="31160"/>
                    </a:cubicBezTo>
                    <a:close/>
                    <a:moveTo>
                      <a:pt x="27214" y="26185"/>
                    </a:moveTo>
                    <a:cubicBezTo>
                      <a:pt x="31445" y="26185"/>
                      <a:pt x="34047" y="24184"/>
                      <a:pt x="34047" y="20640"/>
                    </a:cubicBezTo>
                    <a:cubicBezTo>
                      <a:pt x="34047" y="17095"/>
                      <a:pt x="32246" y="15037"/>
                      <a:pt x="28558" y="15037"/>
                    </a:cubicBezTo>
                    <a:lnTo>
                      <a:pt x="20525" y="15037"/>
                    </a:lnTo>
                    <a:lnTo>
                      <a:pt x="20525" y="26157"/>
                    </a:lnTo>
                    <a:lnTo>
                      <a:pt x="27214" y="26157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  <p:sp>
            <p:nvSpPr>
              <p:cNvPr id="31" name="Google Shape;18;p61">
                <a:extLst>
                  <a:ext uri="{FF2B5EF4-FFF2-40B4-BE49-F238E27FC236}">
                    <a16:creationId xmlns:a16="http://schemas.microsoft.com/office/drawing/2014/main" id="{5015D77C-1F96-298A-CA2F-1A0A17CB4A1C}"/>
                  </a:ext>
                </a:extLst>
              </p:cNvPr>
              <p:cNvSpPr/>
              <p:nvPr/>
            </p:nvSpPr>
            <p:spPr>
              <a:xfrm>
                <a:off x="10283815" y="3011724"/>
                <a:ext cx="68865" cy="342354"/>
              </a:xfrm>
              <a:custGeom>
                <a:avLst/>
                <a:gdLst/>
                <a:ahLst/>
                <a:cxnLst/>
                <a:rect l="l" t="t" r="r" b="b"/>
                <a:pathLst>
                  <a:path w="68865" h="342354" extrusionOk="0">
                    <a:moveTo>
                      <a:pt x="62376" y="0"/>
                    </a:moveTo>
                    <a:cubicBezTo>
                      <a:pt x="65960" y="0"/>
                      <a:pt x="68866" y="2905"/>
                      <a:pt x="68866" y="6489"/>
                    </a:cubicBezTo>
                    <a:lnTo>
                      <a:pt x="68866" y="335865"/>
                    </a:lnTo>
                    <a:cubicBezTo>
                      <a:pt x="68866" y="339449"/>
                      <a:pt x="65960" y="342355"/>
                      <a:pt x="62376" y="342355"/>
                    </a:cubicBezTo>
                    <a:lnTo>
                      <a:pt x="6489" y="342355"/>
                    </a:lnTo>
                    <a:cubicBezTo>
                      <a:pt x="2905" y="342355"/>
                      <a:pt x="0" y="339449"/>
                      <a:pt x="0" y="335865"/>
                    </a:cubicBezTo>
                    <a:lnTo>
                      <a:pt x="0" y="6489"/>
                    </a:lnTo>
                    <a:cubicBezTo>
                      <a:pt x="0" y="2905"/>
                      <a:pt x="2905" y="0"/>
                      <a:pt x="6489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  <p:sp>
            <p:nvSpPr>
              <p:cNvPr id="32" name="Google Shape;19;p61">
                <a:extLst>
                  <a:ext uri="{FF2B5EF4-FFF2-40B4-BE49-F238E27FC236}">
                    <a16:creationId xmlns:a16="http://schemas.microsoft.com/office/drawing/2014/main" id="{C733469D-C18D-72CF-E8C1-8926BC624888}"/>
                  </a:ext>
                </a:extLst>
              </p:cNvPr>
              <p:cNvSpPr/>
              <p:nvPr/>
            </p:nvSpPr>
            <p:spPr>
              <a:xfrm>
                <a:off x="10006809" y="3011696"/>
                <a:ext cx="258538" cy="347300"/>
              </a:xfrm>
              <a:custGeom>
                <a:avLst/>
                <a:gdLst/>
                <a:ahLst/>
                <a:cxnLst/>
                <a:rect l="l" t="t" r="r" b="b"/>
                <a:pathLst>
                  <a:path w="258538" h="347300" extrusionOk="0">
                    <a:moveTo>
                      <a:pt x="143734" y="93393"/>
                    </a:moveTo>
                    <a:cubicBezTo>
                      <a:pt x="111946" y="93393"/>
                      <a:pt x="85503" y="107172"/>
                      <a:pt x="68894" y="129755"/>
                    </a:cubicBezTo>
                    <a:lnTo>
                      <a:pt x="68894" y="6489"/>
                    </a:lnTo>
                    <a:cubicBezTo>
                      <a:pt x="68894" y="2916"/>
                      <a:pt x="65978" y="0"/>
                      <a:pt x="62405" y="0"/>
                    </a:cubicBezTo>
                    <a:lnTo>
                      <a:pt x="6489" y="0"/>
                    </a:lnTo>
                    <a:cubicBezTo>
                      <a:pt x="2916" y="0"/>
                      <a:pt x="0" y="2916"/>
                      <a:pt x="0" y="6489"/>
                    </a:cubicBezTo>
                    <a:lnTo>
                      <a:pt x="0" y="335894"/>
                    </a:lnTo>
                    <a:cubicBezTo>
                      <a:pt x="0" y="339467"/>
                      <a:pt x="2916" y="342383"/>
                      <a:pt x="6489" y="342383"/>
                    </a:cubicBezTo>
                    <a:lnTo>
                      <a:pt x="62405" y="342383"/>
                    </a:lnTo>
                    <a:cubicBezTo>
                      <a:pt x="65978" y="342383"/>
                      <a:pt x="68894" y="339467"/>
                      <a:pt x="68894" y="335894"/>
                    </a:cubicBezTo>
                    <a:lnTo>
                      <a:pt x="68894" y="311624"/>
                    </a:lnTo>
                    <a:cubicBezTo>
                      <a:pt x="85532" y="334236"/>
                      <a:pt x="111946" y="347300"/>
                      <a:pt x="144249" y="347300"/>
                    </a:cubicBezTo>
                    <a:cubicBezTo>
                      <a:pt x="212257" y="347300"/>
                      <a:pt x="258539" y="292442"/>
                      <a:pt x="258539" y="220689"/>
                    </a:cubicBezTo>
                    <a:cubicBezTo>
                      <a:pt x="258539" y="148937"/>
                      <a:pt x="212257" y="93393"/>
                      <a:pt x="143763" y="93393"/>
                    </a:cubicBezTo>
                    <a:close/>
                    <a:moveTo>
                      <a:pt x="130041" y="282637"/>
                    </a:moveTo>
                    <a:cubicBezTo>
                      <a:pt x="94822" y="282637"/>
                      <a:pt x="68894" y="254136"/>
                      <a:pt x="68894" y="220718"/>
                    </a:cubicBezTo>
                    <a:cubicBezTo>
                      <a:pt x="68894" y="187300"/>
                      <a:pt x="94822" y="159285"/>
                      <a:pt x="130041" y="159285"/>
                    </a:cubicBezTo>
                    <a:cubicBezTo>
                      <a:pt x="165260" y="159285"/>
                      <a:pt x="190216" y="187300"/>
                      <a:pt x="190216" y="220718"/>
                    </a:cubicBezTo>
                    <a:cubicBezTo>
                      <a:pt x="190216" y="254136"/>
                      <a:pt x="164774" y="282637"/>
                      <a:pt x="130041" y="282637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  <p:sp>
            <p:nvSpPr>
              <p:cNvPr id="33" name="Google Shape;20;p61">
                <a:extLst>
                  <a:ext uri="{FF2B5EF4-FFF2-40B4-BE49-F238E27FC236}">
                    <a16:creationId xmlns:a16="http://schemas.microsoft.com/office/drawing/2014/main" id="{E2EE3D38-E4BD-56BA-C54A-39C3097950BD}"/>
                  </a:ext>
                </a:extLst>
              </p:cNvPr>
              <p:cNvSpPr/>
              <p:nvPr/>
            </p:nvSpPr>
            <p:spPr>
              <a:xfrm>
                <a:off x="9736922" y="3105088"/>
                <a:ext cx="251792" cy="253935"/>
              </a:xfrm>
              <a:custGeom>
                <a:avLst/>
                <a:gdLst/>
                <a:ahLst/>
                <a:cxnLst/>
                <a:rect l="l" t="t" r="r" b="b"/>
                <a:pathLst>
                  <a:path w="251792" h="253935" extrusionOk="0">
                    <a:moveTo>
                      <a:pt x="125896" y="0"/>
                    </a:moveTo>
                    <a:cubicBezTo>
                      <a:pt x="54944" y="0"/>
                      <a:pt x="0" y="55287"/>
                      <a:pt x="0" y="126725"/>
                    </a:cubicBezTo>
                    <a:cubicBezTo>
                      <a:pt x="0" y="198163"/>
                      <a:pt x="54915" y="253936"/>
                      <a:pt x="125896" y="253936"/>
                    </a:cubicBezTo>
                    <a:cubicBezTo>
                      <a:pt x="196877" y="253936"/>
                      <a:pt x="251792" y="198163"/>
                      <a:pt x="251792" y="126725"/>
                    </a:cubicBezTo>
                    <a:cubicBezTo>
                      <a:pt x="251792" y="55287"/>
                      <a:pt x="196877" y="0"/>
                      <a:pt x="125896" y="0"/>
                    </a:cubicBezTo>
                    <a:close/>
                    <a:moveTo>
                      <a:pt x="126153" y="188558"/>
                    </a:moveTo>
                    <a:cubicBezTo>
                      <a:pt x="91506" y="188558"/>
                      <a:pt x="65378" y="160314"/>
                      <a:pt x="65378" y="126725"/>
                    </a:cubicBezTo>
                    <a:cubicBezTo>
                      <a:pt x="65378" y="93136"/>
                      <a:pt x="91506" y="65378"/>
                      <a:pt x="126153" y="65378"/>
                    </a:cubicBezTo>
                    <a:cubicBezTo>
                      <a:pt x="160801" y="65378"/>
                      <a:pt x="186443" y="93136"/>
                      <a:pt x="186443" y="126725"/>
                    </a:cubicBezTo>
                    <a:cubicBezTo>
                      <a:pt x="186443" y="160314"/>
                      <a:pt x="161315" y="188558"/>
                      <a:pt x="126153" y="188558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  <p:sp>
            <p:nvSpPr>
              <p:cNvPr id="34" name="Google Shape;21;p61">
                <a:extLst>
                  <a:ext uri="{FF2B5EF4-FFF2-40B4-BE49-F238E27FC236}">
                    <a16:creationId xmlns:a16="http://schemas.microsoft.com/office/drawing/2014/main" id="{A822E082-479C-4347-8C9F-F199E7E340A3}"/>
                  </a:ext>
                </a:extLst>
              </p:cNvPr>
              <p:cNvSpPr/>
              <p:nvPr/>
            </p:nvSpPr>
            <p:spPr>
              <a:xfrm>
                <a:off x="10370776" y="3105088"/>
                <a:ext cx="251792" cy="253935"/>
              </a:xfrm>
              <a:custGeom>
                <a:avLst/>
                <a:gdLst/>
                <a:ahLst/>
                <a:cxnLst/>
                <a:rect l="l" t="t" r="r" b="b"/>
                <a:pathLst>
                  <a:path w="251792" h="253935" extrusionOk="0">
                    <a:moveTo>
                      <a:pt x="125896" y="0"/>
                    </a:moveTo>
                    <a:cubicBezTo>
                      <a:pt x="54944" y="0"/>
                      <a:pt x="0" y="55287"/>
                      <a:pt x="0" y="126725"/>
                    </a:cubicBezTo>
                    <a:cubicBezTo>
                      <a:pt x="0" y="198163"/>
                      <a:pt x="54915" y="253936"/>
                      <a:pt x="125896" y="253936"/>
                    </a:cubicBezTo>
                    <a:cubicBezTo>
                      <a:pt x="196877" y="253936"/>
                      <a:pt x="251792" y="198163"/>
                      <a:pt x="251792" y="126725"/>
                    </a:cubicBezTo>
                    <a:cubicBezTo>
                      <a:pt x="251792" y="55287"/>
                      <a:pt x="196877" y="0"/>
                      <a:pt x="125896" y="0"/>
                    </a:cubicBezTo>
                    <a:close/>
                    <a:moveTo>
                      <a:pt x="126153" y="188558"/>
                    </a:moveTo>
                    <a:cubicBezTo>
                      <a:pt x="91506" y="188558"/>
                      <a:pt x="65378" y="160314"/>
                      <a:pt x="65378" y="126725"/>
                    </a:cubicBezTo>
                    <a:cubicBezTo>
                      <a:pt x="65378" y="93136"/>
                      <a:pt x="91506" y="65378"/>
                      <a:pt x="126153" y="65378"/>
                    </a:cubicBezTo>
                    <a:cubicBezTo>
                      <a:pt x="160801" y="65378"/>
                      <a:pt x="186443" y="93136"/>
                      <a:pt x="186443" y="126725"/>
                    </a:cubicBezTo>
                    <a:cubicBezTo>
                      <a:pt x="186443" y="160314"/>
                      <a:pt x="161315" y="188558"/>
                      <a:pt x="126153" y="188558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  <p:sp>
            <p:nvSpPr>
              <p:cNvPr id="35" name="Google Shape;22;p61">
                <a:extLst>
                  <a:ext uri="{FF2B5EF4-FFF2-40B4-BE49-F238E27FC236}">
                    <a16:creationId xmlns:a16="http://schemas.microsoft.com/office/drawing/2014/main" id="{E3E94E22-4301-7B26-7787-4C3A9AADA30A}"/>
                  </a:ext>
                </a:extLst>
              </p:cNvPr>
              <p:cNvSpPr/>
              <p:nvPr/>
            </p:nvSpPr>
            <p:spPr>
              <a:xfrm>
                <a:off x="9242171" y="3110092"/>
                <a:ext cx="68865" cy="243987"/>
              </a:xfrm>
              <a:custGeom>
                <a:avLst/>
                <a:gdLst/>
                <a:ahLst/>
                <a:cxnLst/>
                <a:rect l="l" t="t" r="r" b="b"/>
                <a:pathLst>
                  <a:path w="68865" h="243987" extrusionOk="0">
                    <a:moveTo>
                      <a:pt x="62405" y="243987"/>
                    </a:moveTo>
                    <a:lnTo>
                      <a:pt x="6489" y="243987"/>
                    </a:lnTo>
                    <a:cubicBezTo>
                      <a:pt x="2916" y="243987"/>
                      <a:pt x="0" y="241071"/>
                      <a:pt x="0" y="237498"/>
                    </a:cubicBezTo>
                    <a:lnTo>
                      <a:pt x="0" y="63891"/>
                    </a:lnTo>
                    <a:cubicBezTo>
                      <a:pt x="0" y="60403"/>
                      <a:pt x="1401" y="57059"/>
                      <a:pt x="3888" y="54629"/>
                    </a:cubicBezTo>
                    <a:lnTo>
                      <a:pt x="57860" y="1858"/>
                    </a:lnTo>
                    <a:cubicBezTo>
                      <a:pt x="61976" y="-2144"/>
                      <a:pt x="68866" y="743"/>
                      <a:pt x="68866" y="6489"/>
                    </a:cubicBezTo>
                    <a:lnTo>
                      <a:pt x="68866" y="237498"/>
                    </a:lnTo>
                    <a:cubicBezTo>
                      <a:pt x="68866" y="241071"/>
                      <a:pt x="65950" y="243987"/>
                      <a:pt x="62376" y="243987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  <p:sp>
            <p:nvSpPr>
              <p:cNvPr id="36" name="Google Shape;23;p61">
                <a:extLst>
                  <a:ext uri="{FF2B5EF4-FFF2-40B4-BE49-F238E27FC236}">
                    <a16:creationId xmlns:a16="http://schemas.microsoft.com/office/drawing/2014/main" id="{2F4A0481-D7A7-0614-4A3D-5D8F32410A0A}"/>
                  </a:ext>
                </a:extLst>
              </p:cNvPr>
              <p:cNvSpPr/>
              <p:nvPr/>
            </p:nvSpPr>
            <p:spPr>
              <a:xfrm>
                <a:off x="9347255" y="3105025"/>
                <a:ext cx="224777" cy="249082"/>
              </a:xfrm>
              <a:custGeom>
                <a:avLst/>
                <a:gdLst/>
                <a:ahLst/>
                <a:cxnLst/>
                <a:rect l="l" t="t" r="r" b="b"/>
                <a:pathLst>
                  <a:path w="224777" h="249082" extrusionOk="0">
                    <a:moveTo>
                      <a:pt x="224749" y="87568"/>
                    </a:moveTo>
                    <a:cubicBezTo>
                      <a:pt x="224749" y="40257"/>
                      <a:pt x="185671" y="578"/>
                      <a:pt x="136416" y="6"/>
                    </a:cubicBezTo>
                    <a:cubicBezTo>
                      <a:pt x="104370" y="-365"/>
                      <a:pt x="82730" y="15329"/>
                      <a:pt x="68894" y="36540"/>
                    </a:cubicBezTo>
                    <a:lnTo>
                      <a:pt x="68894" y="11670"/>
                    </a:lnTo>
                    <a:cubicBezTo>
                      <a:pt x="68894" y="8097"/>
                      <a:pt x="65978" y="5181"/>
                      <a:pt x="62405" y="5181"/>
                    </a:cubicBezTo>
                    <a:lnTo>
                      <a:pt x="6489" y="5181"/>
                    </a:lnTo>
                    <a:cubicBezTo>
                      <a:pt x="2916" y="5181"/>
                      <a:pt x="0" y="8097"/>
                      <a:pt x="0" y="11670"/>
                    </a:cubicBezTo>
                    <a:lnTo>
                      <a:pt x="0" y="242565"/>
                    </a:lnTo>
                    <a:cubicBezTo>
                      <a:pt x="0" y="246138"/>
                      <a:pt x="2916" y="249054"/>
                      <a:pt x="6489" y="249054"/>
                    </a:cubicBezTo>
                    <a:lnTo>
                      <a:pt x="62405" y="249054"/>
                    </a:lnTo>
                    <a:cubicBezTo>
                      <a:pt x="65978" y="249054"/>
                      <a:pt x="68894" y="246138"/>
                      <a:pt x="68894" y="242565"/>
                    </a:cubicBezTo>
                    <a:lnTo>
                      <a:pt x="68894" y="108293"/>
                    </a:lnTo>
                    <a:cubicBezTo>
                      <a:pt x="70438" y="82451"/>
                      <a:pt x="86818" y="66385"/>
                      <a:pt x="112375" y="66385"/>
                    </a:cubicBezTo>
                    <a:cubicBezTo>
                      <a:pt x="137931" y="66385"/>
                      <a:pt x="155884" y="84423"/>
                      <a:pt x="155884" y="111266"/>
                    </a:cubicBezTo>
                    <a:lnTo>
                      <a:pt x="155884" y="242593"/>
                    </a:lnTo>
                    <a:cubicBezTo>
                      <a:pt x="155884" y="246167"/>
                      <a:pt x="158800" y="249083"/>
                      <a:pt x="162373" y="249083"/>
                    </a:cubicBezTo>
                    <a:lnTo>
                      <a:pt x="218289" y="249083"/>
                    </a:lnTo>
                    <a:cubicBezTo>
                      <a:pt x="221862" y="249083"/>
                      <a:pt x="224778" y="246167"/>
                      <a:pt x="224778" y="242593"/>
                    </a:cubicBezTo>
                    <a:lnTo>
                      <a:pt x="224778" y="8759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</p:grpSp>
      </p:grpSp>
      <p:sp>
        <p:nvSpPr>
          <p:cNvPr id="37" name="Google Shape;24;p61">
            <a:extLst>
              <a:ext uri="{FF2B5EF4-FFF2-40B4-BE49-F238E27FC236}">
                <a16:creationId xmlns:a16="http://schemas.microsoft.com/office/drawing/2014/main" id="{77C26447-E918-8641-5784-082F68E52D5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597191" y="2552085"/>
            <a:ext cx="5472113" cy="17538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800"/>
              <a:buFont typeface="Lato"/>
              <a:buNone/>
              <a:defRPr sz="4800" b="1" i="0" u="none" strike="noStrike" cap="none">
                <a:solidFill>
                  <a:schemeClr val="lt1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  <a:sym typeface="Lat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75000"/>
              </a:lnSpc>
            </a:pPr>
            <a:r>
              <a:rPr lang="en-US" sz="5200" b="1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UNITE WITH INFOBLOX FOR A WORLD THAT</a:t>
            </a:r>
            <a:br>
              <a:rPr lang="en-US" sz="5200" b="1">
                <a:gradFill>
                  <a:gsLst>
                    <a:gs pos="65000">
                      <a:srgbClr val="00BD4D"/>
                    </a:gs>
                    <a:gs pos="0">
                      <a:srgbClr val="FEDD00"/>
                    </a:gs>
                    <a:gs pos="35000">
                      <a:srgbClr val="00BD4D"/>
                    </a:gs>
                    <a:gs pos="100000">
                      <a:srgbClr val="00E2EC"/>
                    </a:gs>
                  </a:gsLst>
                  <a:lin ang="2700000" scaled="0"/>
                </a:gra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en-US" sz="5200" b="1">
                <a:gradFill>
                  <a:gsLst>
                    <a:gs pos="65000">
                      <a:srgbClr val="00BD4D"/>
                    </a:gs>
                    <a:gs pos="0">
                      <a:srgbClr val="FEDD00"/>
                    </a:gs>
                    <a:gs pos="35000">
                      <a:srgbClr val="00BD4D"/>
                    </a:gs>
                    <a:gs pos="100000">
                      <a:srgbClr val="00E2EC"/>
                    </a:gs>
                  </a:gsLst>
                  <a:lin ang="0" scaled="0"/>
                </a:gra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NEVER STOPS</a:t>
            </a:r>
          </a:p>
        </p:txBody>
      </p:sp>
      <p:sp>
        <p:nvSpPr>
          <p:cNvPr id="2" name="Subtitle 5">
            <a:extLst>
              <a:ext uri="{FF2B5EF4-FFF2-40B4-BE49-F238E27FC236}">
                <a16:creationId xmlns:a16="http://schemas.microsoft.com/office/drawing/2014/main" id="{25786DA7-A0A9-E047-A07E-5290BCF911DE}"/>
              </a:ext>
            </a:extLst>
          </p:cNvPr>
          <p:cNvSpPr txBox="1"/>
          <p:nvPr userDrawn="1"/>
        </p:nvSpPr>
        <p:spPr>
          <a:xfrm>
            <a:off x="723900" y="6554347"/>
            <a:ext cx="1631857" cy="113650"/>
          </a:xfrm>
          <a:prstGeom prst="rect">
            <a:avLst/>
          </a:prstGeom>
        </p:spPr>
        <p:txBody>
          <a:bodyPr wrap="none" lIns="0" tIns="0" rIns="0" bIns="0" anchor="ctr" anchorCtr="0">
            <a:normAutofit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800">
                <a:solidFill>
                  <a:srgbClr val="575858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© 2025 Infoblox. All rights reserved.</a:t>
            </a:r>
            <a:endParaRPr lang="en-US" sz="80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5206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4" pos="456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preserve="1" userDrawn="1">
  <p:cSld name="1_Title Slide">
    <p:bg>
      <p:bgPr>
        <a:gradFill>
          <a:gsLst>
            <a:gs pos="0">
              <a:schemeClr val="dk1"/>
            </a:gs>
            <a:gs pos="10000">
              <a:schemeClr val="dk1"/>
            </a:gs>
            <a:gs pos="100000">
              <a:srgbClr val="353C42"/>
            </a:gs>
          </a:gsLst>
          <a:lin ang="2700000" scaled="0"/>
        </a:gradFill>
        <a:effectLst/>
      </p:bgPr>
    </p:bg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5">
            <a:extLst>
              <a:ext uri="{FF2B5EF4-FFF2-40B4-BE49-F238E27FC236}">
                <a16:creationId xmlns:a16="http://schemas.microsoft.com/office/drawing/2014/main" id="{25786DA7-A0A9-E047-A07E-5290BCF911DE}"/>
              </a:ext>
            </a:extLst>
          </p:cNvPr>
          <p:cNvSpPr txBox="1"/>
          <p:nvPr userDrawn="1"/>
        </p:nvSpPr>
        <p:spPr>
          <a:xfrm>
            <a:off x="723900" y="6554347"/>
            <a:ext cx="1631857" cy="113650"/>
          </a:xfrm>
          <a:prstGeom prst="rect">
            <a:avLst/>
          </a:prstGeom>
        </p:spPr>
        <p:txBody>
          <a:bodyPr wrap="none" lIns="0" tIns="0" rIns="0" bIns="0" anchor="ctr" anchorCtr="0">
            <a:normAutofit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800">
                <a:solidFill>
                  <a:srgbClr val="575858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© 2025 Infoblox. All rights reserved.</a:t>
            </a:r>
            <a:endParaRPr lang="en-US" sz="80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21" name="Picture 20" descr="A close-up of a building&#10;&#10;AI-generated content may be incorrect.">
            <a:extLst>
              <a:ext uri="{FF2B5EF4-FFF2-40B4-BE49-F238E27FC236}">
                <a16:creationId xmlns:a16="http://schemas.microsoft.com/office/drawing/2014/main" id="{735B2358-8603-725E-5EC9-33FC0874899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4" name="Google Shape;12;p61">
            <a:extLst>
              <a:ext uri="{FF2B5EF4-FFF2-40B4-BE49-F238E27FC236}">
                <a16:creationId xmlns:a16="http://schemas.microsoft.com/office/drawing/2014/main" id="{6A7FD3B6-DF85-1827-EC09-E66A74183F0C}"/>
              </a:ext>
            </a:extLst>
          </p:cNvPr>
          <p:cNvGrpSpPr/>
          <p:nvPr userDrawn="1"/>
        </p:nvGrpSpPr>
        <p:grpSpPr>
          <a:xfrm>
            <a:off x="507256" y="553066"/>
            <a:ext cx="1756137" cy="378549"/>
            <a:chOff x="9242171" y="2998589"/>
            <a:chExt cx="1672097" cy="360434"/>
          </a:xfrm>
        </p:grpSpPr>
        <p:sp>
          <p:nvSpPr>
            <p:cNvPr id="5" name="Google Shape;13;p61">
              <a:extLst>
                <a:ext uri="{FF2B5EF4-FFF2-40B4-BE49-F238E27FC236}">
                  <a16:creationId xmlns:a16="http://schemas.microsoft.com/office/drawing/2014/main" id="{3B4F1BF9-3E09-70D4-88E6-A876E8F56ED7}"/>
                </a:ext>
              </a:extLst>
            </p:cNvPr>
            <p:cNvSpPr/>
            <p:nvPr/>
          </p:nvSpPr>
          <p:spPr>
            <a:xfrm rot="-2700000">
              <a:off x="9267550" y="3013811"/>
              <a:ext cx="73496" cy="73496"/>
            </a:xfrm>
            <a:custGeom>
              <a:avLst/>
              <a:gdLst/>
              <a:ahLst/>
              <a:cxnLst/>
              <a:rect l="l" t="t" r="r" b="b"/>
              <a:pathLst>
                <a:path w="73496" h="73496" extrusionOk="0">
                  <a:moveTo>
                    <a:pt x="67007" y="0"/>
                  </a:moveTo>
                  <a:cubicBezTo>
                    <a:pt x="70591" y="0"/>
                    <a:pt x="73497" y="2905"/>
                    <a:pt x="73497" y="6489"/>
                  </a:cubicBezTo>
                  <a:lnTo>
                    <a:pt x="73497" y="67007"/>
                  </a:lnTo>
                  <a:cubicBezTo>
                    <a:pt x="73497" y="70591"/>
                    <a:pt x="70591" y="73496"/>
                    <a:pt x="67007" y="73496"/>
                  </a:cubicBezTo>
                  <a:lnTo>
                    <a:pt x="6489" y="73496"/>
                  </a:lnTo>
                  <a:cubicBezTo>
                    <a:pt x="2905" y="73496"/>
                    <a:pt x="0" y="70591"/>
                    <a:pt x="0" y="67007"/>
                  </a:cubicBezTo>
                  <a:lnTo>
                    <a:pt x="0" y="6489"/>
                  </a:lnTo>
                  <a:cubicBezTo>
                    <a:pt x="0" y="2905"/>
                    <a:pt x="2905" y="0"/>
                    <a:pt x="6489" y="0"/>
                  </a:cubicBezTo>
                  <a:close/>
                </a:path>
              </a:pathLst>
            </a:custGeom>
            <a:solidFill>
              <a:srgbClr val="00B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endParaRPr>
            </a:p>
          </p:txBody>
        </p:sp>
        <p:grpSp>
          <p:nvGrpSpPr>
            <p:cNvPr id="6" name="Google Shape;14;p61">
              <a:extLst>
                <a:ext uri="{FF2B5EF4-FFF2-40B4-BE49-F238E27FC236}">
                  <a16:creationId xmlns:a16="http://schemas.microsoft.com/office/drawing/2014/main" id="{7F40C300-C60A-88AC-C24E-09E1CED64E28}"/>
                </a:ext>
              </a:extLst>
            </p:cNvPr>
            <p:cNvGrpSpPr/>
            <p:nvPr/>
          </p:nvGrpSpPr>
          <p:grpSpPr>
            <a:xfrm>
              <a:off x="9242171" y="3011696"/>
              <a:ext cx="1672097" cy="347327"/>
              <a:chOff x="9242171" y="3011696"/>
              <a:chExt cx="1672097" cy="347327"/>
            </a:xfrm>
          </p:grpSpPr>
          <p:sp>
            <p:nvSpPr>
              <p:cNvPr id="7" name="Google Shape;15;p61">
                <a:extLst>
                  <a:ext uri="{FF2B5EF4-FFF2-40B4-BE49-F238E27FC236}">
                    <a16:creationId xmlns:a16="http://schemas.microsoft.com/office/drawing/2014/main" id="{8083E7CC-DA99-B5F4-BA3F-D50642A39F60}"/>
                  </a:ext>
                </a:extLst>
              </p:cNvPr>
              <p:cNvSpPr/>
              <p:nvPr/>
            </p:nvSpPr>
            <p:spPr>
              <a:xfrm>
                <a:off x="10604432" y="3110234"/>
                <a:ext cx="249644" cy="243844"/>
              </a:xfrm>
              <a:custGeom>
                <a:avLst/>
                <a:gdLst/>
                <a:ahLst/>
                <a:cxnLst/>
                <a:rect l="l" t="t" r="r" b="b"/>
                <a:pathLst>
                  <a:path w="249644" h="243844" extrusionOk="0">
                    <a:moveTo>
                      <a:pt x="172562" y="121922"/>
                    </a:moveTo>
                    <a:lnTo>
                      <a:pt x="248603" y="234754"/>
                    </a:lnTo>
                    <a:cubicBezTo>
                      <a:pt x="251347" y="238642"/>
                      <a:pt x="248346" y="243845"/>
                      <a:pt x="243372" y="243845"/>
                    </a:cubicBezTo>
                    <a:lnTo>
                      <a:pt x="179480" y="243845"/>
                    </a:lnTo>
                    <a:cubicBezTo>
                      <a:pt x="175221" y="243845"/>
                      <a:pt x="171219" y="241729"/>
                      <a:pt x="168789" y="238213"/>
                    </a:cubicBezTo>
                    <a:lnTo>
                      <a:pt x="124822" y="170949"/>
                    </a:lnTo>
                    <a:lnTo>
                      <a:pt x="80856" y="238213"/>
                    </a:lnTo>
                    <a:cubicBezTo>
                      <a:pt x="78426" y="241729"/>
                      <a:pt x="74452" y="243845"/>
                      <a:pt x="70164" y="243845"/>
                    </a:cubicBezTo>
                    <a:lnTo>
                      <a:pt x="6273" y="243845"/>
                    </a:lnTo>
                    <a:cubicBezTo>
                      <a:pt x="1299" y="243845"/>
                      <a:pt x="-1703" y="238671"/>
                      <a:pt x="1042" y="234754"/>
                    </a:cubicBezTo>
                    <a:lnTo>
                      <a:pt x="76854" y="121922"/>
                    </a:lnTo>
                    <a:lnTo>
                      <a:pt x="1042" y="9091"/>
                    </a:lnTo>
                    <a:cubicBezTo>
                      <a:pt x="-1703" y="5203"/>
                      <a:pt x="1299" y="0"/>
                      <a:pt x="6273" y="0"/>
                    </a:cubicBezTo>
                    <a:lnTo>
                      <a:pt x="72880" y="0"/>
                    </a:lnTo>
                    <a:cubicBezTo>
                      <a:pt x="75367" y="0"/>
                      <a:pt x="77683" y="1143"/>
                      <a:pt x="78998" y="3030"/>
                    </a:cubicBezTo>
                    <a:lnTo>
                      <a:pt x="124794" y="72782"/>
                    </a:lnTo>
                    <a:lnTo>
                      <a:pt x="167788" y="3059"/>
                    </a:lnTo>
                    <a:cubicBezTo>
                      <a:pt x="169075" y="1172"/>
                      <a:pt x="171419" y="0"/>
                      <a:pt x="173906" y="0"/>
                    </a:cubicBezTo>
                    <a:lnTo>
                      <a:pt x="241171" y="0"/>
                    </a:lnTo>
                    <a:cubicBezTo>
                      <a:pt x="246145" y="0"/>
                      <a:pt x="249118" y="5174"/>
                      <a:pt x="246402" y="9062"/>
                    </a:cubicBezTo>
                    <a:lnTo>
                      <a:pt x="172505" y="121922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  <p:sp>
            <p:nvSpPr>
              <p:cNvPr id="8" name="Google Shape;16;p61">
                <a:extLst>
                  <a:ext uri="{FF2B5EF4-FFF2-40B4-BE49-F238E27FC236}">
                    <a16:creationId xmlns:a16="http://schemas.microsoft.com/office/drawing/2014/main" id="{9E5EE111-6246-D649-030E-884AEA120731}"/>
                  </a:ext>
                </a:extLst>
              </p:cNvPr>
              <p:cNvSpPr/>
              <p:nvPr/>
            </p:nvSpPr>
            <p:spPr>
              <a:xfrm>
                <a:off x="9581152" y="3011696"/>
                <a:ext cx="164831" cy="342440"/>
              </a:xfrm>
              <a:custGeom>
                <a:avLst/>
                <a:gdLst/>
                <a:ahLst/>
                <a:cxnLst/>
                <a:rect l="l" t="t" r="r" b="b"/>
                <a:pathLst>
                  <a:path w="164831" h="342440" extrusionOk="0">
                    <a:moveTo>
                      <a:pt x="158342" y="29"/>
                    </a:moveTo>
                    <a:lnTo>
                      <a:pt x="105342" y="29"/>
                    </a:lnTo>
                    <a:cubicBezTo>
                      <a:pt x="100197" y="29"/>
                      <a:pt x="95251" y="2087"/>
                      <a:pt x="91592" y="5717"/>
                    </a:cubicBezTo>
                    <a:lnTo>
                      <a:pt x="41794" y="55515"/>
                    </a:lnTo>
                    <a:cubicBezTo>
                      <a:pt x="38135" y="59175"/>
                      <a:pt x="36105" y="64120"/>
                      <a:pt x="36105" y="69266"/>
                    </a:cubicBezTo>
                    <a:lnTo>
                      <a:pt x="36105" y="108458"/>
                    </a:lnTo>
                    <a:lnTo>
                      <a:pt x="6375" y="108458"/>
                    </a:lnTo>
                    <a:cubicBezTo>
                      <a:pt x="2859" y="108458"/>
                      <a:pt x="0" y="111317"/>
                      <a:pt x="0" y="114833"/>
                    </a:cubicBezTo>
                    <a:lnTo>
                      <a:pt x="0" y="158828"/>
                    </a:lnTo>
                    <a:cubicBezTo>
                      <a:pt x="0" y="162344"/>
                      <a:pt x="2859" y="165203"/>
                      <a:pt x="6375" y="165203"/>
                    </a:cubicBezTo>
                    <a:lnTo>
                      <a:pt x="36105" y="165203"/>
                    </a:lnTo>
                    <a:lnTo>
                      <a:pt x="36105" y="335951"/>
                    </a:lnTo>
                    <a:cubicBezTo>
                      <a:pt x="36105" y="339524"/>
                      <a:pt x="39021" y="342440"/>
                      <a:pt x="42594" y="342440"/>
                    </a:cubicBezTo>
                    <a:lnTo>
                      <a:pt x="98510" y="342440"/>
                    </a:lnTo>
                    <a:cubicBezTo>
                      <a:pt x="102083" y="342440"/>
                      <a:pt x="104999" y="339524"/>
                      <a:pt x="104999" y="335951"/>
                    </a:cubicBezTo>
                    <a:lnTo>
                      <a:pt x="104999" y="165174"/>
                    </a:lnTo>
                    <a:lnTo>
                      <a:pt x="149394" y="165174"/>
                    </a:lnTo>
                    <a:cubicBezTo>
                      <a:pt x="152911" y="165174"/>
                      <a:pt x="155769" y="162315"/>
                      <a:pt x="155769" y="158799"/>
                    </a:cubicBezTo>
                    <a:lnTo>
                      <a:pt x="155769" y="114804"/>
                    </a:lnTo>
                    <a:cubicBezTo>
                      <a:pt x="155769" y="111288"/>
                      <a:pt x="152911" y="108429"/>
                      <a:pt x="149394" y="108429"/>
                    </a:cubicBezTo>
                    <a:lnTo>
                      <a:pt x="104999" y="108429"/>
                    </a:lnTo>
                    <a:lnTo>
                      <a:pt x="104999" y="80643"/>
                    </a:lnTo>
                    <a:cubicBezTo>
                      <a:pt x="104999" y="69895"/>
                      <a:pt x="113718" y="61204"/>
                      <a:pt x="124438" y="61204"/>
                    </a:cubicBezTo>
                    <a:lnTo>
                      <a:pt x="158342" y="61204"/>
                    </a:lnTo>
                    <a:cubicBezTo>
                      <a:pt x="161915" y="61204"/>
                      <a:pt x="164831" y="58288"/>
                      <a:pt x="164831" y="54715"/>
                    </a:cubicBezTo>
                    <a:lnTo>
                      <a:pt x="164831" y="6489"/>
                    </a:lnTo>
                    <a:cubicBezTo>
                      <a:pt x="164831" y="2916"/>
                      <a:pt x="161915" y="0"/>
                      <a:pt x="158342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  <p:sp>
            <p:nvSpPr>
              <p:cNvPr id="9" name="Google Shape;17;p61">
                <a:extLst>
                  <a:ext uri="{FF2B5EF4-FFF2-40B4-BE49-F238E27FC236}">
                    <a16:creationId xmlns:a16="http://schemas.microsoft.com/office/drawing/2014/main" id="{4C929926-2FAF-603C-989A-D4763811DBDE}"/>
                  </a:ext>
                </a:extLst>
              </p:cNvPr>
              <p:cNvSpPr/>
              <p:nvPr/>
            </p:nvSpPr>
            <p:spPr>
              <a:xfrm>
                <a:off x="10860611" y="3304224"/>
                <a:ext cx="53657" cy="53657"/>
              </a:xfrm>
              <a:custGeom>
                <a:avLst/>
                <a:gdLst/>
                <a:ahLst/>
                <a:cxnLst/>
                <a:rect l="l" t="t" r="r" b="b"/>
                <a:pathLst>
                  <a:path w="53657" h="53657" extrusionOk="0">
                    <a:moveTo>
                      <a:pt x="53657" y="26786"/>
                    </a:moveTo>
                    <a:cubicBezTo>
                      <a:pt x="53657" y="41708"/>
                      <a:pt x="41708" y="53657"/>
                      <a:pt x="26729" y="53657"/>
                    </a:cubicBezTo>
                    <a:cubicBezTo>
                      <a:pt x="11749" y="53657"/>
                      <a:pt x="0" y="41594"/>
                      <a:pt x="0" y="26786"/>
                    </a:cubicBezTo>
                    <a:cubicBezTo>
                      <a:pt x="0" y="11978"/>
                      <a:pt x="11949" y="0"/>
                      <a:pt x="26814" y="0"/>
                    </a:cubicBezTo>
                    <a:cubicBezTo>
                      <a:pt x="41679" y="0"/>
                      <a:pt x="53629" y="11892"/>
                      <a:pt x="53629" y="26786"/>
                    </a:cubicBezTo>
                    <a:close/>
                    <a:moveTo>
                      <a:pt x="49541" y="26900"/>
                    </a:moveTo>
                    <a:cubicBezTo>
                      <a:pt x="49541" y="14036"/>
                      <a:pt x="39392" y="3831"/>
                      <a:pt x="26843" y="3831"/>
                    </a:cubicBezTo>
                    <a:cubicBezTo>
                      <a:pt x="14293" y="3831"/>
                      <a:pt x="4145" y="13922"/>
                      <a:pt x="4145" y="26872"/>
                    </a:cubicBezTo>
                    <a:cubicBezTo>
                      <a:pt x="4145" y="39821"/>
                      <a:pt x="14408" y="49884"/>
                      <a:pt x="26729" y="49884"/>
                    </a:cubicBezTo>
                    <a:cubicBezTo>
                      <a:pt x="39049" y="49884"/>
                      <a:pt x="49541" y="39736"/>
                      <a:pt x="49541" y="26900"/>
                    </a:cubicBezTo>
                    <a:close/>
                    <a:moveTo>
                      <a:pt x="32589" y="31131"/>
                    </a:moveTo>
                    <a:lnTo>
                      <a:pt x="39335" y="41622"/>
                    </a:lnTo>
                    <a:lnTo>
                      <a:pt x="34876" y="41622"/>
                    </a:lnTo>
                    <a:lnTo>
                      <a:pt x="27386" y="29730"/>
                    </a:lnTo>
                    <a:lnTo>
                      <a:pt x="20554" y="29730"/>
                    </a:lnTo>
                    <a:lnTo>
                      <a:pt x="20554" y="41622"/>
                    </a:lnTo>
                    <a:lnTo>
                      <a:pt x="16809" y="41622"/>
                    </a:lnTo>
                    <a:lnTo>
                      <a:pt x="16809" y="11549"/>
                    </a:lnTo>
                    <a:lnTo>
                      <a:pt x="28472" y="11549"/>
                    </a:lnTo>
                    <a:cubicBezTo>
                      <a:pt x="34218" y="11549"/>
                      <a:pt x="37963" y="14636"/>
                      <a:pt x="37963" y="20411"/>
                    </a:cubicBezTo>
                    <a:cubicBezTo>
                      <a:pt x="37963" y="25071"/>
                      <a:pt x="35133" y="27958"/>
                      <a:pt x="31131" y="29101"/>
                    </a:cubicBezTo>
                    <a:cubicBezTo>
                      <a:pt x="31674" y="29702"/>
                      <a:pt x="32217" y="30445"/>
                      <a:pt x="32589" y="31160"/>
                    </a:cubicBezTo>
                    <a:close/>
                    <a:moveTo>
                      <a:pt x="27214" y="26185"/>
                    </a:moveTo>
                    <a:cubicBezTo>
                      <a:pt x="31445" y="26185"/>
                      <a:pt x="34047" y="24184"/>
                      <a:pt x="34047" y="20640"/>
                    </a:cubicBezTo>
                    <a:cubicBezTo>
                      <a:pt x="34047" y="17095"/>
                      <a:pt x="32246" y="15037"/>
                      <a:pt x="28558" y="15037"/>
                    </a:cubicBezTo>
                    <a:lnTo>
                      <a:pt x="20525" y="15037"/>
                    </a:lnTo>
                    <a:lnTo>
                      <a:pt x="20525" y="26157"/>
                    </a:lnTo>
                    <a:lnTo>
                      <a:pt x="27214" y="26157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  <p:sp>
            <p:nvSpPr>
              <p:cNvPr id="11" name="Google Shape;18;p61">
                <a:extLst>
                  <a:ext uri="{FF2B5EF4-FFF2-40B4-BE49-F238E27FC236}">
                    <a16:creationId xmlns:a16="http://schemas.microsoft.com/office/drawing/2014/main" id="{A66F6F90-D2B7-C36E-EE34-BBCEBA84FE90}"/>
                  </a:ext>
                </a:extLst>
              </p:cNvPr>
              <p:cNvSpPr/>
              <p:nvPr/>
            </p:nvSpPr>
            <p:spPr>
              <a:xfrm>
                <a:off x="10283815" y="3011724"/>
                <a:ext cx="68865" cy="342354"/>
              </a:xfrm>
              <a:custGeom>
                <a:avLst/>
                <a:gdLst/>
                <a:ahLst/>
                <a:cxnLst/>
                <a:rect l="l" t="t" r="r" b="b"/>
                <a:pathLst>
                  <a:path w="68865" h="342354" extrusionOk="0">
                    <a:moveTo>
                      <a:pt x="62376" y="0"/>
                    </a:moveTo>
                    <a:cubicBezTo>
                      <a:pt x="65960" y="0"/>
                      <a:pt x="68866" y="2905"/>
                      <a:pt x="68866" y="6489"/>
                    </a:cubicBezTo>
                    <a:lnTo>
                      <a:pt x="68866" y="335865"/>
                    </a:lnTo>
                    <a:cubicBezTo>
                      <a:pt x="68866" y="339449"/>
                      <a:pt x="65960" y="342355"/>
                      <a:pt x="62376" y="342355"/>
                    </a:cubicBezTo>
                    <a:lnTo>
                      <a:pt x="6489" y="342355"/>
                    </a:lnTo>
                    <a:cubicBezTo>
                      <a:pt x="2905" y="342355"/>
                      <a:pt x="0" y="339449"/>
                      <a:pt x="0" y="335865"/>
                    </a:cubicBezTo>
                    <a:lnTo>
                      <a:pt x="0" y="6489"/>
                    </a:lnTo>
                    <a:cubicBezTo>
                      <a:pt x="0" y="2905"/>
                      <a:pt x="2905" y="0"/>
                      <a:pt x="6489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  <p:sp>
            <p:nvSpPr>
              <p:cNvPr id="12" name="Google Shape;19;p61">
                <a:extLst>
                  <a:ext uri="{FF2B5EF4-FFF2-40B4-BE49-F238E27FC236}">
                    <a16:creationId xmlns:a16="http://schemas.microsoft.com/office/drawing/2014/main" id="{EAE3E51E-BC73-FA57-50F5-C7E31E5B9153}"/>
                  </a:ext>
                </a:extLst>
              </p:cNvPr>
              <p:cNvSpPr/>
              <p:nvPr/>
            </p:nvSpPr>
            <p:spPr>
              <a:xfrm>
                <a:off x="10006809" y="3011696"/>
                <a:ext cx="258538" cy="347300"/>
              </a:xfrm>
              <a:custGeom>
                <a:avLst/>
                <a:gdLst/>
                <a:ahLst/>
                <a:cxnLst/>
                <a:rect l="l" t="t" r="r" b="b"/>
                <a:pathLst>
                  <a:path w="258538" h="347300" extrusionOk="0">
                    <a:moveTo>
                      <a:pt x="143734" y="93393"/>
                    </a:moveTo>
                    <a:cubicBezTo>
                      <a:pt x="111946" y="93393"/>
                      <a:pt x="85503" y="107172"/>
                      <a:pt x="68894" y="129755"/>
                    </a:cubicBezTo>
                    <a:lnTo>
                      <a:pt x="68894" y="6489"/>
                    </a:lnTo>
                    <a:cubicBezTo>
                      <a:pt x="68894" y="2916"/>
                      <a:pt x="65978" y="0"/>
                      <a:pt x="62405" y="0"/>
                    </a:cubicBezTo>
                    <a:lnTo>
                      <a:pt x="6489" y="0"/>
                    </a:lnTo>
                    <a:cubicBezTo>
                      <a:pt x="2916" y="0"/>
                      <a:pt x="0" y="2916"/>
                      <a:pt x="0" y="6489"/>
                    </a:cubicBezTo>
                    <a:lnTo>
                      <a:pt x="0" y="335894"/>
                    </a:lnTo>
                    <a:cubicBezTo>
                      <a:pt x="0" y="339467"/>
                      <a:pt x="2916" y="342383"/>
                      <a:pt x="6489" y="342383"/>
                    </a:cubicBezTo>
                    <a:lnTo>
                      <a:pt x="62405" y="342383"/>
                    </a:lnTo>
                    <a:cubicBezTo>
                      <a:pt x="65978" y="342383"/>
                      <a:pt x="68894" y="339467"/>
                      <a:pt x="68894" y="335894"/>
                    </a:cubicBezTo>
                    <a:lnTo>
                      <a:pt x="68894" y="311624"/>
                    </a:lnTo>
                    <a:cubicBezTo>
                      <a:pt x="85532" y="334236"/>
                      <a:pt x="111946" y="347300"/>
                      <a:pt x="144249" y="347300"/>
                    </a:cubicBezTo>
                    <a:cubicBezTo>
                      <a:pt x="212257" y="347300"/>
                      <a:pt x="258539" y="292442"/>
                      <a:pt x="258539" y="220689"/>
                    </a:cubicBezTo>
                    <a:cubicBezTo>
                      <a:pt x="258539" y="148937"/>
                      <a:pt x="212257" y="93393"/>
                      <a:pt x="143763" y="93393"/>
                    </a:cubicBezTo>
                    <a:close/>
                    <a:moveTo>
                      <a:pt x="130041" y="282637"/>
                    </a:moveTo>
                    <a:cubicBezTo>
                      <a:pt x="94822" y="282637"/>
                      <a:pt x="68894" y="254136"/>
                      <a:pt x="68894" y="220718"/>
                    </a:cubicBezTo>
                    <a:cubicBezTo>
                      <a:pt x="68894" y="187300"/>
                      <a:pt x="94822" y="159285"/>
                      <a:pt x="130041" y="159285"/>
                    </a:cubicBezTo>
                    <a:cubicBezTo>
                      <a:pt x="165260" y="159285"/>
                      <a:pt x="190216" y="187300"/>
                      <a:pt x="190216" y="220718"/>
                    </a:cubicBezTo>
                    <a:cubicBezTo>
                      <a:pt x="190216" y="254136"/>
                      <a:pt x="164774" y="282637"/>
                      <a:pt x="130041" y="282637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  <p:sp>
            <p:nvSpPr>
              <p:cNvPr id="13" name="Google Shape;20;p61">
                <a:extLst>
                  <a:ext uri="{FF2B5EF4-FFF2-40B4-BE49-F238E27FC236}">
                    <a16:creationId xmlns:a16="http://schemas.microsoft.com/office/drawing/2014/main" id="{B984FF27-E601-7D85-D9E4-8D57E04095C5}"/>
                  </a:ext>
                </a:extLst>
              </p:cNvPr>
              <p:cNvSpPr/>
              <p:nvPr/>
            </p:nvSpPr>
            <p:spPr>
              <a:xfrm>
                <a:off x="9736922" y="3105088"/>
                <a:ext cx="251792" cy="253935"/>
              </a:xfrm>
              <a:custGeom>
                <a:avLst/>
                <a:gdLst/>
                <a:ahLst/>
                <a:cxnLst/>
                <a:rect l="l" t="t" r="r" b="b"/>
                <a:pathLst>
                  <a:path w="251792" h="253935" extrusionOk="0">
                    <a:moveTo>
                      <a:pt x="125896" y="0"/>
                    </a:moveTo>
                    <a:cubicBezTo>
                      <a:pt x="54944" y="0"/>
                      <a:pt x="0" y="55287"/>
                      <a:pt x="0" y="126725"/>
                    </a:cubicBezTo>
                    <a:cubicBezTo>
                      <a:pt x="0" y="198163"/>
                      <a:pt x="54915" y="253936"/>
                      <a:pt x="125896" y="253936"/>
                    </a:cubicBezTo>
                    <a:cubicBezTo>
                      <a:pt x="196877" y="253936"/>
                      <a:pt x="251792" y="198163"/>
                      <a:pt x="251792" y="126725"/>
                    </a:cubicBezTo>
                    <a:cubicBezTo>
                      <a:pt x="251792" y="55287"/>
                      <a:pt x="196877" y="0"/>
                      <a:pt x="125896" y="0"/>
                    </a:cubicBezTo>
                    <a:close/>
                    <a:moveTo>
                      <a:pt x="126153" y="188558"/>
                    </a:moveTo>
                    <a:cubicBezTo>
                      <a:pt x="91506" y="188558"/>
                      <a:pt x="65378" y="160314"/>
                      <a:pt x="65378" y="126725"/>
                    </a:cubicBezTo>
                    <a:cubicBezTo>
                      <a:pt x="65378" y="93136"/>
                      <a:pt x="91506" y="65378"/>
                      <a:pt x="126153" y="65378"/>
                    </a:cubicBezTo>
                    <a:cubicBezTo>
                      <a:pt x="160801" y="65378"/>
                      <a:pt x="186443" y="93136"/>
                      <a:pt x="186443" y="126725"/>
                    </a:cubicBezTo>
                    <a:cubicBezTo>
                      <a:pt x="186443" y="160314"/>
                      <a:pt x="161315" y="188558"/>
                      <a:pt x="126153" y="188558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  <p:sp>
            <p:nvSpPr>
              <p:cNvPr id="14" name="Google Shape;21;p61">
                <a:extLst>
                  <a:ext uri="{FF2B5EF4-FFF2-40B4-BE49-F238E27FC236}">
                    <a16:creationId xmlns:a16="http://schemas.microsoft.com/office/drawing/2014/main" id="{9B504A49-2F4D-A18C-1BAC-CB7DA36AE3F0}"/>
                  </a:ext>
                </a:extLst>
              </p:cNvPr>
              <p:cNvSpPr/>
              <p:nvPr/>
            </p:nvSpPr>
            <p:spPr>
              <a:xfrm>
                <a:off x="10370776" y="3105088"/>
                <a:ext cx="251792" cy="253935"/>
              </a:xfrm>
              <a:custGeom>
                <a:avLst/>
                <a:gdLst/>
                <a:ahLst/>
                <a:cxnLst/>
                <a:rect l="l" t="t" r="r" b="b"/>
                <a:pathLst>
                  <a:path w="251792" h="253935" extrusionOk="0">
                    <a:moveTo>
                      <a:pt x="125896" y="0"/>
                    </a:moveTo>
                    <a:cubicBezTo>
                      <a:pt x="54944" y="0"/>
                      <a:pt x="0" y="55287"/>
                      <a:pt x="0" y="126725"/>
                    </a:cubicBezTo>
                    <a:cubicBezTo>
                      <a:pt x="0" y="198163"/>
                      <a:pt x="54915" y="253936"/>
                      <a:pt x="125896" y="253936"/>
                    </a:cubicBezTo>
                    <a:cubicBezTo>
                      <a:pt x="196877" y="253936"/>
                      <a:pt x="251792" y="198163"/>
                      <a:pt x="251792" y="126725"/>
                    </a:cubicBezTo>
                    <a:cubicBezTo>
                      <a:pt x="251792" y="55287"/>
                      <a:pt x="196877" y="0"/>
                      <a:pt x="125896" y="0"/>
                    </a:cubicBezTo>
                    <a:close/>
                    <a:moveTo>
                      <a:pt x="126153" y="188558"/>
                    </a:moveTo>
                    <a:cubicBezTo>
                      <a:pt x="91506" y="188558"/>
                      <a:pt x="65378" y="160314"/>
                      <a:pt x="65378" y="126725"/>
                    </a:cubicBezTo>
                    <a:cubicBezTo>
                      <a:pt x="65378" y="93136"/>
                      <a:pt x="91506" y="65378"/>
                      <a:pt x="126153" y="65378"/>
                    </a:cubicBezTo>
                    <a:cubicBezTo>
                      <a:pt x="160801" y="65378"/>
                      <a:pt x="186443" y="93136"/>
                      <a:pt x="186443" y="126725"/>
                    </a:cubicBezTo>
                    <a:cubicBezTo>
                      <a:pt x="186443" y="160314"/>
                      <a:pt x="161315" y="188558"/>
                      <a:pt x="126153" y="188558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  <p:sp>
            <p:nvSpPr>
              <p:cNvPr id="15" name="Google Shape;22;p61">
                <a:extLst>
                  <a:ext uri="{FF2B5EF4-FFF2-40B4-BE49-F238E27FC236}">
                    <a16:creationId xmlns:a16="http://schemas.microsoft.com/office/drawing/2014/main" id="{D00A37BE-780F-7873-9634-B3D4B80258A7}"/>
                  </a:ext>
                </a:extLst>
              </p:cNvPr>
              <p:cNvSpPr/>
              <p:nvPr/>
            </p:nvSpPr>
            <p:spPr>
              <a:xfrm>
                <a:off x="9242171" y="3110092"/>
                <a:ext cx="68865" cy="243987"/>
              </a:xfrm>
              <a:custGeom>
                <a:avLst/>
                <a:gdLst/>
                <a:ahLst/>
                <a:cxnLst/>
                <a:rect l="l" t="t" r="r" b="b"/>
                <a:pathLst>
                  <a:path w="68865" h="243987" extrusionOk="0">
                    <a:moveTo>
                      <a:pt x="62405" y="243987"/>
                    </a:moveTo>
                    <a:lnTo>
                      <a:pt x="6489" y="243987"/>
                    </a:lnTo>
                    <a:cubicBezTo>
                      <a:pt x="2916" y="243987"/>
                      <a:pt x="0" y="241071"/>
                      <a:pt x="0" y="237498"/>
                    </a:cubicBezTo>
                    <a:lnTo>
                      <a:pt x="0" y="63891"/>
                    </a:lnTo>
                    <a:cubicBezTo>
                      <a:pt x="0" y="60403"/>
                      <a:pt x="1401" y="57059"/>
                      <a:pt x="3888" y="54629"/>
                    </a:cubicBezTo>
                    <a:lnTo>
                      <a:pt x="57860" y="1858"/>
                    </a:lnTo>
                    <a:cubicBezTo>
                      <a:pt x="61976" y="-2144"/>
                      <a:pt x="68866" y="743"/>
                      <a:pt x="68866" y="6489"/>
                    </a:cubicBezTo>
                    <a:lnTo>
                      <a:pt x="68866" y="237498"/>
                    </a:lnTo>
                    <a:cubicBezTo>
                      <a:pt x="68866" y="241071"/>
                      <a:pt x="65950" y="243987"/>
                      <a:pt x="62376" y="243987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  <p:sp>
            <p:nvSpPr>
              <p:cNvPr id="16" name="Google Shape;23;p61">
                <a:extLst>
                  <a:ext uri="{FF2B5EF4-FFF2-40B4-BE49-F238E27FC236}">
                    <a16:creationId xmlns:a16="http://schemas.microsoft.com/office/drawing/2014/main" id="{F5EDBCB3-5383-84A7-D44E-BE6F25C69A84}"/>
                  </a:ext>
                </a:extLst>
              </p:cNvPr>
              <p:cNvSpPr/>
              <p:nvPr/>
            </p:nvSpPr>
            <p:spPr>
              <a:xfrm>
                <a:off x="9347255" y="3105025"/>
                <a:ext cx="224777" cy="249082"/>
              </a:xfrm>
              <a:custGeom>
                <a:avLst/>
                <a:gdLst/>
                <a:ahLst/>
                <a:cxnLst/>
                <a:rect l="l" t="t" r="r" b="b"/>
                <a:pathLst>
                  <a:path w="224777" h="249082" extrusionOk="0">
                    <a:moveTo>
                      <a:pt x="224749" y="87568"/>
                    </a:moveTo>
                    <a:cubicBezTo>
                      <a:pt x="224749" y="40257"/>
                      <a:pt x="185671" y="578"/>
                      <a:pt x="136416" y="6"/>
                    </a:cubicBezTo>
                    <a:cubicBezTo>
                      <a:pt x="104370" y="-365"/>
                      <a:pt x="82730" y="15329"/>
                      <a:pt x="68894" y="36540"/>
                    </a:cubicBezTo>
                    <a:lnTo>
                      <a:pt x="68894" y="11670"/>
                    </a:lnTo>
                    <a:cubicBezTo>
                      <a:pt x="68894" y="8097"/>
                      <a:pt x="65978" y="5181"/>
                      <a:pt x="62405" y="5181"/>
                    </a:cubicBezTo>
                    <a:lnTo>
                      <a:pt x="6489" y="5181"/>
                    </a:lnTo>
                    <a:cubicBezTo>
                      <a:pt x="2916" y="5181"/>
                      <a:pt x="0" y="8097"/>
                      <a:pt x="0" y="11670"/>
                    </a:cubicBezTo>
                    <a:lnTo>
                      <a:pt x="0" y="242565"/>
                    </a:lnTo>
                    <a:cubicBezTo>
                      <a:pt x="0" y="246138"/>
                      <a:pt x="2916" y="249054"/>
                      <a:pt x="6489" y="249054"/>
                    </a:cubicBezTo>
                    <a:lnTo>
                      <a:pt x="62405" y="249054"/>
                    </a:lnTo>
                    <a:cubicBezTo>
                      <a:pt x="65978" y="249054"/>
                      <a:pt x="68894" y="246138"/>
                      <a:pt x="68894" y="242565"/>
                    </a:cubicBezTo>
                    <a:lnTo>
                      <a:pt x="68894" y="108293"/>
                    </a:lnTo>
                    <a:cubicBezTo>
                      <a:pt x="70438" y="82451"/>
                      <a:pt x="86818" y="66385"/>
                      <a:pt x="112375" y="66385"/>
                    </a:cubicBezTo>
                    <a:cubicBezTo>
                      <a:pt x="137931" y="66385"/>
                      <a:pt x="155884" y="84423"/>
                      <a:pt x="155884" y="111266"/>
                    </a:cubicBezTo>
                    <a:lnTo>
                      <a:pt x="155884" y="242593"/>
                    </a:lnTo>
                    <a:cubicBezTo>
                      <a:pt x="155884" y="246167"/>
                      <a:pt x="158800" y="249083"/>
                      <a:pt x="162373" y="249083"/>
                    </a:cubicBezTo>
                    <a:lnTo>
                      <a:pt x="218289" y="249083"/>
                    </a:lnTo>
                    <a:cubicBezTo>
                      <a:pt x="221862" y="249083"/>
                      <a:pt x="224778" y="246167"/>
                      <a:pt x="224778" y="242593"/>
                    </a:cubicBezTo>
                    <a:lnTo>
                      <a:pt x="224778" y="8759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95490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4" pos="45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preserve="1" userDrawn="1">
  <p:cSld name="2_Title Slide">
    <p:bg>
      <p:bgPr>
        <a:gradFill>
          <a:gsLst>
            <a:gs pos="0">
              <a:schemeClr val="dk1"/>
            </a:gs>
            <a:gs pos="10000">
              <a:schemeClr val="dk1"/>
            </a:gs>
            <a:gs pos="100000">
              <a:srgbClr val="353C42"/>
            </a:gs>
          </a:gsLst>
          <a:lin ang="2700000" scaled="0"/>
        </a:gradFill>
        <a:effectLst/>
      </p:bgPr>
    </p:bg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A green and white lines on a building&#10;&#10;AI-generated content may be incorrect.">
            <a:extLst>
              <a:ext uri="{FF2B5EF4-FFF2-40B4-BE49-F238E27FC236}">
                <a16:creationId xmlns:a16="http://schemas.microsoft.com/office/drawing/2014/main" id="{EF8CB762-9519-4FB9-94EC-8574C9A4E6A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4" name="Google Shape;12;p61">
            <a:extLst>
              <a:ext uri="{FF2B5EF4-FFF2-40B4-BE49-F238E27FC236}">
                <a16:creationId xmlns:a16="http://schemas.microsoft.com/office/drawing/2014/main" id="{6A7FD3B6-DF85-1827-EC09-E66A74183F0C}"/>
              </a:ext>
            </a:extLst>
          </p:cNvPr>
          <p:cNvGrpSpPr/>
          <p:nvPr userDrawn="1"/>
        </p:nvGrpSpPr>
        <p:grpSpPr>
          <a:xfrm>
            <a:off x="507256" y="553066"/>
            <a:ext cx="1756137" cy="378549"/>
            <a:chOff x="9242171" y="2998589"/>
            <a:chExt cx="1672097" cy="360434"/>
          </a:xfrm>
        </p:grpSpPr>
        <p:sp>
          <p:nvSpPr>
            <p:cNvPr id="5" name="Google Shape;13;p61">
              <a:extLst>
                <a:ext uri="{FF2B5EF4-FFF2-40B4-BE49-F238E27FC236}">
                  <a16:creationId xmlns:a16="http://schemas.microsoft.com/office/drawing/2014/main" id="{3B4F1BF9-3E09-70D4-88E6-A876E8F56ED7}"/>
                </a:ext>
              </a:extLst>
            </p:cNvPr>
            <p:cNvSpPr/>
            <p:nvPr/>
          </p:nvSpPr>
          <p:spPr>
            <a:xfrm rot="-2700000">
              <a:off x="9267550" y="3013811"/>
              <a:ext cx="73496" cy="73496"/>
            </a:xfrm>
            <a:custGeom>
              <a:avLst/>
              <a:gdLst/>
              <a:ahLst/>
              <a:cxnLst/>
              <a:rect l="l" t="t" r="r" b="b"/>
              <a:pathLst>
                <a:path w="73496" h="73496" extrusionOk="0">
                  <a:moveTo>
                    <a:pt x="67007" y="0"/>
                  </a:moveTo>
                  <a:cubicBezTo>
                    <a:pt x="70591" y="0"/>
                    <a:pt x="73497" y="2905"/>
                    <a:pt x="73497" y="6489"/>
                  </a:cubicBezTo>
                  <a:lnTo>
                    <a:pt x="73497" y="67007"/>
                  </a:lnTo>
                  <a:cubicBezTo>
                    <a:pt x="73497" y="70591"/>
                    <a:pt x="70591" y="73496"/>
                    <a:pt x="67007" y="73496"/>
                  </a:cubicBezTo>
                  <a:lnTo>
                    <a:pt x="6489" y="73496"/>
                  </a:lnTo>
                  <a:cubicBezTo>
                    <a:pt x="2905" y="73496"/>
                    <a:pt x="0" y="70591"/>
                    <a:pt x="0" y="67007"/>
                  </a:cubicBezTo>
                  <a:lnTo>
                    <a:pt x="0" y="6489"/>
                  </a:lnTo>
                  <a:cubicBezTo>
                    <a:pt x="0" y="2905"/>
                    <a:pt x="2905" y="0"/>
                    <a:pt x="6489" y="0"/>
                  </a:cubicBezTo>
                  <a:close/>
                </a:path>
              </a:pathLst>
            </a:custGeom>
            <a:solidFill>
              <a:srgbClr val="00B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endParaRPr>
            </a:p>
          </p:txBody>
        </p:sp>
        <p:grpSp>
          <p:nvGrpSpPr>
            <p:cNvPr id="6" name="Google Shape;14;p61">
              <a:extLst>
                <a:ext uri="{FF2B5EF4-FFF2-40B4-BE49-F238E27FC236}">
                  <a16:creationId xmlns:a16="http://schemas.microsoft.com/office/drawing/2014/main" id="{7F40C300-C60A-88AC-C24E-09E1CED64E28}"/>
                </a:ext>
              </a:extLst>
            </p:cNvPr>
            <p:cNvGrpSpPr/>
            <p:nvPr/>
          </p:nvGrpSpPr>
          <p:grpSpPr>
            <a:xfrm>
              <a:off x="9242171" y="3011696"/>
              <a:ext cx="1672097" cy="347327"/>
              <a:chOff x="9242171" y="3011696"/>
              <a:chExt cx="1672097" cy="347327"/>
            </a:xfrm>
          </p:grpSpPr>
          <p:sp>
            <p:nvSpPr>
              <p:cNvPr id="7" name="Google Shape;15;p61">
                <a:extLst>
                  <a:ext uri="{FF2B5EF4-FFF2-40B4-BE49-F238E27FC236}">
                    <a16:creationId xmlns:a16="http://schemas.microsoft.com/office/drawing/2014/main" id="{8083E7CC-DA99-B5F4-BA3F-D50642A39F60}"/>
                  </a:ext>
                </a:extLst>
              </p:cNvPr>
              <p:cNvSpPr/>
              <p:nvPr/>
            </p:nvSpPr>
            <p:spPr>
              <a:xfrm>
                <a:off x="10604432" y="3110234"/>
                <a:ext cx="249644" cy="243844"/>
              </a:xfrm>
              <a:custGeom>
                <a:avLst/>
                <a:gdLst/>
                <a:ahLst/>
                <a:cxnLst/>
                <a:rect l="l" t="t" r="r" b="b"/>
                <a:pathLst>
                  <a:path w="249644" h="243844" extrusionOk="0">
                    <a:moveTo>
                      <a:pt x="172562" y="121922"/>
                    </a:moveTo>
                    <a:lnTo>
                      <a:pt x="248603" y="234754"/>
                    </a:lnTo>
                    <a:cubicBezTo>
                      <a:pt x="251347" y="238642"/>
                      <a:pt x="248346" y="243845"/>
                      <a:pt x="243372" y="243845"/>
                    </a:cubicBezTo>
                    <a:lnTo>
                      <a:pt x="179480" y="243845"/>
                    </a:lnTo>
                    <a:cubicBezTo>
                      <a:pt x="175221" y="243845"/>
                      <a:pt x="171219" y="241729"/>
                      <a:pt x="168789" y="238213"/>
                    </a:cubicBezTo>
                    <a:lnTo>
                      <a:pt x="124822" y="170949"/>
                    </a:lnTo>
                    <a:lnTo>
                      <a:pt x="80856" y="238213"/>
                    </a:lnTo>
                    <a:cubicBezTo>
                      <a:pt x="78426" y="241729"/>
                      <a:pt x="74452" y="243845"/>
                      <a:pt x="70164" y="243845"/>
                    </a:cubicBezTo>
                    <a:lnTo>
                      <a:pt x="6273" y="243845"/>
                    </a:lnTo>
                    <a:cubicBezTo>
                      <a:pt x="1299" y="243845"/>
                      <a:pt x="-1703" y="238671"/>
                      <a:pt x="1042" y="234754"/>
                    </a:cubicBezTo>
                    <a:lnTo>
                      <a:pt x="76854" y="121922"/>
                    </a:lnTo>
                    <a:lnTo>
                      <a:pt x="1042" y="9091"/>
                    </a:lnTo>
                    <a:cubicBezTo>
                      <a:pt x="-1703" y="5203"/>
                      <a:pt x="1299" y="0"/>
                      <a:pt x="6273" y="0"/>
                    </a:cubicBezTo>
                    <a:lnTo>
                      <a:pt x="72880" y="0"/>
                    </a:lnTo>
                    <a:cubicBezTo>
                      <a:pt x="75367" y="0"/>
                      <a:pt x="77683" y="1143"/>
                      <a:pt x="78998" y="3030"/>
                    </a:cubicBezTo>
                    <a:lnTo>
                      <a:pt x="124794" y="72782"/>
                    </a:lnTo>
                    <a:lnTo>
                      <a:pt x="167788" y="3059"/>
                    </a:lnTo>
                    <a:cubicBezTo>
                      <a:pt x="169075" y="1172"/>
                      <a:pt x="171419" y="0"/>
                      <a:pt x="173906" y="0"/>
                    </a:cubicBezTo>
                    <a:lnTo>
                      <a:pt x="241171" y="0"/>
                    </a:lnTo>
                    <a:cubicBezTo>
                      <a:pt x="246145" y="0"/>
                      <a:pt x="249118" y="5174"/>
                      <a:pt x="246402" y="9062"/>
                    </a:cubicBezTo>
                    <a:lnTo>
                      <a:pt x="172505" y="121922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  <p:sp>
            <p:nvSpPr>
              <p:cNvPr id="8" name="Google Shape;16;p61">
                <a:extLst>
                  <a:ext uri="{FF2B5EF4-FFF2-40B4-BE49-F238E27FC236}">
                    <a16:creationId xmlns:a16="http://schemas.microsoft.com/office/drawing/2014/main" id="{9E5EE111-6246-D649-030E-884AEA120731}"/>
                  </a:ext>
                </a:extLst>
              </p:cNvPr>
              <p:cNvSpPr/>
              <p:nvPr/>
            </p:nvSpPr>
            <p:spPr>
              <a:xfrm>
                <a:off x="9581152" y="3011696"/>
                <a:ext cx="164831" cy="342440"/>
              </a:xfrm>
              <a:custGeom>
                <a:avLst/>
                <a:gdLst/>
                <a:ahLst/>
                <a:cxnLst/>
                <a:rect l="l" t="t" r="r" b="b"/>
                <a:pathLst>
                  <a:path w="164831" h="342440" extrusionOk="0">
                    <a:moveTo>
                      <a:pt x="158342" y="29"/>
                    </a:moveTo>
                    <a:lnTo>
                      <a:pt x="105342" y="29"/>
                    </a:lnTo>
                    <a:cubicBezTo>
                      <a:pt x="100197" y="29"/>
                      <a:pt x="95251" y="2087"/>
                      <a:pt x="91592" y="5717"/>
                    </a:cubicBezTo>
                    <a:lnTo>
                      <a:pt x="41794" y="55515"/>
                    </a:lnTo>
                    <a:cubicBezTo>
                      <a:pt x="38135" y="59175"/>
                      <a:pt x="36105" y="64120"/>
                      <a:pt x="36105" y="69266"/>
                    </a:cubicBezTo>
                    <a:lnTo>
                      <a:pt x="36105" y="108458"/>
                    </a:lnTo>
                    <a:lnTo>
                      <a:pt x="6375" y="108458"/>
                    </a:lnTo>
                    <a:cubicBezTo>
                      <a:pt x="2859" y="108458"/>
                      <a:pt x="0" y="111317"/>
                      <a:pt x="0" y="114833"/>
                    </a:cubicBezTo>
                    <a:lnTo>
                      <a:pt x="0" y="158828"/>
                    </a:lnTo>
                    <a:cubicBezTo>
                      <a:pt x="0" y="162344"/>
                      <a:pt x="2859" y="165203"/>
                      <a:pt x="6375" y="165203"/>
                    </a:cubicBezTo>
                    <a:lnTo>
                      <a:pt x="36105" y="165203"/>
                    </a:lnTo>
                    <a:lnTo>
                      <a:pt x="36105" y="335951"/>
                    </a:lnTo>
                    <a:cubicBezTo>
                      <a:pt x="36105" y="339524"/>
                      <a:pt x="39021" y="342440"/>
                      <a:pt x="42594" y="342440"/>
                    </a:cubicBezTo>
                    <a:lnTo>
                      <a:pt x="98510" y="342440"/>
                    </a:lnTo>
                    <a:cubicBezTo>
                      <a:pt x="102083" y="342440"/>
                      <a:pt x="104999" y="339524"/>
                      <a:pt x="104999" y="335951"/>
                    </a:cubicBezTo>
                    <a:lnTo>
                      <a:pt x="104999" y="165174"/>
                    </a:lnTo>
                    <a:lnTo>
                      <a:pt x="149394" y="165174"/>
                    </a:lnTo>
                    <a:cubicBezTo>
                      <a:pt x="152911" y="165174"/>
                      <a:pt x="155769" y="162315"/>
                      <a:pt x="155769" y="158799"/>
                    </a:cubicBezTo>
                    <a:lnTo>
                      <a:pt x="155769" y="114804"/>
                    </a:lnTo>
                    <a:cubicBezTo>
                      <a:pt x="155769" y="111288"/>
                      <a:pt x="152911" y="108429"/>
                      <a:pt x="149394" y="108429"/>
                    </a:cubicBezTo>
                    <a:lnTo>
                      <a:pt x="104999" y="108429"/>
                    </a:lnTo>
                    <a:lnTo>
                      <a:pt x="104999" y="80643"/>
                    </a:lnTo>
                    <a:cubicBezTo>
                      <a:pt x="104999" y="69895"/>
                      <a:pt x="113718" y="61204"/>
                      <a:pt x="124438" y="61204"/>
                    </a:cubicBezTo>
                    <a:lnTo>
                      <a:pt x="158342" y="61204"/>
                    </a:lnTo>
                    <a:cubicBezTo>
                      <a:pt x="161915" y="61204"/>
                      <a:pt x="164831" y="58288"/>
                      <a:pt x="164831" y="54715"/>
                    </a:cubicBezTo>
                    <a:lnTo>
                      <a:pt x="164831" y="6489"/>
                    </a:lnTo>
                    <a:cubicBezTo>
                      <a:pt x="164831" y="2916"/>
                      <a:pt x="161915" y="0"/>
                      <a:pt x="158342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  <p:sp>
            <p:nvSpPr>
              <p:cNvPr id="9" name="Google Shape;17;p61">
                <a:extLst>
                  <a:ext uri="{FF2B5EF4-FFF2-40B4-BE49-F238E27FC236}">
                    <a16:creationId xmlns:a16="http://schemas.microsoft.com/office/drawing/2014/main" id="{4C929926-2FAF-603C-989A-D4763811DBDE}"/>
                  </a:ext>
                </a:extLst>
              </p:cNvPr>
              <p:cNvSpPr/>
              <p:nvPr/>
            </p:nvSpPr>
            <p:spPr>
              <a:xfrm>
                <a:off x="10860611" y="3304224"/>
                <a:ext cx="53657" cy="53657"/>
              </a:xfrm>
              <a:custGeom>
                <a:avLst/>
                <a:gdLst/>
                <a:ahLst/>
                <a:cxnLst/>
                <a:rect l="l" t="t" r="r" b="b"/>
                <a:pathLst>
                  <a:path w="53657" h="53657" extrusionOk="0">
                    <a:moveTo>
                      <a:pt x="53657" y="26786"/>
                    </a:moveTo>
                    <a:cubicBezTo>
                      <a:pt x="53657" y="41708"/>
                      <a:pt x="41708" y="53657"/>
                      <a:pt x="26729" y="53657"/>
                    </a:cubicBezTo>
                    <a:cubicBezTo>
                      <a:pt x="11749" y="53657"/>
                      <a:pt x="0" y="41594"/>
                      <a:pt x="0" y="26786"/>
                    </a:cubicBezTo>
                    <a:cubicBezTo>
                      <a:pt x="0" y="11978"/>
                      <a:pt x="11949" y="0"/>
                      <a:pt x="26814" y="0"/>
                    </a:cubicBezTo>
                    <a:cubicBezTo>
                      <a:pt x="41679" y="0"/>
                      <a:pt x="53629" y="11892"/>
                      <a:pt x="53629" y="26786"/>
                    </a:cubicBezTo>
                    <a:close/>
                    <a:moveTo>
                      <a:pt x="49541" y="26900"/>
                    </a:moveTo>
                    <a:cubicBezTo>
                      <a:pt x="49541" y="14036"/>
                      <a:pt x="39392" y="3831"/>
                      <a:pt x="26843" y="3831"/>
                    </a:cubicBezTo>
                    <a:cubicBezTo>
                      <a:pt x="14293" y="3831"/>
                      <a:pt x="4145" y="13922"/>
                      <a:pt x="4145" y="26872"/>
                    </a:cubicBezTo>
                    <a:cubicBezTo>
                      <a:pt x="4145" y="39821"/>
                      <a:pt x="14408" y="49884"/>
                      <a:pt x="26729" y="49884"/>
                    </a:cubicBezTo>
                    <a:cubicBezTo>
                      <a:pt x="39049" y="49884"/>
                      <a:pt x="49541" y="39736"/>
                      <a:pt x="49541" y="26900"/>
                    </a:cubicBezTo>
                    <a:close/>
                    <a:moveTo>
                      <a:pt x="32589" y="31131"/>
                    </a:moveTo>
                    <a:lnTo>
                      <a:pt x="39335" y="41622"/>
                    </a:lnTo>
                    <a:lnTo>
                      <a:pt x="34876" y="41622"/>
                    </a:lnTo>
                    <a:lnTo>
                      <a:pt x="27386" y="29730"/>
                    </a:lnTo>
                    <a:lnTo>
                      <a:pt x="20554" y="29730"/>
                    </a:lnTo>
                    <a:lnTo>
                      <a:pt x="20554" y="41622"/>
                    </a:lnTo>
                    <a:lnTo>
                      <a:pt x="16809" y="41622"/>
                    </a:lnTo>
                    <a:lnTo>
                      <a:pt x="16809" y="11549"/>
                    </a:lnTo>
                    <a:lnTo>
                      <a:pt x="28472" y="11549"/>
                    </a:lnTo>
                    <a:cubicBezTo>
                      <a:pt x="34218" y="11549"/>
                      <a:pt x="37963" y="14636"/>
                      <a:pt x="37963" y="20411"/>
                    </a:cubicBezTo>
                    <a:cubicBezTo>
                      <a:pt x="37963" y="25071"/>
                      <a:pt x="35133" y="27958"/>
                      <a:pt x="31131" y="29101"/>
                    </a:cubicBezTo>
                    <a:cubicBezTo>
                      <a:pt x="31674" y="29702"/>
                      <a:pt x="32217" y="30445"/>
                      <a:pt x="32589" y="31160"/>
                    </a:cubicBezTo>
                    <a:close/>
                    <a:moveTo>
                      <a:pt x="27214" y="26185"/>
                    </a:moveTo>
                    <a:cubicBezTo>
                      <a:pt x="31445" y="26185"/>
                      <a:pt x="34047" y="24184"/>
                      <a:pt x="34047" y="20640"/>
                    </a:cubicBezTo>
                    <a:cubicBezTo>
                      <a:pt x="34047" y="17095"/>
                      <a:pt x="32246" y="15037"/>
                      <a:pt x="28558" y="15037"/>
                    </a:cubicBezTo>
                    <a:lnTo>
                      <a:pt x="20525" y="15037"/>
                    </a:lnTo>
                    <a:lnTo>
                      <a:pt x="20525" y="26157"/>
                    </a:lnTo>
                    <a:lnTo>
                      <a:pt x="27214" y="26157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  <p:sp>
            <p:nvSpPr>
              <p:cNvPr id="11" name="Google Shape;18;p61">
                <a:extLst>
                  <a:ext uri="{FF2B5EF4-FFF2-40B4-BE49-F238E27FC236}">
                    <a16:creationId xmlns:a16="http://schemas.microsoft.com/office/drawing/2014/main" id="{A66F6F90-D2B7-C36E-EE34-BBCEBA84FE90}"/>
                  </a:ext>
                </a:extLst>
              </p:cNvPr>
              <p:cNvSpPr/>
              <p:nvPr/>
            </p:nvSpPr>
            <p:spPr>
              <a:xfrm>
                <a:off x="10283815" y="3011724"/>
                <a:ext cx="68865" cy="342354"/>
              </a:xfrm>
              <a:custGeom>
                <a:avLst/>
                <a:gdLst/>
                <a:ahLst/>
                <a:cxnLst/>
                <a:rect l="l" t="t" r="r" b="b"/>
                <a:pathLst>
                  <a:path w="68865" h="342354" extrusionOk="0">
                    <a:moveTo>
                      <a:pt x="62376" y="0"/>
                    </a:moveTo>
                    <a:cubicBezTo>
                      <a:pt x="65960" y="0"/>
                      <a:pt x="68866" y="2905"/>
                      <a:pt x="68866" y="6489"/>
                    </a:cubicBezTo>
                    <a:lnTo>
                      <a:pt x="68866" y="335865"/>
                    </a:lnTo>
                    <a:cubicBezTo>
                      <a:pt x="68866" y="339449"/>
                      <a:pt x="65960" y="342355"/>
                      <a:pt x="62376" y="342355"/>
                    </a:cubicBezTo>
                    <a:lnTo>
                      <a:pt x="6489" y="342355"/>
                    </a:lnTo>
                    <a:cubicBezTo>
                      <a:pt x="2905" y="342355"/>
                      <a:pt x="0" y="339449"/>
                      <a:pt x="0" y="335865"/>
                    </a:cubicBezTo>
                    <a:lnTo>
                      <a:pt x="0" y="6489"/>
                    </a:lnTo>
                    <a:cubicBezTo>
                      <a:pt x="0" y="2905"/>
                      <a:pt x="2905" y="0"/>
                      <a:pt x="6489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  <p:sp>
            <p:nvSpPr>
              <p:cNvPr id="12" name="Google Shape;19;p61">
                <a:extLst>
                  <a:ext uri="{FF2B5EF4-FFF2-40B4-BE49-F238E27FC236}">
                    <a16:creationId xmlns:a16="http://schemas.microsoft.com/office/drawing/2014/main" id="{EAE3E51E-BC73-FA57-50F5-C7E31E5B9153}"/>
                  </a:ext>
                </a:extLst>
              </p:cNvPr>
              <p:cNvSpPr/>
              <p:nvPr/>
            </p:nvSpPr>
            <p:spPr>
              <a:xfrm>
                <a:off x="10006809" y="3011696"/>
                <a:ext cx="258538" cy="347300"/>
              </a:xfrm>
              <a:custGeom>
                <a:avLst/>
                <a:gdLst/>
                <a:ahLst/>
                <a:cxnLst/>
                <a:rect l="l" t="t" r="r" b="b"/>
                <a:pathLst>
                  <a:path w="258538" h="347300" extrusionOk="0">
                    <a:moveTo>
                      <a:pt x="143734" y="93393"/>
                    </a:moveTo>
                    <a:cubicBezTo>
                      <a:pt x="111946" y="93393"/>
                      <a:pt x="85503" y="107172"/>
                      <a:pt x="68894" y="129755"/>
                    </a:cubicBezTo>
                    <a:lnTo>
                      <a:pt x="68894" y="6489"/>
                    </a:lnTo>
                    <a:cubicBezTo>
                      <a:pt x="68894" y="2916"/>
                      <a:pt x="65978" y="0"/>
                      <a:pt x="62405" y="0"/>
                    </a:cubicBezTo>
                    <a:lnTo>
                      <a:pt x="6489" y="0"/>
                    </a:lnTo>
                    <a:cubicBezTo>
                      <a:pt x="2916" y="0"/>
                      <a:pt x="0" y="2916"/>
                      <a:pt x="0" y="6489"/>
                    </a:cubicBezTo>
                    <a:lnTo>
                      <a:pt x="0" y="335894"/>
                    </a:lnTo>
                    <a:cubicBezTo>
                      <a:pt x="0" y="339467"/>
                      <a:pt x="2916" y="342383"/>
                      <a:pt x="6489" y="342383"/>
                    </a:cubicBezTo>
                    <a:lnTo>
                      <a:pt x="62405" y="342383"/>
                    </a:lnTo>
                    <a:cubicBezTo>
                      <a:pt x="65978" y="342383"/>
                      <a:pt x="68894" y="339467"/>
                      <a:pt x="68894" y="335894"/>
                    </a:cubicBezTo>
                    <a:lnTo>
                      <a:pt x="68894" y="311624"/>
                    </a:lnTo>
                    <a:cubicBezTo>
                      <a:pt x="85532" y="334236"/>
                      <a:pt x="111946" y="347300"/>
                      <a:pt x="144249" y="347300"/>
                    </a:cubicBezTo>
                    <a:cubicBezTo>
                      <a:pt x="212257" y="347300"/>
                      <a:pt x="258539" y="292442"/>
                      <a:pt x="258539" y="220689"/>
                    </a:cubicBezTo>
                    <a:cubicBezTo>
                      <a:pt x="258539" y="148937"/>
                      <a:pt x="212257" y="93393"/>
                      <a:pt x="143763" y="93393"/>
                    </a:cubicBezTo>
                    <a:close/>
                    <a:moveTo>
                      <a:pt x="130041" y="282637"/>
                    </a:moveTo>
                    <a:cubicBezTo>
                      <a:pt x="94822" y="282637"/>
                      <a:pt x="68894" y="254136"/>
                      <a:pt x="68894" y="220718"/>
                    </a:cubicBezTo>
                    <a:cubicBezTo>
                      <a:pt x="68894" y="187300"/>
                      <a:pt x="94822" y="159285"/>
                      <a:pt x="130041" y="159285"/>
                    </a:cubicBezTo>
                    <a:cubicBezTo>
                      <a:pt x="165260" y="159285"/>
                      <a:pt x="190216" y="187300"/>
                      <a:pt x="190216" y="220718"/>
                    </a:cubicBezTo>
                    <a:cubicBezTo>
                      <a:pt x="190216" y="254136"/>
                      <a:pt x="164774" y="282637"/>
                      <a:pt x="130041" y="282637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  <p:sp>
            <p:nvSpPr>
              <p:cNvPr id="13" name="Google Shape;20;p61">
                <a:extLst>
                  <a:ext uri="{FF2B5EF4-FFF2-40B4-BE49-F238E27FC236}">
                    <a16:creationId xmlns:a16="http://schemas.microsoft.com/office/drawing/2014/main" id="{B984FF27-E601-7D85-D9E4-8D57E04095C5}"/>
                  </a:ext>
                </a:extLst>
              </p:cNvPr>
              <p:cNvSpPr/>
              <p:nvPr/>
            </p:nvSpPr>
            <p:spPr>
              <a:xfrm>
                <a:off x="9736922" y="3105088"/>
                <a:ext cx="251792" cy="253935"/>
              </a:xfrm>
              <a:custGeom>
                <a:avLst/>
                <a:gdLst/>
                <a:ahLst/>
                <a:cxnLst/>
                <a:rect l="l" t="t" r="r" b="b"/>
                <a:pathLst>
                  <a:path w="251792" h="253935" extrusionOk="0">
                    <a:moveTo>
                      <a:pt x="125896" y="0"/>
                    </a:moveTo>
                    <a:cubicBezTo>
                      <a:pt x="54944" y="0"/>
                      <a:pt x="0" y="55287"/>
                      <a:pt x="0" y="126725"/>
                    </a:cubicBezTo>
                    <a:cubicBezTo>
                      <a:pt x="0" y="198163"/>
                      <a:pt x="54915" y="253936"/>
                      <a:pt x="125896" y="253936"/>
                    </a:cubicBezTo>
                    <a:cubicBezTo>
                      <a:pt x="196877" y="253936"/>
                      <a:pt x="251792" y="198163"/>
                      <a:pt x="251792" y="126725"/>
                    </a:cubicBezTo>
                    <a:cubicBezTo>
                      <a:pt x="251792" y="55287"/>
                      <a:pt x="196877" y="0"/>
                      <a:pt x="125896" y="0"/>
                    </a:cubicBezTo>
                    <a:close/>
                    <a:moveTo>
                      <a:pt x="126153" y="188558"/>
                    </a:moveTo>
                    <a:cubicBezTo>
                      <a:pt x="91506" y="188558"/>
                      <a:pt x="65378" y="160314"/>
                      <a:pt x="65378" y="126725"/>
                    </a:cubicBezTo>
                    <a:cubicBezTo>
                      <a:pt x="65378" y="93136"/>
                      <a:pt x="91506" y="65378"/>
                      <a:pt x="126153" y="65378"/>
                    </a:cubicBezTo>
                    <a:cubicBezTo>
                      <a:pt x="160801" y="65378"/>
                      <a:pt x="186443" y="93136"/>
                      <a:pt x="186443" y="126725"/>
                    </a:cubicBezTo>
                    <a:cubicBezTo>
                      <a:pt x="186443" y="160314"/>
                      <a:pt x="161315" y="188558"/>
                      <a:pt x="126153" y="188558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  <p:sp>
            <p:nvSpPr>
              <p:cNvPr id="14" name="Google Shape;21;p61">
                <a:extLst>
                  <a:ext uri="{FF2B5EF4-FFF2-40B4-BE49-F238E27FC236}">
                    <a16:creationId xmlns:a16="http://schemas.microsoft.com/office/drawing/2014/main" id="{9B504A49-2F4D-A18C-1BAC-CB7DA36AE3F0}"/>
                  </a:ext>
                </a:extLst>
              </p:cNvPr>
              <p:cNvSpPr/>
              <p:nvPr/>
            </p:nvSpPr>
            <p:spPr>
              <a:xfrm>
                <a:off x="10370776" y="3105088"/>
                <a:ext cx="251792" cy="253935"/>
              </a:xfrm>
              <a:custGeom>
                <a:avLst/>
                <a:gdLst/>
                <a:ahLst/>
                <a:cxnLst/>
                <a:rect l="l" t="t" r="r" b="b"/>
                <a:pathLst>
                  <a:path w="251792" h="253935" extrusionOk="0">
                    <a:moveTo>
                      <a:pt x="125896" y="0"/>
                    </a:moveTo>
                    <a:cubicBezTo>
                      <a:pt x="54944" y="0"/>
                      <a:pt x="0" y="55287"/>
                      <a:pt x="0" y="126725"/>
                    </a:cubicBezTo>
                    <a:cubicBezTo>
                      <a:pt x="0" y="198163"/>
                      <a:pt x="54915" y="253936"/>
                      <a:pt x="125896" y="253936"/>
                    </a:cubicBezTo>
                    <a:cubicBezTo>
                      <a:pt x="196877" y="253936"/>
                      <a:pt x="251792" y="198163"/>
                      <a:pt x="251792" y="126725"/>
                    </a:cubicBezTo>
                    <a:cubicBezTo>
                      <a:pt x="251792" y="55287"/>
                      <a:pt x="196877" y="0"/>
                      <a:pt x="125896" y="0"/>
                    </a:cubicBezTo>
                    <a:close/>
                    <a:moveTo>
                      <a:pt x="126153" y="188558"/>
                    </a:moveTo>
                    <a:cubicBezTo>
                      <a:pt x="91506" y="188558"/>
                      <a:pt x="65378" y="160314"/>
                      <a:pt x="65378" y="126725"/>
                    </a:cubicBezTo>
                    <a:cubicBezTo>
                      <a:pt x="65378" y="93136"/>
                      <a:pt x="91506" y="65378"/>
                      <a:pt x="126153" y="65378"/>
                    </a:cubicBezTo>
                    <a:cubicBezTo>
                      <a:pt x="160801" y="65378"/>
                      <a:pt x="186443" y="93136"/>
                      <a:pt x="186443" y="126725"/>
                    </a:cubicBezTo>
                    <a:cubicBezTo>
                      <a:pt x="186443" y="160314"/>
                      <a:pt x="161315" y="188558"/>
                      <a:pt x="126153" y="188558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  <p:sp>
            <p:nvSpPr>
              <p:cNvPr id="15" name="Google Shape;22;p61">
                <a:extLst>
                  <a:ext uri="{FF2B5EF4-FFF2-40B4-BE49-F238E27FC236}">
                    <a16:creationId xmlns:a16="http://schemas.microsoft.com/office/drawing/2014/main" id="{D00A37BE-780F-7873-9634-B3D4B80258A7}"/>
                  </a:ext>
                </a:extLst>
              </p:cNvPr>
              <p:cNvSpPr/>
              <p:nvPr/>
            </p:nvSpPr>
            <p:spPr>
              <a:xfrm>
                <a:off x="9242171" y="3110092"/>
                <a:ext cx="68865" cy="243987"/>
              </a:xfrm>
              <a:custGeom>
                <a:avLst/>
                <a:gdLst/>
                <a:ahLst/>
                <a:cxnLst/>
                <a:rect l="l" t="t" r="r" b="b"/>
                <a:pathLst>
                  <a:path w="68865" h="243987" extrusionOk="0">
                    <a:moveTo>
                      <a:pt x="62405" y="243987"/>
                    </a:moveTo>
                    <a:lnTo>
                      <a:pt x="6489" y="243987"/>
                    </a:lnTo>
                    <a:cubicBezTo>
                      <a:pt x="2916" y="243987"/>
                      <a:pt x="0" y="241071"/>
                      <a:pt x="0" y="237498"/>
                    </a:cubicBezTo>
                    <a:lnTo>
                      <a:pt x="0" y="63891"/>
                    </a:lnTo>
                    <a:cubicBezTo>
                      <a:pt x="0" y="60403"/>
                      <a:pt x="1401" y="57059"/>
                      <a:pt x="3888" y="54629"/>
                    </a:cubicBezTo>
                    <a:lnTo>
                      <a:pt x="57860" y="1858"/>
                    </a:lnTo>
                    <a:cubicBezTo>
                      <a:pt x="61976" y="-2144"/>
                      <a:pt x="68866" y="743"/>
                      <a:pt x="68866" y="6489"/>
                    </a:cubicBezTo>
                    <a:lnTo>
                      <a:pt x="68866" y="237498"/>
                    </a:lnTo>
                    <a:cubicBezTo>
                      <a:pt x="68866" y="241071"/>
                      <a:pt x="65950" y="243987"/>
                      <a:pt x="62376" y="243987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  <p:sp>
            <p:nvSpPr>
              <p:cNvPr id="16" name="Google Shape;23;p61">
                <a:extLst>
                  <a:ext uri="{FF2B5EF4-FFF2-40B4-BE49-F238E27FC236}">
                    <a16:creationId xmlns:a16="http://schemas.microsoft.com/office/drawing/2014/main" id="{F5EDBCB3-5383-84A7-D44E-BE6F25C69A84}"/>
                  </a:ext>
                </a:extLst>
              </p:cNvPr>
              <p:cNvSpPr/>
              <p:nvPr/>
            </p:nvSpPr>
            <p:spPr>
              <a:xfrm>
                <a:off x="9347255" y="3105025"/>
                <a:ext cx="224777" cy="249082"/>
              </a:xfrm>
              <a:custGeom>
                <a:avLst/>
                <a:gdLst/>
                <a:ahLst/>
                <a:cxnLst/>
                <a:rect l="l" t="t" r="r" b="b"/>
                <a:pathLst>
                  <a:path w="224777" h="249082" extrusionOk="0">
                    <a:moveTo>
                      <a:pt x="224749" y="87568"/>
                    </a:moveTo>
                    <a:cubicBezTo>
                      <a:pt x="224749" y="40257"/>
                      <a:pt x="185671" y="578"/>
                      <a:pt x="136416" y="6"/>
                    </a:cubicBezTo>
                    <a:cubicBezTo>
                      <a:pt x="104370" y="-365"/>
                      <a:pt x="82730" y="15329"/>
                      <a:pt x="68894" y="36540"/>
                    </a:cubicBezTo>
                    <a:lnTo>
                      <a:pt x="68894" y="11670"/>
                    </a:lnTo>
                    <a:cubicBezTo>
                      <a:pt x="68894" y="8097"/>
                      <a:pt x="65978" y="5181"/>
                      <a:pt x="62405" y="5181"/>
                    </a:cubicBezTo>
                    <a:lnTo>
                      <a:pt x="6489" y="5181"/>
                    </a:lnTo>
                    <a:cubicBezTo>
                      <a:pt x="2916" y="5181"/>
                      <a:pt x="0" y="8097"/>
                      <a:pt x="0" y="11670"/>
                    </a:cubicBezTo>
                    <a:lnTo>
                      <a:pt x="0" y="242565"/>
                    </a:lnTo>
                    <a:cubicBezTo>
                      <a:pt x="0" y="246138"/>
                      <a:pt x="2916" y="249054"/>
                      <a:pt x="6489" y="249054"/>
                    </a:cubicBezTo>
                    <a:lnTo>
                      <a:pt x="62405" y="249054"/>
                    </a:lnTo>
                    <a:cubicBezTo>
                      <a:pt x="65978" y="249054"/>
                      <a:pt x="68894" y="246138"/>
                      <a:pt x="68894" y="242565"/>
                    </a:cubicBezTo>
                    <a:lnTo>
                      <a:pt x="68894" y="108293"/>
                    </a:lnTo>
                    <a:cubicBezTo>
                      <a:pt x="70438" y="82451"/>
                      <a:pt x="86818" y="66385"/>
                      <a:pt x="112375" y="66385"/>
                    </a:cubicBezTo>
                    <a:cubicBezTo>
                      <a:pt x="137931" y="66385"/>
                      <a:pt x="155884" y="84423"/>
                      <a:pt x="155884" y="111266"/>
                    </a:cubicBezTo>
                    <a:lnTo>
                      <a:pt x="155884" y="242593"/>
                    </a:lnTo>
                    <a:cubicBezTo>
                      <a:pt x="155884" y="246167"/>
                      <a:pt x="158800" y="249083"/>
                      <a:pt x="162373" y="249083"/>
                    </a:cubicBezTo>
                    <a:lnTo>
                      <a:pt x="218289" y="249083"/>
                    </a:lnTo>
                    <a:cubicBezTo>
                      <a:pt x="221862" y="249083"/>
                      <a:pt x="224778" y="246167"/>
                      <a:pt x="224778" y="242593"/>
                    </a:cubicBezTo>
                    <a:lnTo>
                      <a:pt x="224778" y="8759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55892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4" pos="45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preserve="1" userDrawn="1">
  <p:cSld name="3_Title Slide">
    <p:bg>
      <p:bgPr>
        <a:gradFill>
          <a:gsLst>
            <a:gs pos="0">
              <a:schemeClr val="dk1"/>
            </a:gs>
            <a:gs pos="10000">
              <a:schemeClr val="dk1"/>
            </a:gs>
            <a:gs pos="100000">
              <a:srgbClr val="353C42"/>
            </a:gs>
          </a:gsLst>
          <a:lin ang="2700000" scaled="0"/>
        </a:gradFill>
        <a:effectLst/>
      </p:bgPr>
    </p:bg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4A3FFEF-6492-3191-CC4D-F313EA6FE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-3506" y="0"/>
            <a:ext cx="12192000" cy="6858000"/>
          </a:xfrm>
          <a:prstGeom prst="rect">
            <a:avLst/>
          </a:prstGeom>
        </p:spPr>
      </p:pic>
      <p:pic>
        <p:nvPicPr>
          <p:cNvPr id="4" name="Picture 3" descr="A city skyline at night&#10;&#10;AI-generated content may be incorrect.">
            <a:extLst>
              <a:ext uri="{FF2B5EF4-FFF2-40B4-BE49-F238E27FC236}">
                <a16:creationId xmlns:a16="http://schemas.microsoft.com/office/drawing/2014/main" id="{A8602404-0C83-9708-F6CF-09523E53F1E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 descr="A city skyline at night&#10;&#10;AI-generated content may be incorrect.">
            <a:extLst>
              <a:ext uri="{FF2B5EF4-FFF2-40B4-BE49-F238E27FC236}">
                <a16:creationId xmlns:a16="http://schemas.microsoft.com/office/drawing/2014/main" id="{DDB8F68F-DC8D-9DE7-F4CE-63611B71427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12195506" cy="6859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7323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4" pos="45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preserve="1" userDrawn="1">
  <p:cSld name="4_Title Slide">
    <p:bg>
      <p:bgPr>
        <a:gradFill>
          <a:gsLst>
            <a:gs pos="0">
              <a:schemeClr val="dk1"/>
            </a:gs>
            <a:gs pos="10000">
              <a:schemeClr val="dk1"/>
            </a:gs>
            <a:gs pos="100000">
              <a:srgbClr val="353C42"/>
            </a:gs>
          </a:gsLst>
          <a:lin ang="2700000" scaled="0"/>
        </a:gradFill>
        <a:effectLst/>
      </p:bgPr>
    </p:bg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4A3FFEF-6492-3191-CC4D-F313EA6FE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-3506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3502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4" pos="45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oogle Shape;986;g22cb0be31a4_6_52">
            <a:extLst>
              <a:ext uri="{FF2B5EF4-FFF2-40B4-BE49-F238E27FC236}">
                <a16:creationId xmlns:a16="http://schemas.microsoft.com/office/drawing/2014/main" id="{D432FF83-D873-071E-CFCB-FC2B6B73643E}"/>
              </a:ext>
            </a:extLst>
          </p:cNvPr>
          <p:cNvPicPr preferRelativeResize="0">
            <a:picLocks/>
          </p:cNvPicPr>
          <p:nvPr userDrawn="1"/>
        </p:nvPicPr>
        <p:blipFill rotWithShape="1">
          <a:blip r:embed="rId2">
            <a:alphaModFix amt="10000"/>
          </a:blip>
          <a:srcRect l="4477" r="5040"/>
          <a:stretch/>
        </p:blipFill>
        <p:spPr>
          <a:xfrm>
            <a:off x="3171424" y="1"/>
            <a:ext cx="9020576" cy="685800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4" name="Google Shape;987;g22cb0be31a4_6_52">
            <a:extLst>
              <a:ext uri="{FF2B5EF4-FFF2-40B4-BE49-F238E27FC236}">
                <a16:creationId xmlns:a16="http://schemas.microsoft.com/office/drawing/2014/main" id="{4DE2FA32-4BDF-907B-19AD-7217FA4CE420}"/>
              </a:ext>
            </a:extLst>
          </p:cNvPr>
          <p:cNvGrpSpPr/>
          <p:nvPr userDrawn="1"/>
        </p:nvGrpSpPr>
        <p:grpSpPr>
          <a:xfrm>
            <a:off x="11122821" y="6466206"/>
            <a:ext cx="799629" cy="172367"/>
            <a:chOff x="11122821" y="6466206"/>
            <a:chExt cx="799629" cy="172367"/>
          </a:xfrm>
        </p:grpSpPr>
        <p:sp>
          <p:nvSpPr>
            <p:cNvPr id="5" name="Google Shape;988;g22cb0be31a4_6_52">
              <a:extLst>
                <a:ext uri="{FF2B5EF4-FFF2-40B4-BE49-F238E27FC236}">
                  <a16:creationId xmlns:a16="http://schemas.microsoft.com/office/drawing/2014/main" id="{B2CA3A27-3EF5-9B90-B4F4-41C44D6569FF}"/>
                </a:ext>
              </a:extLst>
            </p:cNvPr>
            <p:cNvSpPr/>
            <p:nvPr/>
          </p:nvSpPr>
          <p:spPr>
            <a:xfrm rot="-2700000">
              <a:off x="11134957" y="6473485"/>
              <a:ext cx="35147" cy="35147"/>
            </a:xfrm>
            <a:custGeom>
              <a:avLst/>
              <a:gdLst/>
              <a:ahLst/>
              <a:cxnLst/>
              <a:rect l="l" t="t" r="r" b="b"/>
              <a:pathLst>
                <a:path w="35147" h="35147" extrusionOk="0">
                  <a:moveTo>
                    <a:pt x="32044" y="0"/>
                  </a:moveTo>
                  <a:cubicBezTo>
                    <a:pt x="33758" y="0"/>
                    <a:pt x="35148" y="1389"/>
                    <a:pt x="35148" y="3103"/>
                  </a:cubicBezTo>
                  <a:lnTo>
                    <a:pt x="35148" y="32044"/>
                  </a:lnTo>
                  <a:cubicBezTo>
                    <a:pt x="35148" y="33758"/>
                    <a:pt x="33758" y="35148"/>
                    <a:pt x="32044" y="35148"/>
                  </a:cubicBezTo>
                  <a:lnTo>
                    <a:pt x="3103" y="35148"/>
                  </a:lnTo>
                  <a:cubicBezTo>
                    <a:pt x="1389" y="35148"/>
                    <a:pt x="0" y="33758"/>
                    <a:pt x="0" y="32044"/>
                  </a:cubicBezTo>
                  <a:lnTo>
                    <a:pt x="0" y="3103"/>
                  </a:lnTo>
                  <a:cubicBezTo>
                    <a:pt x="0" y="1389"/>
                    <a:pt x="1389" y="0"/>
                    <a:pt x="3103" y="0"/>
                  </a:cubicBezTo>
                  <a:close/>
                </a:path>
              </a:pathLst>
            </a:custGeom>
            <a:solidFill>
              <a:srgbClr val="00B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Lato Light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Calibri"/>
              </a:endParaRPr>
            </a:p>
          </p:txBody>
        </p:sp>
        <p:grpSp>
          <p:nvGrpSpPr>
            <p:cNvPr id="6" name="Google Shape;989;g22cb0be31a4_6_52">
              <a:extLst>
                <a:ext uri="{FF2B5EF4-FFF2-40B4-BE49-F238E27FC236}">
                  <a16:creationId xmlns:a16="http://schemas.microsoft.com/office/drawing/2014/main" id="{8DAC5303-7ED7-33A6-0CD6-254E7A6A7961}"/>
                </a:ext>
              </a:extLst>
            </p:cNvPr>
            <p:cNvGrpSpPr/>
            <p:nvPr/>
          </p:nvGrpSpPr>
          <p:grpSpPr>
            <a:xfrm>
              <a:off x="11122821" y="6472473"/>
              <a:ext cx="799629" cy="166100"/>
              <a:chOff x="11122821" y="6472473"/>
              <a:chExt cx="799629" cy="166100"/>
            </a:xfrm>
          </p:grpSpPr>
          <p:sp>
            <p:nvSpPr>
              <p:cNvPr id="7" name="Google Shape;990;g22cb0be31a4_6_52">
                <a:extLst>
                  <a:ext uri="{FF2B5EF4-FFF2-40B4-BE49-F238E27FC236}">
                    <a16:creationId xmlns:a16="http://schemas.microsoft.com/office/drawing/2014/main" id="{16B50947-AA17-A454-AF26-87CBF998C35A}"/>
                  </a:ext>
                </a:extLst>
              </p:cNvPr>
              <p:cNvSpPr/>
              <p:nvPr/>
            </p:nvSpPr>
            <p:spPr>
              <a:xfrm>
                <a:off x="11774281" y="6519597"/>
                <a:ext cx="119385" cy="116611"/>
              </a:xfrm>
              <a:custGeom>
                <a:avLst/>
                <a:gdLst/>
                <a:ahLst/>
                <a:cxnLst/>
                <a:rect l="l" t="t" r="r" b="b"/>
                <a:pathLst>
                  <a:path w="119385" h="116611" extrusionOk="0">
                    <a:moveTo>
                      <a:pt x="82523" y="58306"/>
                    </a:moveTo>
                    <a:lnTo>
                      <a:pt x="118887" y="112265"/>
                    </a:lnTo>
                    <a:cubicBezTo>
                      <a:pt x="120199" y="114124"/>
                      <a:pt x="118764" y="116612"/>
                      <a:pt x="116385" y="116612"/>
                    </a:cubicBezTo>
                    <a:lnTo>
                      <a:pt x="85831" y="116612"/>
                    </a:lnTo>
                    <a:cubicBezTo>
                      <a:pt x="83794" y="116612"/>
                      <a:pt x="81880" y="115600"/>
                      <a:pt x="80718" y="113919"/>
                    </a:cubicBezTo>
                    <a:lnTo>
                      <a:pt x="59693" y="81751"/>
                    </a:lnTo>
                    <a:lnTo>
                      <a:pt x="38667" y="113919"/>
                    </a:lnTo>
                    <a:cubicBezTo>
                      <a:pt x="37505" y="115600"/>
                      <a:pt x="35605" y="116612"/>
                      <a:pt x="33554" y="116612"/>
                    </a:cubicBezTo>
                    <a:lnTo>
                      <a:pt x="3000" y="116612"/>
                    </a:lnTo>
                    <a:cubicBezTo>
                      <a:pt x="621" y="116612"/>
                      <a:pt x="-814" y="114138"/>
                      <a:pt x="498" y="112265"/>
                    </a:cubicBezTo>
                    <a:lnTo>
                      <a:pt x="36753" y="58306"/>
                    </a:lnTo>
                    <a:lnTo>
                      <a:pt x="498" y="4347"/>
                    </a:lnTo>
                    <a:cubicBezTo>
                      <a:pt x="-814" y="2488"/>
                      <a:pt x="621" y="0"/>
                      <a:pt x="3000" y="0"/>
                    </a:cubicBezTo>
                    <a:lnTo>
                      <a:pt x="34853" y="0"/>
                    </a:lnTo>
                    <a:cubicBezTo>
                      <a:pt x="36042" y="0"/>
                      <a:pt x="37149" y="547"/>
                      <a:pt x="37778" y="1449"/>
                    </a:cubicBezTo>
                    <a:lnTo>
                      <a:pt x="59679" y="34806"/>
                    </a:lnTo>
                    <a:lnTo>
                      <a:pt x="80240" y="1463"/>
                    </a:lnTo>
                    <a:cubicBezTo>
                      <a:pt x="80855" y="561"/>
                      <a:pt x="81976" y="0"/>
                      <a:pt x="83165" y="0"/>
                    </a:cubicBezTo>
                    <a:lnTo>
                      <a:pt x="115333" y="0"/>
                    </a:lnTo>
                    <a:cubicBezTo>
                      <a:pt x="117711" y="0"/>
                      <a:pt x="119133" y="2474"/>
                      <a:pt x="117834" y="4334"/>
                    </a:cubicBezTo>
                    <a:lnTo>
                      <a:pt x="82495" y="5830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8" name="Google Shape;991;g22cb0be31a4_6_52">
                <a:extLst>
                  <a:ext uri="{FF2B5EF4-FFF2-40B4-BE49-F238E27FC236}">
                    <a16:creationId xmlns:a16="http://schemas.microsoft.com/office/drawing/2014/main" id="{C16BBA94-DC9E-7F21-1A44-2C9FB85B8EA7}"/>
                  </a:ext>
                </a:extLst>
              </p:cNvPr>
              <p:cNvSpPr/>
              <p:nvPr/>
            </p:nvSpPr>
            <p:spPr>
              <a:xfrm>
                <a:off x="11284928" y="6472473"/>
                <a:ext cx="78825" cy="163762"/>
              </a:xfrm>
              <a:custGeom>
                <a:avLst/>
                <a:gdLst/>
                <a:ahLst/>
                <a:cxnLst/>
                <a:rect l="l" t="t" r="r" b="b"/>
                <a:pathLst>
                  <a:path w="78825" h="163762" extrusionOk="0">
                    <a:moveTo>
                      <a:pt x="75722" y="14"/>
                    </a:moveTo>
                    <a:lnTo>
                      <a:pt x="50377" y="14"/>
                    </a:lnTo>
                    <a:cubicBezTo>
                      <a:pt x="47916" y="14"/>
                      <a:pt x="45551" y="998"/>
                      <a:pt x="43801" y="2734"/>
                    </a:cubicBezTo>
                    <a:lnTo>
                      <a:pt x="19987" y="26549"/>
                    </a:lnTo>
                    <a:cubicBezTo>
                      <a:pt x="18237" y="28299"/>
                      <a:pt x="17266" y="30664"/>
                      <a:pt x="17266" y="33124"/>
                    </a:cubicBezTo>
                    <a:lnTo>
                      <a:pt x="17266" y="51867"/>
                    </a:lnTo>
                    <a:lnTo>
                      <a:pt x="3049" y="51867"/>
                    </a:lnTo>
                    <a:cubicBezTo>
                      <a:pt x="1367" y="51867"/>
                      <a:pt x="0" y="53234"/>
                      <a:pt x="0" y="54916"/>
                    </a:cubicBezTo>
                    <a:lnTo>
                      <a:pt x="0" y="75955"/>
                    </a:lnTo>
                    <a:cubicBezTo>
                      <a:pt x="0" y="77636"/>
                      <a:pt x="1367" y="79004"/>
                      <a:pt x="3049" y="79004"/>
                    </a:cubicBezTo>
                    <a:lnTo>
                      <a:pt x="17266" y="79004"/>
                    </a:lnTo>
                    <a:lnTo>
                      <a:pt x="17266" y="160659"/>
                    </a:lnTo>
                    <a:cubicBezTo>
                      <a:pt x="17266" y="162368"/>
                      <a:pt x="18661" y="163763"/>
                      <a:pt x="20369" y="163763"/>
                    </a:cubicBezTo>
                    <a:lnTo>
                      <a:pt x="47109" y="163763"/>
                    </a:lnTo>
                    <a:cubicBezTo>
                      <a:pt x="48818" y="163763"/>
                      <a:pt x="50213" y="162368"/>
                      <a:pt x="50213" y="160659"/>
                    </a:cubicBezTo>
                    <a:lnTo>
                      <a:pt x="50213" y="78990"/>
                    </a:lnTo>
                    <a:lnTo>
                      <a:pt x="71443" y="78990"/>
                    </a:lnTo>
                    <a:cubicBezTo>
                      <a:pt x="73125" y="78990"/>
                      <a:pt x="74492" y="77623"/>
                      <a:pt x="74492" y="75941"/>
                    </a:cubicBezTo>
                    <a:lnTo>
                      <a:pt x="74492" y="54902"/>
                    </a:lnTo>
                    <a:cubicBezTo>
                      <a:pt x="74492" y="53220"/>
                      <a:pt x="73125" y="51853"/>
                      <a:pt x="71443" y="51853"/>
                    </a:cubicBezTo>
                    <a:lnTo>
                      <a:pt x="50213" y="51853"/>
                    </a:lnTo>
                    <a:lnTo>
                      <a:pt x="50213" y="38565"/>
                    </a:lnTo>
                    <a:cubicBezTo>
                      <a:pt x="50213" y="33425"/>
                      <a:pt x="54382" y="29269"/>
                      <a:pt x="59509" y="29269"/>
                    </a:cubicBezTo>
                    <a:lnTo>
                      <a:pt x="75722" y="29269"/>
                    </a:lnTo>
                    <a:cubicBezTo>
                      <a:pt x="77431" y="29269"/>
                      <a:pt x="78826" y="27875"/>
                      <a:pt x="78826" y="26166"/>
                    </a:cubicBezTo>
                    <a:lnTo>
                      <a:pt x="78826" y="3103"/>
                    </a:lnTo>
                    <a:cubicBezTo>
                      <a:pt x="78826" y="1394"/>
                      <a:pt x="77431" y="0"/>
                      <a:pt x="75722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9" name="Google Shape;992;g22cb0be31a4_6_52">
                <a:extLst>
                  <a:ext uri="{FF2B5EF4-FFF2-40B4-BE49-F238E27FC236}">
                    <a16:creationId xmlns:a16="http://schemas.microsoft.com/office/drawing/2014/main" id="{8941B8E6-F38C-9DC2-10D2-C236132A20A3}"/>
                  </a:ext>
                </a:extLst>
              </p:cNvPr>
              <p:cNvSpPr/>
              <p:nvPr/>
            </p:nvSpPr>
            <p:spPr>
              <a:xfrm>
                <a:off x="11896791" y="6612367"/>
                <a:ext cx="25659" cy="25660"/>
              </a:xfrm>
              <a:custGeom>
                <a:avLst/>
                <a:gdLst/>
                <a:ahLst/>
                <a:cxnLst/>
                <a:rect l="l" t="t" r="r" b="b"/>
                <a:pathLst>
                  <a:path w="25659" h="25660" extrusionOk="0">
                    <a:moveTo>
                      <a:pt x="25660" y="12810"/>
                    </a:moveTo>
                    <a:cubicBezTo>
                      <a:pt x="25660" y="19946"/>
                      <a:pt x="19946" y="25660"/>
                      <a:pt x="12782" y="25660"/>
                    </a:cubicBezTo>
                    <a:cubicBezTo>
                      <a:pt x="5619" y="25660"/>
                      <a:pt x="0" y="19891"/>
                      <a:pt x="0" y="12810"/>
                    </a:cubicBezTo>
                    <a:cubicBezTo>
                      <a:pt x="0" y="5728"/>
                      <a:pt x="5714" y="0"/>
                      <a:pt x="12823" y="0"/>
                    </a:cubicBezTo>
                    <a:cubicBezTo>
                      <a:pt x="19932" y="0"/>
                      <a:pt x="25646" y="5687"/>
                      <a:pt x="25646" y="12810"/>
                    </a:cubicBezTo>
                    <a:close/>
                    <a:moveTo>
                      <a:pt x="23691" y="12864"/>
                    </a:moveTo>
                    <a:cubicBezTo>
                      <a:pt x="23691" y="6712"/>
                      <a:pt x="18838" y="1832"/>
                      <a:pt x="12837" y="1832"/>
                    </a:cubicBezTo>
                    <a:cubicBezTo>
                      <a:pt x="6835" y="1832"/>
                      <a:pt x="1982" y="6658"/>
                      <a:pt x="1982" y="12851"/>
                    </a:cubicBezTo>
                    <a:cubicBezTo>
                      <a:pt x="1982" y="19043"/>
                      <a:pt x="6890" y="23856"/>
                      <a:pt x="12782" y="23856"/>
                    </a:cubicBezTo>
                    <a:cubicBezTo>
                      <a:pt x="18674" y="23856"/>
                      <a:pt x="23691" y="19002"/>
                      <a:pt x="23691" y="12864"/>
                    </a:cubicBezTo>
                    <a:close/>
                    <a:moveTo>
                      <a:pt x="15585" y="14888"/>
                    </a:moveTo>
                    <a:lnTo>
                      <a:pt x="18811" y="19905"/>
                    </a:lnTo>
                    <a:lnTo>
                      <a:pt x="16678" y="19905"/>
                    </a:lnTo>
                    <a:lnTo>
                      <a:pt x="13097" y="14218"/>
                    </a:lnTo>
                    <a:lnTo>
                      <a:pt x="9829" y="14218"/>
                    </a:lnTo>
                    <a:lnTo>
                      <a:pt x="9829" y="19905"/>
                    </a:lnTo>
                    <a:lnTo>
                      <a:pt x="8038" y="19905"/>
                    </a:lnTo>
                    <a:lnTo>
                      <a:pt x="8038" y="5523"/>
                    </a:lnTo>
                    <a:lnTo>
                      <a:pt x="13616" y="5523"/>
                    </a:lnTo>
                    <a:cubicBezTo>
                      <a:pt x="16364" y="5523"/>
                      <a:pt x="18155" y="6999"/>
                      <a:pt x="18155" y="9761"/>
                    </a:cubicBezTo>
                    <a:cubicBezTo>
                      <a:pt x="18155" y="11989"/>
                      <a:pt x="16801" y="13370"/>
                      <a:pt x="14887" y="13917"/>
                    </a:cubicBezTo>
                    <a:cubicBezTo>
                      <a:pt x="15147" y="14204"/>
                      <a:pt x="15407" y="14559"/>
                      <a:pt x="15585" y="14901"/>
                    </a:cubicBezTo>
                    <a:close/>
                    <a:moveTo>
                      <a:pt x="13015" y="12522"/>
                    </a:moveTo>
                    <a:cubicBezTo>
                      <a:pt x="15038" y="12522"/>
                      <a:pt x="16282" y="11565"/>
                      <a:pt x="16282" y="9870"/>
                    </a:cubicBezTo>
                    <a:cubicBezTo>
                      <a:pt x="16282" y="8175"/>
                      <a:pt x="15421" y="7191"/>
                      <a:pt x="13657" y="7191"/>
                    </a:cubicBezTo>
                    <a:lnTo>
                      <a:pt x="9816" y="7191"/>
                    </a:lnTo>
                    <a:lnTo>
                      <a:pt x="9816" y="12509"/>
                    </a:lnTo>
                    <a:lnTo>
                      <a:pt x="13015" y="12509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0" name="Google Shape;993;g22cb0be31a4_6_52">
                <a:extLst>
                  <a:ext uri="{FF2B5EF4-FFF2-40B4-BE49-F238E27FC236}">
                    <a16:creationId xmlns:a16="http://schemas.microsoft.com/office/drawing/2014/main" id="{83307B8F-5A19-3191-B974-315600FC968D}"/>
                  </a:ext>
                </a:extLst>
              </p:cNvPr>
              <p:cNvSpPr/>
              <p:nvPr/>
            </p:nvSpPr>
            <p:spPr>
              <a:xfrm>
                <a:off x="11620956" y="6472487"/>
                <a:ext cx="32932" cy="163721"/>
              </a:xfrm>
              <a:custGeom>
                <a:avLst/>
                <a:gdLst/>
                <a:ahLst/>
                <a:cxnLst/>
                <a:rect l="l" t="t" r="r" b="b"/>
                <a:pathLst>
                  <a:path w="32932" h="163721" extrusionOk="0">
                    <a:moveTo>
                      <a:pt x="29830" y="0"/>
                    </a:moveTo>
                    <a:cubicBezTo>
                      <a:pt x="31544" y="0"/>
                      <a:pt x="32933" y="1389"/>
                      <a:pt x="32933" y="3103"/>
                    </a:cubicBezTo>
                    <a:lnTo>
                      <a:pt x="32933" y="160618"/>
                    </a:lnTo>
                    <a:cubicBezTo>
                      <a:pt x="32933" y="162332"/>
                      <a:pt x="31543" y="163722"/>
                      <a:pt x="29830" y="163722"/>
                    </a:cubicBezTo>
                    <a:lnTo>
                      <a:pt x="3103" y="163722"/>
                    </a:lnTo>
                    <a:cubicBezTo>
                      <a:pt x="1389" y="163722"/>
                      <a:pt x="0" y="162332"/>
                      <a:pt x="0" y="160618"/>
                    </a:cubicBezTo>
                    <a:lnTo>
                      <a:pt x="0" y="3103"/>
                    </a:lnTo>
                    <a:cubicBezTo>
                      <a:pt x="0" y="1389"/>
                      <a:pt x="1389" y="0"/>
                      <a:pt x="3103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1" name="Google Shape;994;g22cb0be31a4_6_52">
                <a:extLst>
                  <a:ext uri="{FF2B5EF4-FFF2-40B4-BE49-F238E27FC236}">
                    <a16:creationId xmlns:a16="http://schemas.microsoft.com/office/drawing/2014/main" id="{130569FA-5D7A-F95B-F65D-704E55D748A0}"/>
                  </a:ext>
                </a:extLst>
              </p:cNvPr>
              <p:cNvSpPr/>
              <p:nvPr/>
            </p:nvSpPr>
            <p:spPr>
              <a:xfrm>
                <a:off x="11488486" y="6472473"/>
                <a:ext cx="123638" cy="166086"/>
              </a:xfrm>
              <a:custGeom>
                <a:avLst/>
                <a:gdLst/>
                <a:ahLst/>
                <a:cxnLst/>
                <a:rect l="l" t="t" r="r" b="b"/>
                <a:pathLst>
                  <a:path w="123638" h="166086" extrusionOk="0">
                    <a:moveTo>
                      <a:pt x="68737" y="44663"/>
                    </a:moveTo>
                    <a:cubicBezTo>
                      <a:pt x="53535" y="44663"/>
                      <a:pt x="40889" y="51252"/>
                      <a:pt x="32947" y="62052"/>
                    </a:cubicBezTo>
                    <a:lnTo>
                      <a:pt x="32947" y="3103"/>
                    </a:lnTo>
                    <a:cubicBezTo>
                      <a:pt x="32947" y="1394"/>
                      <a:pt x="31552" y="0"/>
                      <a:pt x="29843" y="0"/>
                    </a:cubicBezTo>
                    <a:lnTo>
                      <a:pt x="3103" y="0"/>
                    </a:lnTo>
                    <a:cubicBezTo>
                      <a:pt x="1394" y="0"/>
                      <a:pt x="0" y="1394"/>
                      <a:pt x="0" y="3103"/>
                    </a:cubicBezTo>
                    <a:lnTo>
                      <a:pt x="0" y="160632"/>
                    </a:lnTo>
                    <a:cubicBezTo>
                      <a:pt x="0" y="162341"/>
                      <a:pt x="1394" y="163735"/>
                      <a:pt x="3103" y="163735"/>
                    </a:cubicBezTo>
                    <a:lnTo>
                      <a:pt x="29843" y="163735"/>
                    </a:lnTo>
                    <a:cubicBezTo>
                      <a:pt x="31552" y="163735"/>
                      <a:pt x="32947" y="162341"/>
                      <a:pt x="32947" y="160632"/>
                    </a:cubicBezTo>
                    <a:lnTo>
                      <a:pt x="32947" y="149025"/>
                    </a:lnTo>
                    <a:cubicBezTo>
                      <a:pt x="40903" y="159839"/>
                      <a:pt x="53535" y="166087"/>
                      <a:pt x="68983" y="166087"/>
                    </a:cubicBezTo>
                    <a:cubicBezTo>
                      <a:pt x="101505" y="166087"/>
                      <a:pt x="123638" y="139852"/>
                      <a:pt x="123638" y="105539"/>
                    </a:cubicBezTo>
                    <a:cubicBezTo>
                      <a:pt x="123638" y="71225"/>
                      <a:pt x="101505" y="44663"/>
                      <a:pt x="68750" y="44663"/>
                    </a:cubicBezTo>
                    <a:close/>
                    <a:moveTo>
                      <a:pt x="62188" y="135163"/>
                    </a:moveTo>
                    <a:cubicBezTo>
                      <a:pt x="45346" y="135163"/>
                      <a:pt x="32947" y="121533"/>
                      <a:pt x="32947" y="105552"/>
                    </a:cubicBezTo>
                    <a:cubicBezTo>
                      <a:pt x="32947" y="89571"/>
                      <a:pt x="45346" y="76174"/>
                      <a:pt x="62188" y="76174"/>
                    </a:cubicBezTo>
                    <a:cubicBezTo>
                      <a:pt x="79031" y="76174"/>
                      <a:pt x="90965" y="89571"/>
                      <a:pt x="90965" y="105552"/>
                    </a:cubicBezTo>
                    <a:cubicBezTo>
                      <a:pt x="90965" y="121533"/>
                      <a:pt x="78798" y="135163"/>
                      <a:pt x="62188" y="13516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2" name="Google Shape;995;g22cb0be31a4_6_52">
                <a:extLst>
                  <a:ext uri="{FF2B5EF4-FFF2-40B4-BE49-F238E27FC236}">
                    <a16:creationId xmlns:a16="http://schemas.microsoft.com/office/drawing/2014/main" id="{6D393623-2CB7-C55C-8D1B-FC6314835DAC}"/>
                  </a:ext>
                </a:extLst>
              </p:cNvPr>
              <p:cNvSpPr/>
              <p:nvPr/>
            </p:nvSpPr>
            <p:spPr>
              <a:xfrm>
                <a:off x="11359421" y="6517136"/>
                <a:ext cx="120412" cy="121437"/>
              </a:xfrm>
              <a:custGeom>
                <a:avLst/>
                <a:gdLst/>
                <a:ahLst/>
                <a:cxnLst/>
                <a:rect l="l" t="t" r="r" b="b"/>
                <a:pathLst>
                  <a:path w="120412" h="121437" extrusionOk="0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3" name="Google Shape;996;g22cb0be31a4_6_52">
                <a:extLst>
                  <a:ext uri="{FF2B5EF4-FFF2-40B4-BE49-F238E27FC236}">
                    <a16:creationId xmlns:a16="http://schemas.microsoft.com/office/drawing/2014/main" id="{094FDF1B-5EB4-048A-72BC-5AD461F6007A}"/>
                  </a:ext>
                </a:extLst>
              </p:cNvPr>
              <p:cNvSpPr/>
              <p:nvPr/>
            </p:nvSpPr>
            <p:spPr>
              <a:xfrm>
                <a:off x="11662542" y="6517136"/>
                <a:ext cx="120412" cy="121437"/>
              </a:xfrm>
              <a:custGeom>
                <a:avLst/>
                <a:gdLst/>
                <a:ahLst/>
                <a:cxnLst/>
                <a:rect l="l" t="t" r="r" b="b"/>
                <a:pathLst>
                  <a:path w="120412" h="121437" extrusionOk="0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4" name="Google Shape;997;g22cb0be31a4_6_52">
                <a:extLst>
                  <a:ext uri="{FF2B5EF4-FFF2-40B4-BE49-F238E27FC236}">
                    <a16:creationId xmlns:a16="http://schemas.microsoft.com/office/drawing/2014/main" id="{C63C090B-3E6D-854E-8428-1FF6A03DBA1B}"/>
                  </a:ext>
                </a:extLst>
              </p:cNvPr>
              <p:cNvSpPr/>
              <p:nvPr/>
            </p:nvSpPr>
            <p:spPr>
              <a:xfrm>
                <a:off x="11122821" y="6519528"/>
                <a:ext cx="32932" cy="116680"/>
              </a:xfrm>
              <a:custGeom>
                <a:avLst/>
                <a:gdLst/>
                <a:ahLst/>
                <a:cxnLst/>
                <a:rect l="l" t="t" r="r" b="b"/>
                <a:pathLst>
                  <a:path w="32932" h="116680" extrusionOk="0">
                    <a:moveTo>
                      <a:pt x="29843" y="116680"/>
                    </a:moveTo>
                    <a:lnTo>
                      <a:pt x="3103" y="116680"/>
                    </a:lnTo>
                    <a:cubicBezTo>
                      <a:pt x="1394" y="116680"/>
                      <a:pt x="0" y="115286"/>
                      <a:pt x="0" y="113577"/>
                    </a:cubicBezTo>
                    <a:lnTo>
                      <a:pt x="0" y="30554"/>
                    </a:lnTo>
                    <a:cubicBezTo>
                      <a:pt x="0" y="28886"/>
                      <a:pt x="670" y="27287"/>
                      <a:pt x="1859" y="26125"/>
                    </a:cubicBezTo>
                    <a:lnTo>
                      <a:pt x="27670" y="888"/>
                    </a:lnTo>
                    <a:cubicBezTo>
                      <a:pt x="29638" y="-1026"/>
                      <a:pt x="32933" y="355"/>
                      <a:pt x="32933" y="3103"/>
                    </a:cubicBezTo>
                    <a:lnTo>
                      <a:pt x="32933" y="113577"/>
                    </a:lnTo>
                    <a:cubicBezTo>
                      <a:pt x="32933" y="115286"/>
                      <a:pt x="31538" y="116680"/>
                      <a:pt x="29830" y="11668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5" name="Google Shape;998;g22cb0be31a4_6_52">
                <a:extLst>
                  <a:ext uri="{FF2B5EF4-FFF2-40B4-BE49-F238E27FC236}">
                    <a16:creationId xmlns:a16="http://schemas.microsoft.com/office/drawing/2014/main" id="{FE6CF04B-B9BD-557A-4F3B-96E527E19D9A}"/>
                  </a:ext>
                </a:extLst>
              </p:cNvPr>
              <p:cNvSpPr/>
              <p:nvPr/>
            </p:nvSpPr>
            <p:spPr>
              <a:xfrm>
                <a:off x="11173074" y="6517105"/>
                <a:ext cx="107493" cy="119116"/>
              </a:xfrm>
              <a:custGeom>
                <a:avLst/>
                <a:gdLst/>
                <a:ahLst/>
                <a:cxnLst/>
                <a:rect l="l" t="t" r="r" b="b"/>
                <a:pathLst>
                  <a:path w="107493" h="119116" extrusionOk="0">
                    <a:moveTo>
                      <a:pt x="107480" y="41877"/>
                    </a:moveTo>
                    <a:cubicBezTo>
                      <a:pt x="107480" y="19252"/>
                      <a:pt x="88792" y="277"/>
                      <a:pt x="65237" y="3"/>
                    </a:cubicBezTo>
                    <a:cubicBezTo>
                      <a:pt x="49912" y="-175"/>
                      <a:pt x="39563" y="7331"/>
                      <a:pt x="32947" y="17474"/>
                    </a:cubicBezTo>
                    <a:lnTo>
                      <a:pt x="32947" y="5581"/>
                    </a:lnTo>
                    <a:cubicBezTo>
                      <a:pt x="32947" y="3872"/>
                      <a:pt x="31552" y="2478"/>
                      <a:pt x="29843" y="2478"/>
                    </a:cubicBezTo>
                    <a:lnTo>
                      <a:pt x="3103" y="2478"/>
                    </a:lnTo>
                    <a:cubicBezTo>
                      <a:pt x="1394" y="2478"/>
                      <a:pt x="0" y="3872"/>
                      <a:pt x="0" y="5581"/>
                    </a:cubicBezTo>
                    <a:lnTo>
                      <a:pt x="0" y="116000"/>
                    </a:lnTo>
                    <a:cubicBezTo>
                      <a:pt x="0" y="117709"/>
                      <a:pt x="1394" y="119103"/>
                      <a:pt x="3103" y="119103"/>
                    </a:cubicBezTo>
                    <a:lnTo>
                      <a:pt x="29843" y="119103"/>
                    </a:lnTo>
                    <a:cubicBezTo>
                      <a:pt x="31552" y="119103"/>
                      <a:pt x="32947" y="117709"/>
                      <a:pt x="32947" y="116000"/>
                    </a:cubicBezTo>
                    <a:lnTo>
                      <a:pt x="32947" y="51788"/>
                    </a:lnTo>
                    <a:cubicBezTo>
                      <a:pt x="33685" y="39430"/>
                      <a:pt x="41518" y="31747"/>
                      <a:pt x="53740" y="31747"/>
                    </a:cubicBezTo>
                    <a:cubicBezTo>
                      <a:pt x="65961" y="31747"/>
                      <a:pt x="74547" y="40373"/>
                      <a:pt x="74547" y="53210"/>
                    </a:cubicBezTo>
                    <a:lnTo>
                      <a:pt x="74547" y="116014"/>
                    </a:lnTo>
                    <a:cubicBezTo>
                      <a:pt x="74547" y="117722"/>
                      <a:pt x="75941" y="119117"/>
                      <a:pt x="77650" y="119117"/>
                    </a:cubicBezTo>
                    <a:lnTo>
                      <a:pt x="104390" y="119117"/>
                    </a:lnTo>
                    <a:cubicBezTo>
                      <a:pt x="106099" y="119117"/>
                      <a:pt x="107493" y="117722"/>
                      <a:pt x="107493" y="116014"/>
                    </a:cubicBezTo>
                    <a:lnTo>
                      <a:pt x="107493" y="4189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7069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oogle Shape;986;g22cb0be31a4_6_52">
            <a:extLst>
              <a:ext uri="{FF2B5EF4-FFF2-40B4-BE49-F238E27FC236}">
                <a16:creationId xmlns:a16="http://schemas.microsoft.com/office/drawing/2014/main" id="{D432FF83-D873-071E-CFCB-FC2B6B73643E}"/>
              </a:ext>
            </a:extLst>
          </p:cNvPr>
          <p:cNvPicPr preferRelativeResize="0"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2">
            <a:alphaModFix amt="10000"/>
          </a:blip>
          <a:srcRect l="4477" r="5040"/>
          <a:stretch/>
        </p:blipFill>
        <p:spPr>
          <a:xfrm flipH="1">
            <a:off x="0" y="1"/>
            <a:ext cx="9020576" cy="685800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4" name="Google Shape;987;g22cb0be31a4_6_52">
            <a:extLst>
              <a:ext uri="{FF2B5EF4-FFF2-40B4-BE49-F238E27FC236}">
                <a16:creationId xmlns:a16="http://schemas.microsoft.com/office/drawing/2014/main" id="{4DE2FA32-4BDF-907B-19AD-7217FA4CE420}"/>
              </a:ext>
            </a:extLst>
          </p:cNvPr>
          <p:cNvGrpSpPr/>
          <p:nvPr userDrawn="1"/>
        </p:nvGrpSpPr>
        <p:grpSpPr>
          <a:xfrm>
            <a:off x="11122821" y="6466206"/>
            <a:ext cx="799629" cy="172367"/>
            <a:chOff x="11122821" y="6466206"/>
            <a:chExt cx="799629" cy="172367"/>
          </a:xfrm>
        </p:grpSpPr>
        <p:sp>
          <p:nvSpPr>
            <p:cNvPr id="5" name="Google Shape;988;g22cb0be31a4_6_52">
              <a:extLst>
                <a:ext uri="{FF2B5EF4-FFF2-40B4-BE49-F238E27FC236}">
                  <a16:creationId xmlns:a16="http://schemas.microsoft.com/office/drawing/2014/main" id="{B2CA3A27-3EF5-9B90-B4F4-41C44D6569FF}"/>
                </a:ext>
              </a:extLst>
            </p:cNvPr>
            <p:cNvSpPr/>
            <p:nvPr/>
          </p:nvSpPr>
          <p:spPr>
            <a:xfrm rot="-2700000">
              <a:off x="11134957" y="6473485"/>
              <a:ext cx="35147" cy="35147"/>
            </a:xfrm>
            <a:custGeom>
              <a:avLst/>
              <a:gdLst/>
              <a:ahLst/>
              <a:cxnLst/>
              <a:rect l="l" t="t" r="r" b="b"/>
              <a:pathLst>
                <a:path w="35147" h="35147" extrusionOk="0">
                  <a:moveTo>
                    <a:pt x="32044" y="0"/>
                  </a:moveTo>
                  <a:cubicBezTo>
                    <a:pt x="33758" y="0"/>
                    <a:pt x="35148" y="1389"/>
                    <a:pt x="35148" y="3103"/>
                  </a:cubicBezTo>
                  <a:lnTo>
                    <a:pt x="35148" y="32044"/>
                  </a:lnTo>
                  <a:cubicBezTo>
                    <a:pt x="35148" y="33758"/>
                    <a:pt x="33758" y="35148"/>
                    <a:pt x="32044" y="35148"/>
                  </a:cubicBezTo>
                  <a:lnTo>
                    <a:pt x="3103" y="35148"/>
                  </a:lnTo>
                  <a:cubicBezTo>
                    <a:pt x="1389" y="35148"/>
                    <a:pt x="0" y="33758"/>
                    <a:pt x="0" y="32044"/>
                  </a:cubicBezTo>
                  <a:lnTo>
                    <a:pt x="0" y="3103"/>
                  </a:lnTo>
                  <a:cubicBezTo>
                    <a:pt x="0" y="1389"/>
                    <a:pt x="1389" y="0"/>
                    <a:pt x="3103" y="0"/>
                  </a:cubicBezTo>
                  <a:close/>
                </a:path>
              </a:pathLst>
            </a:custGeom>
            <a:solidFill>
              <a:srgbClr val="00B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Lato Light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Calibri"/>
              </a:endParaRPr>
            </a:p>
          </p:txBody>
        </p:sp>
        <p:grpSp>
          <p:nvGrpSpPr>
            <p:cNvPr id="6" name="Google Shape;989;g22cb0be31a4_6_52">
              <a:extLst>
                <a:ext uri="{FF2B5EF4-FFF2-40B4-BE49-F238E27FC236}">
                  <a16:creationId xmlns:a16="http://schemas.microsoft.com/office/drawing/2014/main" id="{8DAC5303-7ED7-33A6-0CD6-254E7A6A7961}"/>
                </a:ext>
              </a:extLst>
            </p:cNvPr>
            <p:cNvGrpSpPr/>
            <p:nvPr/>
          </p:nvGrpSpPr>
          <p:grpSpPr>
            <a:xfrm>
              <a:off x="11122821" y="6472473"/>
              <a:ext cx="799629" cy="166100"/>
              <a:chOff x="11122821" y="6472473"/>
              <a:chExt cx="799629" cy="166100"/>
            </a:xfrm>
          </p:grpSpPr>
          <p:sp>
            <p:nvSpPr>
              <p:cNvPr id="7" name="Google Shape;990;g22cb0be31a4_6_52">
                <a:extLst>
                  <a:ext uri="{FF2B5EF4-FFF2-40B4-BE49-F238E27FC236}">
                    <a16:creationId xmlns:a16="http://schemas.microsoft.com/office/drawing/2014/main" id="{16B50947-AA17-A454-AF26-87CBF998C35A}"/>
                  </a:ext>
                </a:extLst>
              </p:cNvPr>
              <p:cNvSpPr/>
              <p:nvPr/>
            </p:nvSpPr>
            <p:spPr>
              <a:xfrm>
                <a:off x="11774281" y="6519597"/>
                <a:ext cx="119385" cy="116611"/>
              </a:xfrm>
              <a:custGeom>
                <a:avLst/>
                <a:gdLst/>
                <a:ahLst/>
                <a:cxnLst/>
                <a:rect l="l" t="t" r="r" b="b"/>
                <a:pathLst>
                  <a:path w="119385" h="116611" extrusionOk="0">
                    <a:moveTo>
                      <a:pt x="82523" y="58306"/>
                    </a:moveTo>
                    <a:lnTo>
                      <a:pt x="118887" y="112265"/>
                    </a:lnTo>
                    <a:cubicBezTo>
                      <a:pt x="120199" y="114124"/>
                      <a:pt x="118764" y="116612"/>
                      <a:pt x="116385" y="116612"/>
                    </a:cubicBezTo>
                    <a:lnTo>
                      <a:pt x="85831" y="116612"/>
                    </a:lnTo>
                    <a:cubicBezTo>
                      <a:pt x="83794" y="116612"/>
                      <a:pt x="81880" y="115600"/>
                      <a:pt x="80718" y="113919"/>
                    </a:cubicBezTo>
                    <a:lnTo>
                      <a:pt x="59693" y="81751"/>
                    </a:lnTo>
                    <a:lnTo>
                      <a:pt x="38667" y="113919"/>
                    </a:lnTo>
                    <a:cubicBezTo>
                      <a:pt x="37505" y="115600"/>
                      <a:pt x="35605" y="116612"/>
                      <a:pt x="33554" y="116612"/>
                    </a:cubicBezTo>
                    <a:lnTo>
                      <a:pt x="3000" y="116612"/>
                    </a:lnTo>
                    <a:cubicBezTo>
                      <a:pt x="621" y="116612"/>
                      <a:pt x="-814" y="114138"/>
                      <a:pt x="498" y="112265"/>
                    </a:cubicBezTo>
                    <a:lnTo>
                      <a:pt x="36753" y="58306"/>
                    </a:lnTo>
                    <a:lnTo>
                      <a:pt x="498" y="4347"/>
                    </a:lnTo>
                    <a:cubicBezTo>
                      <a:pt x="-814" y="2488"/>
                      <a:pt x="621" y="0"/>
                      <a:pt x="3000" y="0"/>
                    </a:cubicBezTo>
                    <a:lnTo>
                      <a:pt x="34853" y="0"/>
                    </a:lnTo>
                    <a:cubicBezTo>
                      <a:pt x="36042" y="0"/>
                      <a:pt x="37149" y="547"/>
                      <a:pt x="37778" y="1449"/>
                    </a:cubicBezTo>
                    <a:lnTo>
                      <a:pt x="59679" y="34806"/>
                    </a:lnTo>
                    <a:lnTo>
                      <a:pt x="80240" y="1463"/>
                    </a:lnTo>
                    <a:cubicBezTo>
                      <a:pt x="80855" y="561"/>
                      <a:pt x="81976" y="0"/>
                      <a:pt x="83165" y="0"/>
                    </a:cubicBezTo>
                    <a:lnTo>
                      <a:pt x="115333" y="0"/>
                    </a:lnTo>
                    <a:cubicBezTo>
                      <a:pt x="117711" y="0"/>
                      <a:pt x="119133" y="2474"/>
                      <a:pt x="117834" y="4334"/>
                    </a:cubicBezTo>
                    <a:lnTo>
                      <a:pt x="82495" y="5830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8" name="Google Shape;991;g22cb0be31a4_6_52">
                <a:extLst>
                  <a:ext uri="{FF2B5EF4-FFF2-40B4-BE49-F238E27FC236}">
                    <a16:creationId xmlns:a16="http://schemas.microsoft.com/office/drawing/2014/main" id="{C16BBA94-DC9E-7F21-1A44-2C9FB85B8EA7}"/>
                  </a:ext>
                </a:extLst>
              </p:cNvPr>
              <p:cNvSpPr/>
              <p:nvPr/>
            </p:nvSpPr>
            <p:spPr>
              <a:xfrm>
                <a:off x="11284928" y="6472473"/>
                <a:ext cx="78825" cy="163762"/>
              </a:xfrm>
              <a:custGeom>
                <a:avLst/>
                <a:gdLst/>
                <a:ahLst/>
                <a:cxnLst/>
                <a:rect l="l" t="t" r="r" b="b"/>
                <a:pathLst>
                  <a:path w="78825" h="163762" extrusionOk="0">
                    <a:moveTo>
                      <a:pt x="75722" y="14"/>
                    </a:moveTo>
                    <a:lnTo>
                      <a:pt x="50377" y="14"/>
                    </a:lnTo>
                    <a:cubicBezTo>
                      <a:pt x="47916" y="14"/>
                      <a:pt x="45551" y="998"/>
                      <a:pt x="43801" y="2734"/>
                    </a:cubicBezTo>
                    <a:lnTo>
                      <a:pt x="19987" y="26549"/>
                    </a:lnTo>
                    <a:cubicBezTo>
                      <a:pt x="18237" y="28299"/>
                      <a:pt x="17266" y="30664"/>
                      <a:pt x="17266" y="33124"/>
                    </a:cubicBezTo>
                    <a:lnTo>
                      <a:pt x="17266" y="51867"/>
                    </a:lnTo>
                    <a:lnTo>
                      <a:pt x="3049" y="51867"/>
                    </a:lnTo>
                    <a:cubicBezTo>
                      <a:pt x="1367" y="51867"/>
                      <a:pt x="0" y="53234"/>
                      <a:pt x="0" y="54916"/>
                    </a:cubicBezTo>
                    <a:lnTo>
                      <a:pt x="0" y="75955"/>
                    </a:lnTo>
                    <a:cubicBezTo>
                      <a:pt x="0" y="77636"/>
                      <a:pt x="1367" y="79004"/>
                      <a:pt x="3049" y="79004"/>
                    </a:cubicBezTo>
                    <a:lnTo>
                      <a:pt x="17266" y="79004"/>
                    </a:lnTo>
                    <a:lnTo>
                      <a:pt x="17266" y="160659"/>
                    </a:lnTo>
                    <a:cubicBezTo>
                      <a:pt x="17266" y="162368"/>
                      <a:pt x="18661" y="163763"/>
                      <a:pt x="20369" y="163763"/>
                    </a:cubicBezTo>
                    <a:lnTo>
                      <a:pt x="47109" y="163763"/>
                    </a:lnTo>
                    <a:cubicBezTo>
                      <a:pt x="48818" y="163763"/>
                      <a:pt x="50213" y="162368"/>
                      <a:pt x="50213" y="160659"/>
                    </a:cubicBezTo>
                    <a:lnTo>
                      <a:pt x="50213" y="78990"/>
                    </a:lnTo>
                    <a:lnTo>
                      <a:pt x="71443" y="78990"/>
                    </a:lnTo>
                    <a:cubicBezTo>
                      <a:pt x="73125" y="78990"/>
                      <a:pt x="74492" y="77623"/>
                      <a:pt x="74492" y="75941"/>
                    </a:cubicBezTo>
                    <a:lnTo>
                      <a:pt x="74492" y="54902"/>
                    </a:lnTo>
                    <a:cubicBezTo>
                      <a:pt x="74492" y="53220"/>
                      <a:pt x="73125" y="51853"/>
                      <a:pt x="71443" y="51853"/>
                    </a:cubicBezTo>
                    <a:lnTo>
                      <a:pt x="50213" y="51853"/>
                    </a:lnTo>
                    <a:lnTo>
                      <a:pt x="50213" y="38565"/>
                    </a:lnTo>
                    <a:cubicBezTo>
                      <a:pt x="50213" y="33425"/>
                      <a:pt x="54382" y="29269"/>
                      <a:pt x="59509" y="29269"/>
                    </a:cubicBezTo>
                    <a:lnTo>
                      <a:pt x="75722" y="29269"/>
                    </a:lnTo>
                    <a:cubicBezTo>
                      <a:pt x="77431" y="29269"/>
                      <a:pt x="78826" y="27875"/>
                      <a:pt x="78826" y="26166"/>
                    </a:cubicBezTo>
                    <a:lnTo>
                      <a:pt x="78826" y="3103"/>
                    </a:lnTo>
                    <a:cubicBezTo>
                      <a:pt x="78826" y="1394"/>
                      <a:pt x="77431" y="0"/>
                      <a:pt x="75722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9" name="Google Shape;992;g22cb0be31a4_6_52">
                <a:extLst>
                  <a:ext uri="{FF2B5EF4-FFF2-40B4-BE49-F238E27FC236}">
                    <a16:creationId xmlns:a16="http://schemas.microsoft.com/office/drawing/2014/main" id="{8941B8E6-F38C-9DC2-10D2-C236132A20A3}"/>
                  </a:ext>
                </a:extLst>
              </p:cNvPr>
              <p:cNvSpPr/>
              <p:nvPr/>
            </p:nvSpPr>
            <p:spPr>
              <a:xfrm>
                <a:off x="11896791" y="6612367"/>
                <a:ext cx="25659" cy="25660"/>
              </a:xfrm>
              <a:custGeom>
                <a:avLst/>
                <a:gdLst/>
                <a:ahLst/>
                <a:cxnLst/>
                <a:rect l="l" t="t" r="r" b="b"/>
                <a:pathLst>
                  <a:path w="25659" h="25660" extrusionOk="0">
                    <a:moveTo>
                      <a:pt x="25660" y="12810"/>
                    </a:moveTo>
                    <a:cubicBezTo>
                      <a:pt x="25660" y="19946"/>
                      <a:pt x="19946" y="25660"/>
                      <a:pt x="12782" y="25660"/>
                    </a:cubicBezTo>
                    <a:cubicBezTo>
                      <a:pt x="5619" y="25660"/>
                      <a:pt x="0" y="19891"/>
                      <a:pt x="0" y="12810"/>
                    </a:cubicBezTo>
                    <a:cubicBezTo>
                      <a:pt x="0" y="5728"/>
                      <a:pt x="5714" y="0"/>
                      <a:pt x="12823" y="0"/>
                    </a:cubicBezTo>
                    <a:cubicBezTo>
                      <a:pt x="19932" y="0"/>
                      <a:pt x="25646" y="5687"/>
                      <a:pt x="25646" y="12810"/>
                    </a:cubicBezTo>
                    <a:close/>
                    <a:moveTo>
                      <a:pt x="23691" y="12864"/>
                    </a:moveTo>
                    <a:cubicBezTo>
                      <a:pt x="23691" y="6712"/>
                      <a:pt x="18838" y="1832"/>
                      <a:pt x="12837" y="1832"/>
                    </a:cubicBezTo>
                    <a:cubicBezTo>
                      <a:pt x="6835" y="1832"/>
                      <a:pt x="1982" y="6658"/>
                      <a:pt x="1982" y="12851"/>
                    </a:cubicBezTo>
                    <a:cubicBezTo>
                      <a:pt x="1982" y="19043"/>
                      <a:pt x="6890" y="23856"/>
                      <a:pt x="12782" y="23856"/>
                    </a:cubicBezTo>
                    <a:cubicBezTo>
                      <a:pt x="18674" y="23856"/>
                      <a:pt x="23691" y="19002"/>
                      <a:pt x="23691" y="12864"/>
                    </a:cubicBezTo>
                    <a:close/>
                    <a:moveTo>
                      <a:pt x="15585" y="14888"/>
                    </a:moveTo>
                    <a:lnTo>
                      <a:pt x="18811" y="19905"/>
                    </a:lnTo>
                    <a:lnTo>
                      <a:pt x="16678" y="19905"/>
                    </a:lnTo>
                    <a:lnTo>
                      <a:pt x="13097" y="14218"/>
                    </a:lnTo>
                    <a:lnTo>
                      <a:pt x="9829" y="14218"/>
                    </a:lnTo>
                    <a:lnTo>
                      <a:pt x="9829" y="19905"/>
                    </a:lnTo>
                    <a:lnTo>
                      <a:pt x="8038" y="19905"/>
                    </a:lnTo>
                    <a:lnTo>
                      <a:pt x="8038" y="5523"/>
                    </a:lnTo>
                    <a:lnTo>
                      <a:pt x="13616" y="5523"/>
                    </a:lnTo>
                    <a:cubicBezTo>
                      <a:pt x="16364" y="5523"/>
                      <a:pt x="18155" y="6999"/>
                      <a:pt x="18155" y="9761"/>
                    </a:cubicBezTo>
                    <a:cubicBezTo>
                      <a:pt x="18155" y="11989"/>
                      <a:pt x="16801" y="13370"/>
                      <a:pt x="14887" y="13917"/>
                    </a:cubicBezTo>
                    <a:cubicBezTo>
                      <a:pt x="15147" y="14204"/>
                      <a:pt x="15407" y="14559"/>
                      <a:pt x="15585" y="14901"/>
                    </a:cubicBezTo>
                    <a:close/>
                    <a:moveTo>
                      <a:pt x="13015" y="12522"/>
                    </a:moveTo>
                    <a:cubicBezTo>
                      <a:pt x="15038" y="12522"/>
                      <a:pt x="16282" y="11565"/>
                      <a:pt x="16282" y="9870"/>
                    </a:cubicBezTo>
                    <a:cubicBezTo>
                      <a:pt x="16282" y="8175"/>
                      <a:pt x="15421" y="7191"/>
                      <a:pt x="13657" y="7191"/>
                    </a:cubicBezTo>
                    <a:lnTo>
                      <a:pt x="9816" y="7191"/>
                    </a:lnTo>
                    <a:lnTo>
                      <a:pt x="9816" y="12509"/>
                    </a:lnTo>
                    <a:lnTo>
                      <a:pt x="13015" y="12509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0" name="Google Shape;993;g22cb0be31a4_6_52">
                <a:extLst>
                  <a:ext uri="{FF2B5EF4-FFF2-40B4-BE49-F238E27FC236}">
                    <a16:creationId xmlns:a16="http://schemas.microsoft.com/office/drawing/2014/main" id="{83307B8F-5A19-3191-B974-315600FC968D}"/>
                  </a:ext>
                </a:extLst>
              </p:cNvPr>
              <p:cNvSpPr/>
              <p:nvPr/>
            </p:nvSpPr>
            <p:spPr>
              <a:xfrm>
                <a:off x="11620956" y="6472487"/>
                <a:ext cx="32932" cy="163721"/>
              </a:xfrm>
              <a:custGeom>
                <a:avLst/>
                <a:gdLst/>
                <a:ahLst/>
                <a:cxnLst/>
                <a:rect l="l" t="t" r="r" b="b"/>
                <a:pathLst>
                  <a:path w="32932" h="163721" extrusionOk="0">
                    <a:moveTo>
                      <a:pt x="29830" y="0"/>
                    </a:moveTo>
                    <a:cubicBezTo>
                      <a:pt x="31544" y="0"/>
                      <a:pt x="32933" y="1389"/>
                      <a:pt x="32933" y="3103"/>
                    </a:cubicBezTo>
                    <a:lnTo>
                      <a:pt x="32933" y="160618"/>
                    </a:lnTo>
                    <a:cubicBezTo>
                      <a:pt x="32933" y="162332"/>
                      <a:pt x="31543" y="163722"/>
                      <a:pt x="29830" y="163722"/>
                    </a:cubicBezTo>
                    <a:lnTo>
                      <a:pt x="3103" y="163722"/>
                    </a:lnTo>
                    <a:cubicBezTo>
                      <a:pt x="1389" y="163722"/>
                      <a:pt x="0" y="162332"/>
                      <a:pt x="0" y="160618"/>
                    </a:cubicBezTo>
                    <a:lnTo>
                      <a:pt x="0" y="3103"/>
                    </a:lnTo>
                    <a:cubicBezTo>
                      <a:pt x="0" y="1389"/>
                      <a:pt x="1389" y="0"/>
                      <a:pt x="3103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1" name="Google Shape;994;g22cb0be31a4_6_52">
                <a:extLst>
                  <a:ext uri="{FF2B5EF4-FFF2-40B4-BE49-F238E27FC236}">
                    <a16:creationId xmlns:a16="http://schemas.microsoft.com/office/drawing/2014/main" id="{130569FA-5D7A-F95B-F65D-704E55D748A0}"/>
                  </a:ext>
                </a:extLst>
              </p:cNvPr>
              <p:cNvSpPr/>
              <p:nvPr/>
            </p:nvSpPr>
            <p:spPr>
              <a:xfrm>
                <a:off x="11488486" y="6472473"/>
                <a:ext cx="123638" cy="166086"/>
              </a:xfrm>
              <a:custGeom>
                <a:avLst/>
                <a:gdLst/>
                <a:ahLst/>
                <a:cxnLst/>
                <a:rect l="l" t="t" r="r" b="b"/>
                <a:pathLst>
                  <a:path w="123638" h="166086" extrusionOk="0">
                    <a:moveTo>
                      <a:pt x="68737" y="44663"/>
                    </a:moveTo>
                    <a:cubicBezTo>
                      <a:pt x="53535" y="44663"/>
                      <a:pt x="40889" y="51252"/>
                      <a:pt x="32947" y="62052"/>
                    </a:cubicBezTo>
                    <a:lnTo>
                      <a:pt x="32947" y="3103"/>
                    </a:lnTo>
                    <a:cubicBezTo>
                      <a:pt x="32947" y="1394"/>
                      <a:pt x="31552" y="0"/>
                      <a:pt x="29843" y="0"/>
                    </a:cubicBezTo>
                    <a:lnTo>
                      <a:pt x="3103" y="0"/>
                    </a:lnTo>
                    <a:cubicBezTo>
                      <a:pt x="1394" y="0"/>
                      <a:pt x="0" y="1394"/>
                      <a:pt x="0" y="3103"/>
                    </a:cubicBezTo>
                    <a:lnTo>
                      <a:pt x="0" y="160632"/>
                    </a:lnTo>
                    <a:cubicBezTo>
                      <a:pt x="0" y="162341"/>
                      <a:pt x="1394" y="163735"/>
                      <a:pt x="3103" y="163735"/>
                    </a:cubicBezTo>
                    <a:lnTo>
                      <a:pt x="29843" y="163735"/>
                    </a:lnTo>
                    <a:cubicBezTo>
                      <a:pt x="31552" y="163735"/>
                      <a:pt x="32947" y="162341"/>
                      <a:pt x="32947" y="160632"/>
                    </a:cubicBezTo>
                    <a:lnTo>
                      <a:pt x="32947" y="149025"/>
                    </a:lnTo>
                    <a:cubicBezTo>
                      <a:pt x="40903" y="159839"/>
                      <a:pt x="53535" y="166087"/>
                      <a:pt x="68983" y="166087"/>
                    </a:cubicBezTo>
                    <a:cubicBezTo>
                      <a:pt x="101505" y="166087"/>
                      <a:pt x="123638" y="139852"/>
                      <a:pt x="123638" y="105539"/>
                    </a:cubicBezTo>
                    <a:cubicBezTo>
                      <a:pt x="123638" y="71225"/>
                      <a:pt x="101505" y="44663"/>
                      <a:pt x="68750" y="44663"/>
                    </a:cubicBezTo>
                    <a:close/>
                    <a:moveTo>
                      <a:pt x="62188" y="135163"/>
                    </a:moveTo>
                    <a:cubicBezTo>
                      <a:pt x="45346" y="135163"/>
                      <a:pt x="32947" y="121533"/>
                      <a:pt x="32947" y="105552"/>
                    </a:cubicBezTo>
                    <a:cubicBezTo>
                      <a:pt x="32947" y="89571"/>
                      <a:pt x="45346" y="76174"/>
                      <a:pt x="62188" y="76174"/>
                    </a:cubicBezTo>
                    <a:cubicBezTo>
                      <a:pt x="79031" y="76174"/>
                      <a:pt x="90965" y="89571"/>
                      <a:pt x="90965" y="105552"/>
                    </a:cubicBezTo>
                    <a:cubicBezTo>
                      <a:pt x="90965" y="121533"/>
                      <a:pt x="78798" y="135163"/>
                      <a:pt x="62188" y="13516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2" name="Google Shape;995;g22cb0be31a4_6_52">
                <a:extLst>
                  <a:ext uri="{FF2B5EF4-FFF2-40B4-BE49-F238E27FC236}">
                    <a16:creationId xmlns:a16="http://schemas.microsoft.com/office/drawing/2014/main" id="{6D393623-2CB7-C55C-8D1B-FC6314835DAC}"/>
                  </a:ext>
                </a:extLst>
              </p:cNvPr>
              <p:cNvSpPr/>
              <p:nvPr/>
            </p:nvSpPr>
            <p:spPr>
              <a:xfrm>
                <a:off x="11359421" y="6517136"/>
                <a:ext cx="120412" cy="121437"/>
              </a:xfrm>
              <a:custGeom>
                <a:avLst/>
                <a:gdLst/>
                <a:ahLst/>
                <a:cxnLst/>
                <a:rect l="l" t="t" r="r" b="b"/>
                <a:pathLst>
                  <a:path w="120412" h="121437" extrusionOk="0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3" name="Google Shape;996;g22cb0be31a4_6_52">
                <a:extLst>
                  <a:ext uri="{FF2B5EF4-FFF2-40B4-BE49-F238E27FC236}">
                    <a16:creationId xmlns:a16="http://schemas.microsoft.com/office/drawing/2014/main" id="{094FDF1B-5EB4-048A-72BC-5AD461F6007A}"/>
                  </a:ext>
                </a:extLst>
              </p:cNvPr>
              <p:cNvSpPr/>
              <p:nvPr/>
            </p:nvSpPr>
            <p:spPr>
              <a:xfrm>
                <a:off x="11662542" y="6517136"/>
                <a:ext cx="120412" cy="121437"/>
              </a:xfrm>
              <a:custGeom>
                <a:avLst/>
                <a:gdLst/>
                <a:ahLst/>
                <a:cxnLst/>
                <a:rect l="l" t="t" r="r" b="b"/>
                <a:pathLst>
                  <a:path w="120412" h="121437" extrusionOk="0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4" name="Google Shape;997;g22cb0be31a4_6_52">
                <a:extLst>
                  <a:ext uri="{FF2B5EF4-FFF2-40B4-BE49-F238E27FC236}">
                    <a16:creationId xmlns:a16="http://schemas.microsoft.com/office/drawing/2014/main" id="{C63C090B-3E6D-854E-8428-1FF6A03DBA1B}"/>
                  </a:ext>
                </a:extLst>
              </p:cNvPr>
              <p:cNvSpPr/>
              <p:nvPr/>
            </p:nvSpPr>
            <p:spPr>
              <a:xfrm>
                <a:off x="11122821" y="6519528"/>
                <a:ext cx="32932" cy="116680"/>
              </a:xfrm>
              <a:custGeom>
                <a:avLst/>
                <a:gdLst/>
                <a:ahLst/>
                <a:cxnLst/>
                <a:rect l="l" t="t" r="r" b="b"/>
                <a:pathLst>
                  <a:path w="32932" h="116680" extrusionOk="0">
                    <a:moveTo>
                      <a:pt x="29843" y="116680"/>
                    </a:moveTo>
                    <a:lnTo>
                      <a:pt x="3103" y="116680"/>
                    </a:lnTo>
                    <a:cubicBezTo>
                      <a:pt x="1394" y="116680"/>
                      <a:pt x="0" y="115286"/>
                      <a:pt x="0" y="113577"/>
                    </a:cubicBezTo>
                    <a:lnTo>
                      <a:pt x="0" y="30554"/>
                    </a:lnTo>
                    <a:cubicBezTo>
                      <a:pt x="0" y="28886"/>
                      <a:pt x="670" y="27287"/>
                      <a:pt x="1859" y="26125"/>
                    </a:cubicBezTo>
                    <a:lnTo>
                      <a:pt x="27670" y="888"/>
                    </a:lnTo>
                    <a:cubicBezTo>
                      <a:pt x="29638" y="-1026"/>
                      <a:pt x="32933" y="355"/>
                      <a:pt x="32933" y="3103"/>
                    </a:cubicBezTo>
                    <a:lnTo>
                      <a:pt x="32933" y="113577"/>
                    </a:lnTo>
                    <a:cubicBezTo>
                      <a:pt x="32933" y="115286"/>
                      <a:pt x="31538" y="116680"/>
                      <a:pt x="29830" y="11668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5" name="Google Shape;998;g22cb0be31a4_6_52">
                <a:extLst>
                  <a:ext uri="{FF2B5EF4-FFF2-40B4-BE49-F238E27FC236}">
                    <a16:creationId xmlns:a16="http://schemas.microsoft.com/office/drawing/2014/main" id="{FE6CF04B-B9BD-557A-4F3B-96E527E19D9A}"/>
                  </a:ext>
                </a:extLst>
              </p:cNvPr>
              <p:cNvSpPr/>
              <p:nvPr/>
            </p:nvSpPr>
            <p:spPr>
              <a:xfrm>
                <a:off x="11173074" y="6517105"/>
                <a:ext cx="107493" cy="119116"/>
              </a:xfrm>
              <a:custGeom>
                <a:avLst/>
                <a:gdLst/>
                <a:ahLst/>
                <a:cxnLst/>
                <a:rect l="l" t="t" r="r" b="b"/>
                <a:pathLst>
                  <a:path w="107493" h="119116" extrusionOk="0">
                    <a:moveTo>
                      <a:pt x="107480" y="41877"/>
                    </a:moveTo>
                    <a:cubicBezTo>
                      <a:pt x="107480" y="19252"/>
                      <a:pt x="88792" y="277"/>
                      <a:pt x="65237" y="3"/>
                    </a:cubicBezTo>
                    <a:cubicBezTo>
                      <a:pt x="49912" y="-175"/>
                      <a:pt x="39563" y="7331"/>
                      <a:pt x="32947" y="17474"/>
                    </a:cubicBezTo>
                    <a:lnTo>
                      <a:pt x="32947" y="5581"/>
                    </a:lnTo>
                    <a:cubicBezTo>
                      <a:pt x="32947" y="3872"/>
                      <a:pt x="31552" y="2478"/>
                      <a:pt x="29843" y="2478"/>
                    </a:cubicBezTo>
                    <a:lnTo>
                      <a:pt x="3103" y="2478"/>
                    </a:lnTo>
                    <a:cubicBezTo>
                      <a:pt x="1394" y="2478"/>
                      <a:pt x="0" y="3872"/>
                      <a:pt x="0" y="5581"/>
                    </a:cubicBezTo>
                    <a:lnTo>
                      <a:pt x="0" y="116000"/>
                    </a:lnTo>
                    <a:cubicBezTo>
                      <a:pt x="0" y="117709"/>
                      <a:pt x="1394" y="119103"/>
                      <a:pt x="3103" y="119103"/>
                    </a:cubicBezTo>
                    <a:lnTo>
                      <a:pt x="29843" y="119103"/>
                    </a:lnTo>
                    <a:cubicBezTo>
                      <a:pt x="31552" y="119103"/>
                      <a:pt x="32947" y="117709"/>
                      <a:pt x="32947" y="116000"/>
                    </a:cubicBezTo>
                    <a:lnTo>
                      <a:pt x="32947" y="51788"/>
                    </a:lnTo>
                    <a:cubicBezTo>
                      <a:pt x="33685" y="39430"/>
                      <a:pt x="41518" y="31747"/>
                      <a:pt x="53740" y="31747"/>
                    </a:cubicBezTo>
                    <a:cubicBezTo>
                      <a:pt x="65961" y="31747"/>
                      <a:pt x="74547" y="40373"/>
                      <a:pt x="74547" y="53210"/>
                    </a:cubicBezTo>
                    <a:lnTo>
                      <a:pt x="74547" y="116014"/>
                    </a:lnTo>
                    <a:cubicBezTo>
                      <a:pt x="74547" y="117722"/>
                      <a:pt x="75941" y="119117"/>
                      <a:pt x="77650" y="119117"/>
                    </a:cubicBezTo>
                    <a:lnTo>
                      <a:pt x="104390" y="119117"/>
                    </a:lnTo>
                    <a:cubicBezTo>
                      <a:pt x="106099" y="119117"/>
                      <a:pt x="107493" y="117722"/>
                      <a:pt x="107493" y="116014"/>
                    </a:cubicBezTo>
                    <a:lnTo>
                      <a:pt x="107493" y="4189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31343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5DCE0C74-04DA-52DD-893F-EB104916719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" y="0"/>
            <a:ext cx="12191995" cy="6857998"/>
          </a:xfrm>
          <a:prstGeom prst="rect">
            <a:avLst/>
          </a:prstGeom>
        </p:spPr>
      </p:pic>
      <p:grpSp>
        <p:nvGrpSpPr>
          <p:cNvPr id="4" name="Google Shape;987;g22cb0be31a4_6_52">
            <a:extLst>
              <a:ext uri="{FF2B5EF4-FFF2-40B4-BE49-F238E27FC236}">
                <a16:creationId xmlns:a16="http://schemas.microsoft.com/office/drawing/2014/main" id="{E415C789-E8BE-E82D-E7E9-800F10F88110}"/>
              </a:ext>
            </a:extLst>
          </p:cNvPr>
          <p:cNvGrpSpPr/>
          <p:nvPr userDrawn="1"/>
        </p:nvGrpSpPr>
        <p:grpSpPr>
          <a:xfrm>
            <a:off x="11122821" y="6466206"/>
            <a:ext cx="799629" cy="172367"/>
            <a:chOff x="11122821" y="6466206"/>
            <a:chExt cx="799629" cy="172367"/>
          </a:xfrm>
        </p:grpSpPr>
        <p:sp>
          <p:nvSpPr>
            <p:cNvPr id="5" name="Google Shape;988;g22cb0be31a4_6_52">
              <a:extLst>
                <a:ext uri="{FF2B5EF4-FFF2-40B4-BE49-F238E27FC236}">
                  <a16:creationId xmlns:a16="http://schemas.microsoft.com/office/drawing/2014/main" id="{8F6BD94A-0FC8-22B5-FF8F-C447FCA715F1}"/>
                </a:ext>
              </a:extLst>
            </p:cNvPr>
            <p:cNvSpPr/>
            <p:nvPr/>
          </p:nvSpPr>
          <p:spPr>
            <a:xfrm rot="-2700000">
              <a:off x="11134957" y="6473485"/>
              <a:ext cx="35147" cy="35147"/>
            </a:xfrm>
            <a:custGeom>
              <a:avLst/>
              <a:gdLst/>
              <a:ahLst/>
              <a:cxnLst/>
              <a:rect l="l" t="t" r="r" b="b"/>
              <a:pathLst>
                <a:path w="35147" h="35147" extrusionOk="0">
                  <a:moveTo>
                    <a:pt x="32044" y="0"/>
                  </a:moveTo>
                  <a:cubicBezTo>
                    <a:pt x="33758" y="0"/>
                    <a:pt x="35148" y="1389"/>
                    <a:pt x="35148" y="3103"/>
                  </a:cubicBezTo>
                  <a:lnTo>
                    <a:pt x="35148" y="32044"/>
                  </a:lnTo>
                  <a:cubicBezTo>
                    <a:pt x="35148" y="33758"/>
                    <a:pt x="33758" y="35148"/>
                    <a:pt x="32044" y="35148"/>
                  </a:cubicBezTo>
                  <a:lnTo>
                    <a:pt x="3103" y="35148"/>
                  </a:lnTo>
                  <a:cubicBezTo>
                    <a:pt x="1389" y="35148"/>
                    <a:pt x="0" y="33758"/>
                    <a:pt x="0" y="32044"/>
                  </a:cubicBezTo>
                  <a:lnTo>
                    <a:pt x="0" y="3103"/>
                  </a:lnTo>
                  <a:cubicBezTo>
                    <a:pt x="0" y="1389"/>
                    <a:pt x="1389" y="0"/>
                    <a:pt x="3103" y="0"/>
                  </a:cubicBezTo>
                  <a:close/>
                </a:path>
              </a:pathLst>
            </a:custGeom>
            <a:solidFill>
              <a:srgbClr val="00B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Lato Light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Calibri"/>
              </a:endParaRPr>
            </a:p>
          </p:txBody>
        </p:sp>
        <p:grpSp>
          <p:nvGrpSpPr>
            <p:cNvPr id="6" name="Google Shape;989;g22cb0be31a4_6_52">
              <a:extLst>
                <a:ext uri="{FF2B5EF4-FFF2-40B4-BE49-F238E27FC236}">
                  <a16:creationId xmlns:a16="http://schemas.microsoft.com/office/drawing/2014/main" id="{7C42CF00-D54F-73F3-1D65-F2F3A469DF63}"/>
                </a:ext>
              </a:extLst>
            </p:cNvPr>
            <p:cNvGrpSpPr/>
            <p:nvPr/>
          </p:nvGrpSpPr>
          <p:grpSpPr>
            <a:xfrm>
              <a:off x="11122821" y="6472473"/>
              <a:ext cx="799629" cy="166100"/>
              <a:chOff x="11122821" y="6472473"/>
              <a:chExt cx="799629" cy="166100"/>
            </a:xfrm>
          </p:grpSpPr>
          <p:sp>
            <p:nvSpPr>
              <p:cNvPr id="7" name="Google Shape;990;g22cb0be31a4_6_52">
                <a:extLst>
                  <a:ext uri="{FF2B5EF4-FFF2-40B4-BE49-F238E27FC236}">
                    <a16:creationId xmlns:a16="http://schemas.microsoft.com/office/drawing/2014/main" id="{F629B3B8-05AB-FEC7-6300-E2C2073C8F6B}"/>
                  </a:ext>
                </a:extLst>
              </p:cNvPr>
              <p:cNvSpPr/>
              <p:nvPr/>
            </p:nvSpPr>
            <p:spPr>
              <a:xfrm>
                <a:off x="11774281" y="6519597"/>
                <a:ext cx="119385" cy="116611"/>
              </a:xfrm>
              <a:custGeom>
                <a:avLst/>
                <a:gdLst/>
                <a:ahLst/>
                <a:cxnLst/>
                <a:rect l="l" t="t" r="r" b="b"/>
                <a:pathLst>
                  <a:path w="119385" h="116611" extrusionOk="0">
                    <a:moveTo>
                      <a:pt x="82523" y="58306"/>
                    </a:moveTo>
                    <a:lnTo>
                      <a:pt x="118887" y="112265"/>
                    </a:lnTo>
                    <a:cubicBezTo>
                      <a:pt x="120199" y="114124"/>
                      <a:pt x="118764" y="116612"/>
                      <a:pt x="116385" y="116612"/>
                    </a:cubicBezTo>
                    <a:lnTo>
                      <a:pt x="85831" y="116612"/>
                    </a:lnTo>
                    <a:cubicBezTo>
                      <a:pt x="83794" y="116612"/>
                      <a:pt x="81880" y="115600"/>
                      <a:pt x="80718" y="113919"/>
                    </a:cubicBezTo>
                    <a:lnTo>
                      <a:pt x="59693" y="81751"/>
                    </a:lnTo>
                    <a:lnTo>
                      <a:pt x="38667" y="113919"/>
                    </a:lnTo>
                    <a:cubicBezTo>
                      <a:pt x="37505" y="115600"/>
                      <a:pt x="35605" y="116612"/>
                      <a:pt x="33554" y="116612"/>
                    </a:cubicBezTo>
                    <a:lnTo>
                      <a:pt x="3000" y="116612"/>
                    </a:lnTo>
                    <a:cubicBezTo>
                      <a:pt x="621" y="116612"/>
                      <a:pt x="-814" y="114138"/>
                      <a:pt x="498" y="112265"/>
                    </a:cubicBezTo>
                    <a:lnTo>
                      <a:pt x="36753" y="58306"/>
                    </a:lnTo>
                    <a:lnTo>
                      <a:pt x="498" y="4347"/>
                    </a:lnTo>
                    <a:cubicBezTo>
                      <a:pt x="-814" y="2488"/>
                      <a:pt x="621" y="0"/>
                      <a:pt x="3000" y="0"/>
                    </a:cubicBezTo>
                    <a:lnTo>
                      <a:pt x="34853" y="0"/>
                    </a:lnTo>
                    <a:cubicBezTo>
                      <a:pt x="36042" y="0"/>
                      <a:pt x="37149" y="547"/>
                      <a:pt x="37778" y="1449"/>
                    </a:cubicBezTo>
                    <a:lnTo>
                      <a:pt x="59679" y="34806"/>
                    </a:lnTo>
                    <a:lnTo>
                      <a:pt x="80240" y="1463"/>
                    </a:lnTo>
                    <a:cubicBezTo>
                      <a:pt x="80855" y="561"/>
                      <a:pt x="81976" y="0"/>
                      <a:pt x="83165" y="0"/>
                    </a:cubicBezTo>
                    <a:lnTo>
                      <a:pt x="115333" y="0"/>
                    </a:lnTo>
                    <a:cubicBezTo>
                      <a:pt x="117711" y="0"/>
                      <a:pt x="119133" y="2474"/>
                      <a:pt x="117834" y="4334"/>
                    </a:cubicBezTo>
                    <a:lnTo>
                      <a:pt x="82495" y="5830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8" name="Google Shape;991;g22cb0be31a4_6_52">
                <a:extLst>
                  <a:ext uri="{FF2B5EF4-FFF2-40B4-BE49-F238E27FC236}">
                    <a16:creationId xmlns:a16="http://schemas.microsoft.com/office/drawing/2014/main" id="{737E0B99-3BCC-AF2D-F64C-A10A55CAB858}"/>
                  </a:ext>
                </a:extLst>
              </p:cNvPr>
              <p:cNvSpPr/>
              <p:nvPr/>
            </p:nvSpPr>
            <p:spPr>
              <a:xfrm>
                <a:off x="11284928" y="6472473"/>
                <a:ext cx="78825" cy="163762"/>
              </a:xfrm>
              <a:custGeom>
                <a:avLst/>
                <a:gdLst/>
                <a:ahLst/>
                <a:cxnLst/>
                <a:rect l="l" t="t" r="r" b="b"/>
                <a:pathLst>
                  <a:path w="78825" h="163762" extrusionOk="0">
                    <a:moveTo>
                      <a:pt x="75722" y="14"/>
                    </a:moveTo>
                    <a:lnTo>
                      <a:pt x="50377" y="14"/>
                    </a:lnTo>
                    <a:cubicBezTo>
                      <a:pt x="47916" y="14"/>
                      <a:pt x="45551" y="998"/>
                      <a:pt x="43801" y="2734"/>
                    </a:cubicBezTo>
                    <a:lnTo>
                      <a:pt x="19987" y="26549"/>
                    </a:lnTo>
                    <a:cubicBezTo>
                      <a:pt x="18237" y="28299"/>
                      <a:pt x="17266" y="30664"/>
                      <a:pt x="17266" y="33124"/>
                    </a:cubicBezTo>
                    <a:lnTo>
                      <a:pt x="17266" y="51867"/>
                    </a:lnTo>
                    <a:lnTo>
                      <a:pt x="3049" y="51867"/>
                    </a:lnTo>
                    <a:cubicBezTo>
                      <a:pt x="1367" y="51867"/>
                      <a:pt x="0" y="53234"/>
                      <a:pt x="0" y="54916"/>
                    </a:cubicBezTo>
                    <a:lnTo>
                      <a:pt x="0" y="75955"/>
                    </a:lnTo>
                    <a:cubicBezTo>
                      <a:pt x="0" y="77636"/>
                      <a:pt x="1367" y="79004"/>
                      <a:pt x="3049" y="79004"/>
                    </a:cubicBezTo>
                    <a:lnTo>
                      <a:pt x="17266" y="79004"/>
                    </a:lnTo>
                    <a:lnTo>
                      <a:pt x="17266" y="160659"/>
                    </a:lnTo>
                    <a:cubicBezTo>
                      <a:pt x="17266" y="162368"/>
                      <a:pt x="18661" y="163763"/>
                      <a:pt x="20369" y="163763"/>
                    </a:cubicBezTo>
                    <a:lnTo>
                      <a:pt x="47109" y="163763"/>
                    </a:lnTo>
                    <a:cubicBezTo>
                      <a:pt x="48818" y="163763"/>
                      <a:pt x="50213" y="162368"/>
                      <a:pt x="50213" y="160659"/>
                    </a:cubicBezTo>
                    <a:lnTo>
                      <a:pt x="50213" y="78990"/>
                    </a:lnTo>
                    <a:lnTo>
                      <a:pt x="71443" y="78990"/>
                    </a:lnTo>
                    <a:cubicBezTo>
                      <a:pt x="73125" y="78990"/>
                      <a:pt x="74492" y="77623"/>
                      <a:pt x="74492" y="75941"/>
                    </a:cubicBezTo>
                    <a:lnTo>
                      <a:pt x="74492" y="54902"/>
                    </a:lnTo>
                    <a:cubicBezTo>
                      <a:pt x="74492" y="53220"/>
                      <a:pt x="73125" y="51853"/>
                      <a:pt x="71443" y="51853"/>
                    </a:cubicBezTo>
                    <a:lnTo>
                      <a:pt x="50213" y="51853"/>
                    </a:lnTo>
                    <a:lnTo>
                      <a:pt x="50213" y="38565"/>
                    </a:lnTo>
                    <a:cubicBezTo>
                      <a:pt x="50213" y="33425"/>
                      <a:pt x="54382" y="29269"/>
                      <a:pt x="59509" y="29269"/>
                    </a:cubicBezTo>
                    <a:lnTo>
                      <a:pt x="75722" y="29269"/>
                    </a:lnTo>
                    <a:cubicBezTo>
                      <a:pt x="77431" y="29269"/>
                      <a:pt x="78826" y="27875"/>
                      <a:pt x="78826" y="26166"/>
                    </a:cubicBezTo>
                    <a:lnTo>
                      <a:pt x="78826" y="3103"/>
                    </a:lnTo>
                    <a:cubicBezTo>
                      <a:pt x="78826" y="1394"/>
                      <a:pt x="77431" y="0"/>
                      <a:pt x="75722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9" name="Google Shape;992;g22cb0be31a4_6_52">
                <a:extLst>
                  <a:ext uri="{FF2B5EF4-FFF2-40B4-BE49-F238E27FC236}">
                    <a16:creationId xmlns:a16="http://schemas.microsoft.com/office/drawing/2014/main" id="{D642E13A-B7C8-034C-F0A0-59F9687B6EEC}"/>
                  </a:ext>
                </a:extLst>
              </p:cNvPr>
              <p:cNvSpPr/>
              <p:nvPr/>
            </p:nvSpPr>
            <p:spPr>
              <a:xfrm>
                <a:off x="11896791" y="6612367"/>
                <a:ext cx="25659" cy="25660"/>
              </a:xfrm>
              <a:custGeom>
                <a:avLst/>
                <a:gdLst/>
                <a:ahLst/>
                <a:cxnLst/>
                <a:rect l="l" t="t" r="r" b="b"/>
                <a:pathLst>
                  <a:path w="25659" h="25660" extrusionOk="0">
                    <a:moveTo>
                      <a:pt x="25660" y="12810"/>
                    </a:moveTo>
                    <a:cubicBezTo>
                      <a:pt x="25660" y="19946"/>
                      <a:pt x="19946" y="25660"/>
                      <a:pt x="12782" y="25660"/>
                    </a:cubicBezTo>
                    <a:cubicBezTo>
                      <a:pt x="5619" y="25660"/>
                      <a:pt x="0" y="19891"/>
                      <a:pt x="0" y="12810"/>
                    </a:cubicBezTo>
                    <a:cubicBezTo>
                      <a:pt x="0" y="5728"/>
                      <a:pt x="5714" y="0"/>
                      <a:pt x="12823" y="0"/>
                    </a:cubicBezTo>
                    <a:cubicBezTo>
                      <a:pt x="19932" y="0"/>
                      <a:pt x="25646" y="5687"/>
                      <a:pt x="25646" y="12810"/>
                    </a:cubicBezTo>
                    <a:close/>
                    <a:moveTo>
                      <a:pt x="23691" y="12864"/>
                    </a:moveTo>
                    <a:cubicBezTo>
                      <a:pt x="23691" y="6712"/>
                      <a:pt x="18838" y="1832"/>
                      <a:pt x="12837" y="1832"/>
                    </a:cubicBezTo>
                    <a:cubicBezTo>
                      <a:pt x="6835" y="1832"/>
                      <a:pt x="1982" y="6658"/>
                      <a:pt x="1982" y="12851"/>
                    </a:cubicBezTo>
                    <a:cubicBezTo>
                      <a:pt x="1982" y="19043"/>
                      <a:pt x="6890" y="23856"/>
                      <a:pt x="12782" y="23856"/>
                    </a:cubicBezTo>
                    <a:cubicBezTo>
                      <a:pt x="18674" y="23856"/>
                      <a:pt x="23691" y="19002"/>
                      <a:pt x="23691" y="12864"/>
                    </a:cubicBezTo>
                    <a:close/>
                    <a:moveTo>
                      <a:pt x="15585" y="14888"/>
                    </a:moveTo>
                    <a:lnTo>
                      <a:pt x="18811" y="19905"/>
                    </a:lnTo>
                    <a:lnTo>
                      <a:pt x="16678" y="19905"/>
                    </a:lnTo>
                    <a:lnTo>
                      <a:pt x="13097" y="14218"/>
                    </a:lnTo>
                    <a:lnTo>
                      <a:pt x="9829" y="14218"/>
                    </a:lnTo>
                    <a:lnTo>
                      <a:pt x="9829" y="19905"/>
                    </a:lnTo>
                    <a:lnTo>
                      <a:pt x="8038" y="19905"/>
                    </a:lnTo>
                    <a:lnTo>
                      <a:pt x="8038" y="5523"/>
                    </a:lnTo>
                    <a:lnTo>
                      <a:pt x="13616" y="5523"/>
                    </a:lnTo>
                    <a:cubicBezTo>
                      <a:pt x="16364" y="5523"/>
                      <a:pt x="18155" y="6999"/>
                      <a:pt x="18155" y="9761"/>
                    </a:cubicBezTo>
                    <a:cubicBezTo>
                      <a:pt x="18155" y="11989"/>
                      <a:pt x="16801" y="13370"/>
                      <a:pt x="14887" y="13917"/>
                    </a:cubicBezTo>
                    <a:cubicBezTo>
                      <a:pt x="15147" y="14204"/>
                      <a:pt x="15407" y="14559"/>
                      <a:pt x="15585" y="14901"/>
                    </a:cubicBezTo>
                    <a:close/>
                    <a:moveTo>
                      <a:pt x="13015" y="12522"/>
                    </a:moveTo>
                    <a:cubicBezTo>
                      <a:pt x="15038" y="12522"/>
                      <a:pt x="16282" y="11565"/>
                      <a:pt x="16282" y="9870"/>
                    </a:cubicBezTo>
                    <a:cubicBezTo>
                      <a:pt x="16282" y="8175"/>
                      <a:pt x="15421" y="7191"/>
                      <a:pt x="13657" y="7191"/>
                    </a:cubicBezTo>
                    <a:lnTo>
                      <a:pt x="9816" y="7191"/>
                    </a:lnTo>
                    <a:lnTo>
                      <a:pt x="9816" y="12509"/>
                    </a:lnTo>
                    <a:lnTo>
                      <a:pt x="13015" y="12509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0" name="Google Shape;993;g22cb0be31a4_6_52">
                <a:extLst>
                  <a:ext uri="{FF2B5EF4-FFF2-40B4-BE49-F238E27FC236}">
                    <a16:creationId xmlns:a16="http://schemas.microsoft.com/office/drawing/2014/main" id="{DF7ABCEE-68CB-0911-D222-B9DA1B95BCF3}"/>
                  </a:ext>
                </a:extLst>
              </p:cNvPr>
              <p:cNvSpPr/>
              <p:nvPr/>
            </p:nvSpPr>
            <p:spPr>
              <a:xfrm>
                <a:off x="11620956" y="6472487"/>
                <a:ext cx="32932" cy="163721"/>
              </a:xfrm>
              <a:custGeom>
                <a:avLst/>
                <a:gdLst/>
                <a:ahLst/>
                <a:cxnLst/>
                <a:rect l="l" t="t" r="r" b="b"/>
                <a:pathLst>
                  <a:path w="32932" h="163721" extrusionOk="0">
                    <a:moveTo>
                      <a:pt x="29830" y="0"/>
                    </a:moveTo>
                    <a:cubicBezTo>
                      <a:pt x="31544" y="0"/>
                      <a:pt x="32933" y="1389"/>
                      <a:pt x="32933" y="3103"/>
                    </a:cubicBezTo>
                    <a:lnTo>
                      <a:pt x="32933" y="160618"/>
                    </a:lnTo>
                    <a:cubicBezTo>
                      <a:pt x="32933" y="162332"/>
                      <a:pt x="31543" y="163722"/>
                      <a:pt x="29830" y="163722"/>
                    </a:cubicBezTo>
                    <a:lnTo>
                      <a:pt x="3103" y="163722"/>
                    </a:lnTo>
                    <a:cubicBezTo>
                      <a:pt x="1389" y="163722"/>
                      <a:pt x="0" y="162332"/>
                      <a:pt x="0" y="160618"/>
                    </a:cubicBezTo>
                    <a:lnTo>
                      <a:pt x="0" y="3103"/>
                    </a:lnTo>
                    <a:cubicBezTo>
                      <a:pt x="0" y="1389"/>
                      <a:pt x="1389" y="0"/>
                      <a:pt x="3103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1" name="Google Shape;994;g22cb0be31a4_6_52">
                <a:extLst>
                  <a:ext uri="{FF2B5EF4-FFF2-40B4-BE49-F238E27FC236}">
                    <a16:creationId xmlns:a16="http://schemas.microsoft.com/office/drawing/2014/main" id="{3509A47F-F7EA-3B29-4B6C-2BB8158082D6}"/>
                  </a:ext>
                </a:extLst>
              </p:cNvPr>
              <p:cNvSpPr/>
              <p:nvPr/>
            </p:nvSpPr>
            <p:spPr>
              <a:xfrm>
                <a:off x="11488486" y="6472473"/>
                <a:ext cx="123638" cy="166086"/>
              </a:xfrm>
              <a:custGeom>
                <a:avLst/>
                <a:gdLst/>
                <a:ahLst/>
                <a:cxnLst/>
                <a:rect l="l" t="t" r="r" b="b"/>
                <a:pathLst>
                  <a:path w="123638" h="166086" extrusionOk="0">
                    <a:moveTo>
                      <a:pt x="68737" y="44663"/>
                    </a:moveTo>
                    <a:cubicBezTo>
                      <a:pt x="53535" y="44663"/>
                      <a:pt x="40889" y="51252"/>
                      <a:pt x="32947" y="62052"/>
                    </a:cubicBezTo>
                    <a:lnTo>
                      <a:pt x="32947" y="3103"/>
                    </a:lnTo>
                    <a:cubicBezTo>
                      <a:pt x="32947" y="1394"/>
                      <a:pt x="31552" y="0"/>
                      <a:pt x="29843" y="0"/>
                    </a:cubicBezTo>
                    <a:lnTo>
                      <a:pt x="3103" y="0"/>
                    </a:lnTo>
                    <a:cubicBezTo>
                      <a:pt x="1394" y="0"/>
                      <a:pt x="0" y="1394"/>
                      <a:pt x="0" y="3103"/>
                    </a:cubicBezTo>
                    <a:lnTo>
                      <a:pt x="0" y="160632"/>
                    </a:lnTo>
                    <a:cubicBezTo>
                      <a:pt x="0" y="162341"/>
                      <a:pt x="1394" y="163735"/>
                      <a:pt x="3103" y="163735"/>
                    </a:cubicBezTo>
                    <a:lnTo>
                      <a:pt x="29843" y="163735"/>
                    </a:lnTo>
                    <a:cubicBezTo>
                      <a:pt x="31552" y="163735"/>
                      <a:pt x="32947" y="162341"/>
                      <a:pt x="32947" y="160632"/>
                    </a:cubicBezTo>
                    <a:lnTo>
                      <a:pt x="32947" y="149025"/>
                    </a:lnTo>
                    <a:cubicBezTo>
                      <a:pt x="40903" y="159839"/>
                      <a:pt x="53535" y="166087"/>
                      <a:pt x="68983" y="166087"/>
                    </a:cubicBezTo>
                    <a:cubicBezTo>
                      <a:pt x="101505" y="166087"/>
                      <a:pt x="123638" y="139852"/>
                      <a:pt x="123638" y="105539"/>
                    </a:cubicBezTo>
                    <a:cubicBezTo>
                      <a:pt x="123638" y="71225"/>
                      <a:pt x="101505" y="44663"/>
                      <a:pt x="68750" y="44663"/>
                    </a:cubicBezTo>
                    <a:close/>
                    <a:moveTo>
                      <a:pt x="62188" y="135163"/>
                    </a:moveTo>
                    <a:cubicBezTo>
                      <a:pt x="45346" y="135163"/>
                      <a:pt x="32947" y="121533"/>
                      <a:pt x="32947" y="105552"/>
                    </a:cubicBezTo>
                    <a:cubicBezTo>
                      <a:pt x="32947" y="89571"/>
                      <a:pt x="45346" y="76174"/>
                      <a:pt x="62188" y="76174"/>
                    </a:cubicBezTo>
                    <a:cubicBezTo>
                      <a:pt x="79031" y="76174"/>
                      <a:pt x="90965" y="89571"/>
                      <a:pt x="90965" y="105552"/>
                    </a:cubicBezTo>
                    <a:cubicBezTo>
                      <a:pt x="90965" y="121533"/>
                      <a:pt x="78798" y="135163"/>
                      <a:pt x="62188" y="13516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2" name="Google Shape;995;g22cb0be31a4_6_52">
                <a:extLst>
                  <a:ext uri="{FF2B5EF4-FFF2-40B4-BE49-F238E27FC236}">
                    <a16:creationId xmlns:a16="http://schemas.microsoft.com/office/drawing/2014/main" id="{31444877-96C7-C8AD-79EE-471F25F05A95}"/>
                  </a:ext>
                </a:extLst>
              </p:cNvPr>
              <p:cNvSpPr/>
              <p:nvPr/>
            </p:nvSpPr>
            <p:spPr>
              <a:xfrm>
                <a:off x="11359421" y="6517136"/>
                <a:ext cx="120412" cy="121437"/>
              </a:xfrm>
              <a:custGeom>
                <a:avLst/>
                <a:gdLst/>
                <a:ahLst/>
                <a:cxnLst/>
                <a:rect l="l" t="t" r="r" b="b"/>
                <a:pathLst>
                  <a:path w="120412" h="121437" extrusionOk="0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3" name="Google Shape;996;g22cb0be31a4_6_52">
                <a:extLst>
                  <a:ext uri="{FF2B5EF4-FFF2-40B4-BE49-F238E27FC236}">
                    <a16:creationId xmlns:a16="http://schemas.microsoft.com/office/drawing/2014/main" id="{2D61EB0A-2FB1-87E2-2441-B39BD77FC302}"/>
                  </a:ext>
                </a:extLst>
              </p:cNvPr>
              <p:cNvSpPr/>
              <p:nvPr/>
            </p:nvSpPr>
            <p:spPr>
              <a:xfrm>
                <a:off x="11662542" y="6517136"/>
                <a:ext cx="120412" cy="121437"/>
              </a:xfrm>
              <a:custGeom>
                <a:avLst/>
                <a:gdLst/>
                <a:ahLst/>
                <a:cxnLst/>
                <a:rect l="l" t="t" r="r" b="b"/>
                <a:pathLst>
                  <a:path w="120412" h="121437" extrusionOk="0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4" name="Google Shape;997;g22cb0be31a4_6_52">
                <a:extLst>
                  <a:ext uri="{FF2B5EF4-FFF2-40B4-BE49-F238E27FC236}">
                    <a16:creationId xmlns:a16="http://schemas.microsoft.com/office/drawing/2014/main" id="{C00BD601-2156-91D1-41F1-02C2F3042064}"/>
                  </a:ext>
                </a:extLst>
              </p:cNvPr>
              <p:cNvSpPr/>
              <p:nvPr/>
            </p:nvSpPr>
            <p:spPr>
              <a:xfrm>
                <a:off x="11122821" y="6519528"/>
                <a:ext cx="32932" cy="116680"/>
              </a:xfrm>
              <a:custGeom>
                <a:avLst/>
                <a:gdLst/>
                <a:ahLst/>
                <a:cxnLst/>
                <a:rect l="l" t="t" r="r" b="b"/>
                <a:pathLst>
                  <a:path w="32932" h="116680" extrusionOk="0">
                    <a:moveTo>
                      <a:pt x="29843" y="116680"/>
                    </a:moveTo>
                    <a:lnTo>
                      <a:pt x="3103" y="116680"/>
                    </a:lnTo>
                    <a:cubicBezTo>
                      <a:pt x="1394" y="116680"/>
                      <a:pt x="0" y="115286"/>
                      <a:pt x="0" y="113577"/>
                    </a:cubicBezTo>
                    <a:lnTo>
                      <a:pt x="0" y="30554"/>
                    </a:lnTo>
                    <a:cubicBezTo>
                      <a:pt x="0" y="28886"/>
                      <a:pt x="670" y="27287"/>
                      <a:pt x="1859" y="26125"/>
                    </a:cubicBezTo>
                    <a:lnTo>
                      <a:pt x="27670" y="888"/>
                    </a:lnTo>
                    <a:cubicBezTo>
                      <a:pt x="29638" y="-1026"/>
                      <a:pt x="32933" y="355"/>
                      <a:pt x="32933" y="3103"/>
                    </a:cubicBezTo>
                    <a:lnTo>
                      <a:pt x="32933" y="113577"/>
                    </a:lnTo>
                    <a:cubicBezTo>
                      <a:pt x="32933" y="115286"/>
                      <a:pt x="31538" y="116680"/>
                      <a:pt x="29830" y="11668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5" name="Google Shape;998;g22cb0be31a4_6_52">
                <a:extLst>
                  <a:ext uri="{FF2B5EF4-FFF2-40B4-BE49-F238E27FC236}">
                    <a16:creationId xmlns:a16="http://schemas.microsoft.com/office/drawing/2014/main" id="{486CF2EE-303E-DC55-C3A1-20AABE761818}"/>
                  </a:ext>
                </a:extLst>
              </p:cNvPr>
              <p:cNvSpPr/>
              <p:nvPr/>
            </p:nvSpPr>
            <p:spPr>
              <a:xfrm>
                <a:off x="11173074" y="6517105"/>
                <a:ext cx="107493" cy="119116"/>
              </a:xfrm>
              <a:custGeom>
                <a:avLst/>
                <a:gdLst/>
                <a:ahLst/>
                <a:cxnLst/>
                <a:rect l="l" t="t" r="r" b="b"/>
                <a:pathLst>
                  <a:path w="107493" h="119116" extrusionOk="0">
                    <a:moveTo>
                      <a:pt x="107480" y="41877"/>
                    </a:moveTo>
                    <a:cubicBezTo>
                      <a:pt x="107480" y="19252"/>
                      <a:pt x="88792" y="277"/>
                      <a:pt x="65237" y="3"/>
                    </a:cubicBezTo>
                    <a:cubicBezTo>
                      <a:pt x="49912" y="-175"/>
                      <a:pt x="39563" y="7331"/>
                      <a:pt x="32947" y="17474"/>
                    </a:cubicBezTo>
                    <a:lnTo>
                      <a:pt x="32947" y="5581"/>
                    </a:lnTo>
                    <a:cubicBezTo>
                      <a:pt x="32947" y="3872"/>
                      <a:pt x="31552" y="2478"/>
                      <a:pt x="29843" y="2478"/>
                    </a:cubicBezTo>
                    <a:lnTo>
                      <a:pt x="3103" y="2478"/>
                    </a:lnTo>
                    <a:cubicBezTo>
                      <a:pt x="1394" y="2478"/>
                      <a:pt x="0" y="3872"/>
                      <a:pt x="0" y="5581"/>
                    </a:cubicBezTo>
                    <a:lnTo>
                      <a:pt x="0" y="116000"/>
                    </a:lnTo>
                    <a:cubicBezTo>
                      <a:pt x="0" y="117709"/>
                      <a:pt x="1394" y="119103"/>
                      <a:pt x="3103" y="119103"/>
                    </a:cubicBezTo>
                    <a:lnTo>
                      <a:pt x="29843" y="119103"/>
                    </a:lnTo>
                    <a:cubicBezTo>
                      <a:pt x="31552" y="119103"/>
                      <a:pt x="32947" y="117709"/>
                      <a:pt x="32947" y="116000"/>
                    </a:cubicBezTo>
                    <a:lnTo>
                      <a:pt x="32947" y="51788"/>
                    </a:lnTo>
                    <a:cubicBezTo>
                      <a:pt x="33685" y="39430"/>
                      <a:pt x="41518" y="31747"/>
                      <a:pt x="53740" y="31747"/>
                    </a:cubicBezTo>
                    <a:cubicBezTo>
                      <a:pt x="65961" y="31747"/>
                      <a:pt x="74547" y="40373"/>
                      <a:pt x="74547" y="53210"/>
                    </a:cubicBezTo>
                    <a:lnTo>
                      <a:pt x="74547" y="116014"/>
                    </a:lnTo>
                    <a:cubicBezTo>
                      <a:pt x="74547" y="117722"/>
                      <a:pt x="75941" y="119117"/>
                      <a:pt x="77650" y="119117"/>
                    </a:cubicBezTo>
                    <a:lnTo>
                      <a:pt x="104390" y="119117"/>
                    </a:lnTo>
                    <a:cubicBezTo>
                      <a:pt x="106099" y="119117"/>
                      <a:pt x="107493" y="117722"/>
                      <a:pt x="107493" y="116014"/>
                    </a:cubicBezTo>
                    <a:lnTo>
                      <a:pt x="107493" y="4189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55641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D1A004E4-C297-4DD9-E758-8E59AAC824E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1997" cy="685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347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solidFill>
          <a:srgbClr val="D9E1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raphic 8">
            <a:extLst>
              <a:ext uri="{FF2B5EF4-FFF2-40B4-BE49-F238E27FC236}">
                <a16:creationId xmlns:a16="http://schemas.microsoft.com/office/drawing/2014/main" id="{647F67D7-46A0-059C-4601-CB08A44A7129}"/>
              </a:ext>
            </a:extLst>
          </p:cNvPr>
          <p:cNvSpPr/>
          <p:nvPr userDrawn="1"/>
        </p:nvSpPr>
        <p:spPr>
          <a:xfrm>
            <a:off x="3757613" y="0"/>
            <a:ext cx="8434387" cy="8434387"/>
          </a:xfrm>
          <a:custGeom>
            <a:avLst/>
            <a:gdLst>
              <a:gd name="connsiteX0" fmla="*/ 3985217 w 4062497"/>
              <a:gd name="connsiteY0" fmla="*/ 1844654 h 4062497"/>
              <a:gd name="connsiteX1" fmla="*/ 2217844 w 4062497"/>
              <a:gd name="connsiteY1" fmla="*/ 77281 h 4062497"/>
              <a:gd name="connsiteX2" fmla="*/ 1844654 w 4062497"/>
              <a:gd name="connsiteY2" fmla="*/ 77281 h 4062497"/>
              <a:gd name="connsiteX3" fmla="*/ 77281 w 4062497"/>
              <a:gd name="connsiteY3" fmla="*/ 1844654 h 4062497"/>
              <a:gd name="connsiteX4" fmla="*/ 77281 w 4062497"/>
              <a:gd name="connsiteY4" fmla="*/ 2217844 h 4062497"/>
              <a:gd name="connsiteX5" fmla="*/ 1844654 w 4062497"/>
              <a:gd name="connsiteY5" fmla="*/ 3985217 h 4062497"/>
              <a:gd name="connsiteX6" fmla="*/ 2217844 w 4062497"/>
              <a:gd name="connsiteY6" fmla="*/ 3985217 h 4062497"/>
              <a:gd name="connsiteX7" fmla="*/ 3985217 w 4062497"/>
              <a:gd name="connsiteY7" fmla="*/ 2217844 h 4062497"/>
              <a:gd name="connsiteX8" fmla="*/ 3985217 w 4062497"/>
              <a:gd name="connsiteY8" fmla="*/ 1844654 h 4062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2497" h="4062497">
                <a:moveTo>
                  <a:pt x="3985217" y="1844654"/>
                </a:moveTo>
                <a:lnTo>
                  <a:pt x="2217844" y="77281"/>
                </a:lnTo>
                <a:cubicBezTo>
                  <a:pt x="2114803" y="-25760"/>
                  <a:pt x="1947695" y="-25760"/>
                  <a:pt x="1844654" y="77281"/>
                </a:cubicBezTo>
                <a:lnTo>
                  <a:pt x="77281" y="1844654"/>
                </a:lnTo>
                <a:cubicBezTo>
                  <a:pt x="-25760" y="1947695"/>
                  <a:pt x="-25760" y="2114803"/>
                  <a:pt x="77281" y="2217844"/>
                </a:cubicBezTo>
                <a:lnTo>
                  <a:pt x="1844654" y="3985217"/>
                </a:lnTo>
                <a:cubicBezTo>
                  <a:pt x="1947695" y="4088258"/>
                  <a:pt x="2114803" y="4088258"/>
                  <a:pt x="2217844" y="3985217"/>
                </a:cubicBezTo>
                <a:lnTo>
                  <a:pt x="3985217" y="2217844"/>
                </a:lnTo>
                <a:cubicBezTo>
                  <a:pt x="4088258" y="2114803"/>
                  <a:pt x="4088258" y="1947695"/>
                  <a:pt x="3985217" y="1844654"/>
                </a:cubicBezTo>
                <a:close/>
              </a:path>
            </a:pathLst>
          </a:custGeom>
          <a:gradFill>
            <a:gsLst>
              <a:gs pos="12000">
                <a:schemeClr val="bg1">
                  <a:alpha val="60000"/>
                </a:schemeClr>
              </a:gs>
              <a:gs pos="74000">
                <a:schemeClr val="bg1">
                  <a:alpha val="0"/>
                </a:schemeClr>
              </a:gs>
            </a:gsLst>
            <a:lin ang="8100000" scaled="1"/>
          </a:gradFill>
          <a:ln w="685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7CC91C-96CC-4B8E-C132-C3B6855AC0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905" y="2867204"/>
            <a:ext cx="10269145" cy="816709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3800" b="1" i="0" cap="all" baseline="0">
                <a:solidFill>
                  <a:schemeClr val="tx1"/>
                </a:solidFill>
                <a:latin typeface="Lato" panose="020F0502020204030203" pitchFamily="34" charset="77"/>
              </a:defRPr>
            </a:lvl1pPr>
          </a:lstStyle>
          <a:p>
            <a:r>
              <a:rPr lang="en-US" dirty="0"/>
              <a:t>Section header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3EE100-6036-61E9-5E01-FF70061CD29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44905" y="4045821"/>
            <a:ext cx="10269145" cy="5834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200" b="0" i="0" cap="all" baseline="0">
                <a:solidFill>
                  <a:schemeClr val="tx1"/>
                </a:solidFill>
                <a:latin typeface="Lato" panose="020F0502020204030203" pitchFamily="34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35DFD36B-5D2D-ABFA-7942-FF73A8F64B73}"/>
              </a:ext>
            </a:extLst>
          </p:cNvPr>
          <p:cNvGrpSpPr/>
          <p:nvPr userDrawn="1"/>
        </p:nvGrpSpPr>
        <p:grpSpPr>
          <a:xfrm>
            <a:off x="794240" y="529755"/>
            <a:ext cx="1556398" cy="323294"/>
            <a:chOff x="733434" y="876300"/>
            <a:chExt cx="2455606" cy="510077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F1B82461-65B3-5290-E2F5-A2FDA3FFC2EE}"/>
                </a:ext>
              </a:extLst>
            </p:cNvPr>
            <p:cNvSpPr/>
            <p:nvPr/>
          </p:nvSpPr>
          <p:spPr>
            <a:xfrm rot="18900000">
              <a:off x="770705" y="879406"/>
              <a:ext cx="107935" cy="107935"/>
            </a:xfrm>
            <a:custGeom>
              <a:avLst/>
              <a:gdLst>
                <a:gd name="connsiteX0" fmla="*/ 67007 w 73496"/>
                <a:gd name="connsiteY0" fmla="*/ 0 h 73496"/>
                <a:gd name="connsiteX1" fmla="*/ 73497 w 73496"/>
                <a:gd name="connsiteY1" fmla="*/ 6489 h 73496"/>
                <a:gd name="connsiteX2" fmla="*/ 73497 w 73496"/>
                <a:gd name="connsiteY2" fmla="*/ 67007 h 73496"/>
                <a:gd name="connsiteX3" fmla="*/ 67007 w 73496"/>
                <a:gd name="connsiteY3" fmla="*/ 73496 h 73496"/>
                <a:gd name="connsiteX4" fmla="*/ 6489 w 73496"/>
                <a:gd name="connsiteY4" fmla="*/ 73496 h 73496"/>
                <a:gd name="connsiteX5" fmla="*/ 0 w 73496"/>
                <a:gd name="connsiteY5" fmla="*/ 67007 h 73496"/>
                <a:gd name="connsiteX6" fmla="*/ 0 w 73496"/>
                <a:gd name="connsiteY6" fmla="*/ 6489 h 73496"/>
                <a:gd name="connsiteX7" fmla="*/ 6489 w 73496"/>
                <a:gd name="connsiteY7" fmla="*/ 0 h 73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496" h="73496">
                  <a:moveTo>
                    <a:pt x="67007" y="0"/>
                  </a:moveTo>
                  <a:cubicBezTo>
                    <a:pt x="70591" y="0"/>
                    <a:pt x="73497" y="2905"/>
                    <a:pt x="73497" y="6489"/>
                  </a:cubicBezTo>
                  <a:lnTo>
                    <a:pt x="73497" y="67007"/>
                  </a:lnTo>
                  <a:cubicBezTo>
                    <a:pt x="73497" y="70591"/>
                    <a:pt x="70591" y="73496"/>
                    <a:pt x="67007" y="73496"/>
                  </a:cubicBezTo>
                  <a:lnTo>
                    <a:pt x="6489" y="73496"/>
                  </a:lnTo>
                  <a:cubicBezTo>
                    <a:pt x="2905" y="73496"/>
                    <a:pt x="0" y="70591"/>
                    <a:pt x="0" y="67007"/>
                  </a:cubicBezTo>
                  <a:lnTo>
                    <a:pt x="0" y="6489"/>
                  </a:lnTo>
                  <a:cubicBezTo>
                    <a:pt x="0" y="2905"/>
                    <a:pt x="2905" y="0"/>
                    <a:pt x="6489" y="0"/>
                  </a:cubicBezTo>
                  <a:close/>
                </a:path>
              </a:pathLst>
            </a:custGeom>
            <a:solidFill>
              <a:srgbClr val="00BD4D"/>
            </a:solidFill>
            <a:ln w="284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="0" i="0" dirty="0">
                <a:latin typeface="Lato" panose="020F0502020204030203" pitchFamily="34" charset="77"/>
              </a:endParaRP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2E256ED6-C93D-39EC-06E4-FEFD25CE194F}"/>
                </a:ext>
              </a:extLst>
            </p:cNvPr>
            <p:cNvGrpSpPr/>
            <p:nvPr/>
          </p:nvGrpSpPr>
          <p:grpSpPr>
            <a:xfrm>
              <a:off x="733434" y="876300"/>
              <a:ext cx="2455606" cy="510077"/>
              <a:chOff x="9242171" y="3011696"/>
              <a:chExt cx="1672097" cy="347327"/>
            </a:xfrm>
            <a:solidFill>
              <a:schemeClr val="tx1"/>
            </a:solidFill>
          </p:grpSpPr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FA249034-577A-9E92-1414-C4B7ED8EF3F0}"/>
                  </a:ext>
                </a:extLst>
              </p:cNvPr>
              <p:cNvSpPr/>
              <p:nvPr/>
            </p:nvSpPr>
            <p:spPr>
              <a:xfrm>
                <a:off x="10604432" y="3110234"/>
                <a:ext cx="249644" cy="243844"/>
              </a:xfrm>
              <a:custGeom>
                <a:avLst/>
                <a:gdLst>
                  <a:gd name="connsiteX0" fmla="*/ 172562 w 249644"/>
                  <a:gd name="connsiteY0" fmla="*/ 121922 h 243844"/>
                  <a:gd name="connsiteX1" fmla="*/ 248603 w 249644"/>
                  <a:gd name="connsiteY1" fmla="*/ 234754 h 243844"/>
                  <a:gd name="connsiteX2" fmla="*/ 243372 w 249644"/>
                  <a:gd name="connsiteY2" fmla="*/ 243845 h 243844"/>
                  <a:gd name="connsiteX3" fmla="*/ 179480 w 249644"/>
                  <a:gd name="connsiteY3" fmla="*/ 243845 h 243844"/>
                  <a:gd name="connsiteX4" fmla="*/ 168789 w 249644"/>
                  <a:gd name="connsiteY4" fmla="*/ 238213 h 243844"/>
                  <a:gd name="connsiteX5" fmla="*/ 124822 w 249644"/>
                  <a:gd name="connsiteY5" fmla="*/ 170949 h 243844"/>
                  <a:gd name="connsiteX6" fmla="*/ 80856 w 249644"/>
                  <a:gd name="connsiteY6" fmla="*/ 238213 h 243844"/>
                  <a:gd name="connsiteX7" fmla="*/ 70164 w 249644"/>
                  <a:gd name="connsiteY7" fmla="*/ 243845 h 243844"/>
                  <a:gd name="connsiteX8" fmla="*/ 6273 w 249644"/>
                  <a:gd name="connsiteY8" fmla="*/ 243845 h 243844"/>
                  <a:gd name="connsiteX9" fmla="*/ 1042 w 249644"/>
                  <a:gd name="connsiteY9" fmla="*/ 234754 h 243844"/>
                  <a:gd name="connsiteX10" fmla="*/ 76854 w 249644"/>
                  <a:gd name="connsiteY10" fmla="*/ 121922 h 243844"/>
                  <a:gd name="connsiteX11" fmla="*/ 1042 w 249644"/>
                  <a:gd name="connsiteY11" fmla="*/ 9091 h 243844"/>
                  <a:gd name="connsiteX12" fmla="*/ 6273 w 249644"/>
                  <a:gd name="connsiteY12" fmla="*/ 0 h 243844"/>
                  <a:gd name="connsiteX13" fmla="*/ 72880 w 249644"/>
                  <a:gd name="connsiteY13" fmla="*/ 0 h 243844"/>
                  <a:gd name="connsiteX14" fmla="*/ 78998 w 249644"/>
                  <a:gd name="connsiteY14" fmla="*/ 3030 h 243844"/>
                  <a:gd name="connsiteX15" fmla="*/ 124794 w 249644"/>
                  <a:gd name="connsiteY15" fmla="*/ 72782 h 243844"/>
                  <a:gd name="connsiteX16" fmla="*/ 167788 w 249644"/>
                  <a:gd name="connsiteY16" fmla="*/ 3059 h 243844"/>
                  <a:gd name="connsiteX17" fmla="*/ 173906 w 249644"/>
                  <a:gd name="connsiteY17" fmla="*/ 0 h 243844"/>
                  <a:gd name="connsiteX18" fmla="*/ 241171 w 249644"/>
                  <a:gd name="connsiteY18" fmla="*/ 0 h 243844"/>
                  <a:gd name="connsiteX19" fmla="*/ 246402 w 249644"/>
                  <a:gd name="connsiteY19" fmla="*/ 9062 h 243844"/>
                  <a:gd name="connsiteX20" fmla="*/ 172505 w 249644"/>
                  <a:gd name="connsiteY20" fmla="*/ 121922 h 243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49644" h="243844">
                    <a:moveTo>
                      <a:pt x="172562" y="121922"/>
                    </a:moveTo>
                    <a:lnTo>
                      <a:pt x="248603" y="234754"/>
                    </a:lnTo>
                    <a:cubicBezTo>
                      <a:pt x="251347" y="238642"/>
                      <a:pt x="248346" y="243845"/>
                      <a:pt x="243372" y="243845"/>
                    </a:cubicBezTo>
                    <a:lnTo>
                      <a:pt x="179480" y="243845"/>
                    </a:lnTo>
                    <a:cubicBezTo>
                      <a:pt x="175221" y="243845"/>
                      <a:pt x="171219" y="241729"/>
                      <a:pt x="168789" y="238213"/>
                    </a:cubicBezTo>
                    <a:lnTo>
                      <a:pt x="124822" y="170949"/>
                    </a:lnTo>
                    <a:lnTo>
                      <a:pt x="80856" y="238213"/>
                    </a:lnTo>
                    <a:cubicBezTo>
                      <a:pt x="78426" y="241729"/>
                      <a:pt x="74452" y="243845"/>
                      <a:pt x="70164" y="243845"/>
                    </a:cubicBezTo>
                    <a:lnTo>
                      <a:pt x="6273" y="243845"/>
                    </a:lnTo>
                    <a:cubicBezTo>
                      <a:pt x="1299" y="243845"/>
                      <a:pt x="-1703" y="238671"/>
                      <a:pt x="1042" y="234754"/>
                    </a:cubicBezTo>
                    <a:lnTo>
                      <a:pt x="76854" y="121922"/>
                    </a:lnTo>
                    <a:lnTo>
                      <a:pt x="1042" y="9091"/>
                    </a:lnTo>
                    <a:cubicBezTo>
                      <a:pt x="-1703" y="5203"/>
                      <a:pt x="1299" y="0"/>
                      <a:pt x="6273" y="0"/>
                    </a:cubicBezTo>
                    <a:lnTo>
                      <a:pt x="72880" y="0"/>
                    </a:lnTo>
                    <a:cubicBezTo>
                      <a:pt x="75367" y="0"/>
                      <a:pt x="77683" y="1143"/>
                      <a:pt x="78998" y="3030"/>
                    </a:cubicBezTo>
                    <a:lnTo>
                      <a:pt x="124794" y="72782"/>
                    </a:lnTo>
                    <a:lnTo>
                      <a:pt x="167788" y="3059"/>
                    </a:lnTo>
                    <a:cubicBezTo>
                      <a:pt x="169075" y="1172"/>
                      <a:pt x="171419" y="0"/>
                      <a:pt x="173906" y="0"/>
                    </a:cubicBezTo>
                    <a:lnTo>
                      <a:pt x="241171" y="0"/>
                    </a:lnTo>
                    <a:cubicBezTo>
                      <a:pt x="246145" y="0"/>
                      <a:pt x="249118" y="5174"/>
                      <a:pt x="246402" y="9062"/>
                    </a:cubicBezTo>
                    <a:lnTo>
                      <a:pt x="172505" y="121922"/>
                    </a:ln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EC1E274A-0683-6358-48A0-9299B11E5E1F}"/>
                  </a:ext>
                </a:extLst>
              </p:cNvPr>
              <p:cNvSpPr/>
              <p:nvPr/>
            </p:nvSpPr>
            <p:spPr>
              <a:xfrm>
                <a:off x="9581152" y="3011696"/>
                <a:ext cx="164831" cy="342440"/>
              </a:xfrm>
              <a:custGeom>
                <a:avLst/>
                <a:gdLst>
                  <a:gd name="connsiteX0" fmla="*/ 158342 w 164831"/>
                  <a:gd name="connsiteY0" fmla="*/ 29 h 342440"/>
                  <a:gd name="connsiteX1" fmla="*/ 105342 w 164831"/>
                  <a:gd name="connsiteY1" fmla="*/ 29 h 342440"/>
                  <a:gd name="connsiteX2" fmla="*/ 91592 w 164831"/>
                  <a:gd name="connsiteY2" fmla="*/ 5717 h 342440"/>
                  <a:gd name="connsiteX3" fmla="*/ 41794 w 164831"/>
                  <a:gd name="connsiteY3" fmla="*/ 55515 h 342440"/>
                  <a:gd name="connsiteX4" fmla="*/ 36105 w 164831"/>
                  <a:gd name="connsiteY4" fmla="*/ 69266 h 342440"/>
                  <a:gd name="connsiteX5" fmla="*/ 36105 w 164831"/>
                  <a:gd name="connsiteY5" fmla="*/ 108458 h 342440"/>
                  <a:gd name="connsiteX6" fmla="*/ 6375 w 164831"/>
                  <a:gd name="connsiteY6" fmla="*/ 108458 h 342440"/>
                  <a:gd name="connsiteX7" fmla="*/ 0 w 164831"/>
                  <a:gd name="connsiteY7" fmla="*/ 114833 h 342440"/>
                  <a:gd name="connsiteX8" fmla="*/ 0 w 164831"/>
                  <a:gd name="connsiteY8" fmla="*/ 158828 h 342440"/>
                  <a:gd name="connsiteX9" fmla="*/ 6375 w 164831"/>
                  <a:gd name="connsiteY9" fmla="*/ 165203 h 342440"/>
                  <a:gd name="connsiteX10" fmla="*/ 36105 w 164831"/>
                  <a:gd name="connsiteY10" fmla="*/ 165203 h 342440"/>
                  <a:gd name="connsiteX11" fmla="*/ 36105 w 164831"/>
                  <a:gd name="connsiteY11" fmla="*/ 335951 h 342440"/>
                  <a:gd name="connsiteX12" fmla="*/ 42594 w 164831"/>
                  <a:gd name="connsiteY12" fmla="*/ 342440 h 342440"/>
                  <a:gd name="connsiteX13" fmla="*/ 98510 w 164831"/>
                  <a:gd name="connsiteY13" fmla="*/ 342440 h 342440"/>
                  <a:gd name="connsiteX14" fmla="*/ 104999 w 164831"/>
                  <a:gd name="connsiteY14" fmla="*/ 335951 h 342440"/>
                  <a:gd name="connsiteX15" fmla="*/ 104999 w 164831"/>
                  <a:gd name="connsiteY15" fmla="*/ 165174 h 342440"/>
                  <a:gd name="connsiteX16" fmla="*/ 149394 w 164831"/>
                  <a:gd name="connsiteY16" fmla="*/ 165174 h 342440"/>
                  <a:gd name="connsiteX17" fmla="*/ 155769 w 164831"/>
                  <a:gd name="connsiteY17" fmla="*/ 158799 h 342440"/>
                  <a:gd name="connsiteX18" fmla="*/ 155769 w 164831"/>
                  <a:gd name="connsiteY18" fmla="*/ 114804 h 342440"/>
                  <a:gd name="connsiteX19" fmla="*/ 149394 w 164831"/>
                  <a:gd name="connsiteY19" fmla="*/ 108429 h 342440"/>
                  <a:gd name="connsiteX20" fmla="*/ 104999 w 164831"/>
                  <a:gd name="connsiteY20" fmla="*/ 108429 h 342440"/>
                  <a:gd name="connsiteX21" fmla="*/ 104999 w 164831"/>
                  <a:gd name="connsiteY21" fmla="*/ 80643 h 342440"/>
                  <a:gd name="connsiteX22" fmla="*/ 124438 w 164831"/>
                  <a:gd name="connsiteY22" fmla="*/ 61204 h 342440"/>
                  <a:gd name="connsiteX23" fmla="*/ 158342 w 164831"/>
                  <a:gd name="connsiteY23" fmla="*/ 61204 h 342440"/>
                  <a:gd name="connsiteX24" fmla="*/ 164831 w 164831"/>
                  <a:gd name="connsiteY24" fmla="*/ 54715 h 342440"/>
                  <a:gd name="connsiteX25" fmla="*/ 164831 w 164831"/>
                  <a:gd name="connsiteY25" fmla="*/ 6489 h 342440"/>
                  <a:gd name="connsiteX26" fmla="*/ 158342 w 164831"/>
                  <a:gd name="connsiteY26" fmla="*/ 0 h 342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64831" h="342440">
                    <a:moveTo>
                      <a:pt x="158342" y="29"/>
                    </a:moveTo>
                    <a:lnTo>
                      <a:pt x="105342" y="29"/>
                    </a:lnTo>
                    <a:cubicBezTo>
                      <a:pt x="100197" y="29"/>
                      <a:pt x="95251" y="2087"/>
                      <a:pt x="91592" y="5717"/>
                    </a:cubicBezTo>
                    <a:lnTo>
                      <a:pt x="41794" y="55515"/>
                    </a:lnTo>
                    <a:cubicBezTo>
                      <a:pt x="38135" y="59175"/>
                      <a:pt x="36105" y="64120"/>
                      <a:pt x="36105" y="69266"/>
                    </a:cubicBezTo>
                    <a:lnTo>
                      <a:pt x="36105" y="108458"/>
                    </a:lnTo>
                    <a:lnTo>
                      <a:pt x="6375" y="108458"/>
                    </a:lnTo>
                    <a:cubicBezTo>
                      <a:pt x="2859" y="108458"/>
                      <a:pt x="0" y="111317"/>
                      <a:pt x="0" y="114833"/>
                    </a:cubicBezTo>
                    <a:lnTo>
                      <a:pt x="0" y="158828"/>
                    </a:lnTo>
                    <a:cubicBezTo>
                      <a:pt x="0" y="162344"/>
                      <a:pt x="2859" y="165203"/>
                      <a:pt x="6375" y="165203"/>
                    </a:cubicBezTo>
                    <a:lnTo>
                      <a:pt x="36105" y="165203"/>
                    </a:lnTo>
                    <a:lnTo>
                      <a:pt x="36105" y="335951"/>
                    </a:lnTo>
                    <a:cubicBezTo>
                      <a:pt x="36105" y="339524"/>
                      <a:pt x="39021" y="342440"/>
                      <a:pt x="42594" y="342440"/>
                    </a:cubicBezTo>
                    <a:lnTo>
                      <a:pt x="98510" y="342440"/>
                    </a:lnTo>
                    <a:cubicBezTo>
                      <a:pt x="102083" y="342440"/>
                      <a:pt x="104999" y="339524"/>
                      <a:pt x="104999" y="335951"/>
                    </a:cubicBezTo>
                    <a:lnTo>
                      <a:pt x="104999" y="165174"/>
                    </a:lnTo>
                    <a:lnTo>
                      <a:pt x="149394" y="165174"/>
                    </a:lnTo>
                    <a:cubicBezTo>
                      <a:pt x="152911" y="165174"/>
                      <a:pt x="155769" y="162315"/>
                      <a:pt x="155769" y="158799"/>
                    </a:cubicBezTo>
                    <a:lnTo>
                      <a:pt x="155769" y="114804"/>
                    </a:lnTo>
                    <a:cubicBezTo>
                      <a:pt x="155769" y="111288"/>
                      <a:pt x="152911" y="108429"/>
                      <a:pt x="149394" y="108429"/>
                    </a:cubicBezTo>
                    <a:lnTo>
                      <a:pt x="104999" y="108429"/>
                    </a:lnTo>
                    <a:lnTo>
                      <a:pt x="104999" y="80643"/>
                    </a:lnTo>
                    <a:cubicBezTo>
                      <a:pt x="104999" y="69895"/>
                      <a:pt x="113718" y="61204"/>
                      <a:pt x="124438" y="61204"/>
                    </a:cubicBezTo>
                    <a:lnTo>
                      <a:pt x="158342" y="61204"/>
                    </a:lnTo>
                    <a:cubicBezTo>
                      <a:pt x="161915" y="61204"/>
                      <a:pt x="164831" y="58288"/>
                      <a:pt x="164831" y="54715"/>
                    </a:cubicBezTo>
                    <a:lnTo>
                      <a:pt x="164831" y="6489"/>
                    </a:lnTo>
                    <a:cubicBezTo>
                      <a:pt x="164831" y="2916"/>
                      <a:pt x="161915" y="0"/>
                      <a:pt x="158342" y="0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F12ACD16-EAB5-B3A6-7B34-DC405C093E9B}"/>
                  </a:ext>
                </a:extLst>
              </p:cNvPr>
              <p:cNvSpPr/>
              <p:nvPr/>
            </p:nvSpPr>
            <p:spPr>
              <a:xfrm>
                <a:off x="10860611" y="3304224"/>
                <a:ext cx="53657" cy="53657"/>
              </a:xfrm>
              <a:custGeom>
                <a:avLst/>
                <a:gdLst>
                  <a:gd name="connsiteX0" fmla="*/ 53657 w 53657"/>
                  <a:gd name="connsiteY0" fmla="*/ 26786 h 53657"/>
                  <a:gd name="connsiteX1" fmla="*/ 26729 w 53657"/>
                  <a:gd name="connsiteY1" fmla="*/ 53657 h 53657"/>
                  <a:gd name="connsiteX2" fmla="*/ 0 w 53657"/>
                  <a:gd name="connsiteY2" fmla="*/ 26786 h 53657"/>
                  <a:gd name="connsiteX3" fmla="*/ 26814 w 53657"/>
                  <a:gd name="connsiteY3" fmla="*/ 0 h 53657"/>
                  <a:gd name="connsiteX4" fmla="*/ 53629 w 53657"/>
                  <a:gd name="connsiteY4" fmla="*/ 26786 h 53657"/>
                  <a:gd name="connsiteX5" fmla="*/ 49541 w 53657"/>
                  <a:gd name="connsiteY5" fmla="*/ 26900 h 53657"/>
                  <a:gd name="connsiteX6" fmla="*/ 26843 w 53657"/>
                  <a:gd name="connsiteY6" fmla="*/ 3831 h 53657"/>
                  <a:gd name="connsiteX7" fmla="*/ 4145 w 53657"/>
                  <a:gd name="connsiteY7" fmla="*/ 26872 h 53657"/>
                  <a:gd name="connsiteX8" fmla="*/ 26729 w 53657"/>
                  <a:gd name="connsiteY8" fmla="*/ 49884 h 53657"/>
                  <a:gd name="connsiteX9" fmla="*/ 49541 w 53657"/>
                  <a:gd name="connsiteY9" fmla="*/ 26900 h 53657"/>
                  <a:gd name="connsiteX10" fmla="*/ 32589 w 53657"/>
                  <a:gd name="connsiteY10" fmla="*/ 31131 h 53657"/>
                  <a:gd name="connsiteX11" fmla="*/ 39335 w 53657"/>
                  <a:gd name="connsiteY11" fmla="*/ 41622 h 53657"/>
                  <a:gd name="connsiteX12" fmla="*/ 34876 w 53657"/>
                  <a:gd name="connsiteY12" fmla="*/ 41622 h 53657"/>
                  <a:gd name="connsiteX13" fmla="*/ 27386 w 53657"/>
                  <a:gd name="connsiteY13" fmla="*/ 29730 h 53657"/>
                  <a:gd name="connsiteX14" fmla="*/ 20554 w 53657"/>
                  <a:gd name="connsiteY14" fmla="*/ 29730 h 53657"/>
                  <a:gd name="connsiteX15" fmla="*/ 20554 w 53657"/>
                  <a:gd name="connsiteY15" fmla="*/ 41622 h 53657"/>
                  <a:gd name="connsiteX16" fmla="*/ 16809 w 53657"/>
                  <a:gd name="connsiteY16" fmla="*/ 41622 h 53657"/>
                  <a:gd name="connsiteX17" fmla="*/ 16809 w 53657"/>
                  <a:gd name="connsiteY17" fmla="*/ 11549 h 53657"/>
                  <a:gd name="connsiteX18" fmla="*/ 28472 w 53657"/>
                  <a:gd name="connsiteY18" fmla="*/ 11549 h 53657"/>
                  <a:gd name="connsiteX19" fmla="*/ 37963 w 53657"/>
                  <a:gd name="connsiteY19" fmla="*/ 20411 h 53657"/>
                  <a:gd name="connsiteX20" fmla="*/ 31131 w 53657"/>
                  <a:gd name="connsiteY20" fmla="*/ 29101 h 53657"/>
                  <a:gd name="connsiteX21" fmla="*/ 32589 w 53657"/>
                  <a:gd name="connsiteY21" fmla="*/ 31160 h 53657"/>
                  <a:gd name="connsiteX22" fmla="*/ 27214 w 53657"/>
                  <a:gd name="connsiteY22" fmla="*/ 26185 h 53657"/>
                  <a:gd name="connsiteX23" fmla="*/ 34047 w 53657"/>
                  <a:gd name="connsiteY23" fmla="*/ 20640 h 53657"/>
                  <a:gd name="connsiteX24" fmla="*/ 28558 w 53657"/>
                  <a:gd name="connsiteY24" fmla="*/ 15037 h 53657"/>
                  <a:gd name="connsiteX25" fmla="*/ 20525 w 53657"/>
                  <a:gd name="connsiteY25" fmla="*/ 15037 h 53657"/>
                  <a:gd name="connsiteX26" fmla="*/ 20525 w 53657"/>
                  <a:gd name="connsiteY26" fmla="*/ 26157 h 53657"/>
                  <a:gd name="connsiteX27" fmla="*/ 27214 w 53657"/>
                  <a:gd name="connsiteY27" fmla="*/ 26157 h 53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53657" h="53657">
                    <a:moveTo>
                      <a:pt x="53657" y="26786"/>
                    </a:moveTo>
                    <a:cubicBezTo>
                      <a:pt x="53657" y="41708"/>
                      <a:pt x="41708" y="53657"/>
                      <a:pt x="26729" y="53657"/>
                    </a:cubicBezTo>
                    <a:cubicBezTo>
                      <a:pt x="11749" y="53657"/>
                      <a:pt x="0" y="41594"/>
                      <a:pt x="0" y="26786"/>
                    </a:cubicBezTo>
                    <a:cubicBezTo>
                      <a:pt x="0" y="11978"/>
                      <a:pt x="11949" y="0"/>
                      <a:pt x="26814" y="0"/>
                    </a:cubicBezTo>
                    <a:cubicBezTo>
                      <a:pt x="41679" y="0"/>
                      <a:pt x="53629" y="11892"/>
                      <a:pt x="53629" y="26786"/>
                    </a:cubicBezTo>
                    <a:close/>
                    <a:moveTo>
                      <a:pt x="49541" y="26900"/>
                    </a:moveTo>
                    <a:cubicBezTo>
                      <a:pt x="49541" y="14036"/>
                      <a:pt x="39392" y="3831"/>
                      <a:pt x="26843" y="3831"/>
                    </a:cubicBezTo>
                    <a:cubicBezTo>
                      <a:pt x="14293" y="3831"/>
                      <a:pt x="4145" y="13922"/>
                      <a:pt x="4145" y="26872"/>
                    </a:cubicBezTo>
                    <a:cubicBezTo>
                      <a:pt x="4145" y="39821"/>
                      <a:pt x="14408" y="49884"/>
                      <a:pt x="26729" y="49884"/>
                    </a:cubicBezTo>
                    <a:cubicBezTo>
                      <a:pt x="39049" y="49884"/>
                      <a:pt x="49541" y="39736"/>
                      <a:pt x="49541" y="26900"/>
                    </a:cubicBezTo>
                    <a:close/>
                    <a:moveTo>
                      <a:pt x="32589" y="31131"/>
                    </a:moveTo>
                    <a:lnTo>
                      <a:pt x="39335" y="41622"/>
                    </a:lnTo>
                    <a:lnTo>
                      <a:pt x="34876" y="41622"/>
                    </a:lnTo>
                    <a:lnTo>
                      <a:pt x="27386" y="29730"/>
                    </a:lnTo>
                    <a:lnTo>
                      <a:pt x="20554" y="29730"/>
                    </a:lnTo>
                    <a:lnTo>
                      <a:pt x="20554" y="41622"/>
                    </a:lnTo>
                    <a:lnTo>
                      <a:pt x="16809" y="41622"/>
                    </a:lnTo>
                    <a:lnTo>
                      <a:pt x="16809" y="11549"/>
                    </a:lnTo>
                    <a:lnTo>
                      <a:pt x="28472" y="11549"/>
                    </a:lnTo>
                    <a:cubicBezTo>
                      <a:pt x="34218" y="11549"/>
                      <a:pt x="37963" y="14636"/>
                      <a:pt x="37963" y="20411"/>
                    </a:cubicBezTo>
                    <a:cubicBezTo>
                      <a:pt x="37963" y="25071"/>
                      <a:pt x="35133" y="27958"/>
                      <a:pt x="31131" y="29101"/>
                    </a:cubicBezTo>
                    <a:cubicBezTo>
                      <a:pt x="31674" y="29702"/>
                      <a:pt x="32217" y="30445"/>
                      <a:pt x="32589" y="31160"/>
                    </a:cubicBezTo>
                    <a:close/>
                    <a:moveTo>
                      <a:pt x="27214" y="26185"/>
                    </a:moveTo>
                    <a:cubicBezTo>
                      <a:pt x="31445" y="26185"/>
                      <a:pt x="34047" y="24184"/>
                      <a:pt x="34047" y="20640"/>
                    </a:cubicBezTo>
                    <a:cubicBezTo>
                      <a:pt x="34047" y="17095"/>
                      <a:pt x="32246" y="15037"/>
                      <a:pt x="28558" y="15037"/>
                    </a:cubicBezTo>
                    <a:lnTo>
                      <a:pt x="20525" y="15037"/>
                    </a:lnTo>
                    <a:lnTo>
                      <a:pt x="20525" y="26157"/>
                    </a:lnTo>
                    <a:lnTo>
                      <a:pt x="27214" y="26157"/>
                    </a:ln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4711481D-0FC2-F442-AFA2-794A85A4CAF7}"/>
                  </a:ext>
                </a:extLst>
              </p:cNvPr>
              <p:cNvSpPr/>
              <p:nvPr/>
            </p:nvSpPr>
            <p:spPr>
              <a:xfrm>
                <a:off x="10283815" y="3011724"/>
                <a:ext cx="68865" cy="342354"/>
              </a:xfrm>
              <a:custGeom>
                <a:avLst/>
                <a:gdLst>
                  <a:gd name="connsiteX0" fmla="*/ 62376 w 68865"/>
                  <a:gd name="connsiteY0" fmla="*/ 0 h 342354"/>
                  <a:gd name="connsiteX1" fmla="*/ 68866 w 68865"/>
                  <a:gd name="connsiteY1" fmla="*/ 6489 h 342354"/>
                  <a:gd name="connsiteX2" fmla="*/ 68866 w 68865"/>
                  <a:gd name="connsiteY2" fmla="*/ 335865 h 342354"/>
                  <a:gd name="connsiteX3" fmla="*/ 62376 w 68865"/>
                  <a:gd name="connsiteY3" fmla="*/ 342355 h 342354"/>
                  <a:gd name="connsiteX4" fmla="*/ 6489 w 68865"/>
                  <a:gd name="connsiteY4" fmla="*/ 342355 h 342354"/>
                  <a:gd name="connsiteX5" fmla="*/ 0 w 68865"/>
                  <a:gd name="connsiteY5" fmla="*/ 335865 h 342354"/>
                  <a:gd name="connsiteX6" fmla="*/ 0 w 68865"/>
                  <a:gd name="connsiteY6" fmla="*/ 6489 h 342354"/>
                  <a:gd name="connsiteX7" fmla="*/ 6489 w 68865"/>
                  <a:gd name="connsiteY7" fmla="*/ 0 h 3423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8865" h="342354">
                    <a:moveTo>
                      <a:pt x="62376" y="0"/>
                    </a:moveTo>
                    <a:cubicBezTo>
                      <a:pt x="65960" y="0"/>
                      <a:pt x="68866" y="2905"/>
                      <a:pt x="68866" y="6489"/>
                    </a:cubicBezTo>
                    <a:lnTo>
                      <a:pt x="68866" y="335865"/>
                    </a:lnTo>
                    <a:cubicBezTo>
                      <a:pt x="68866" y="339449"/>
                      <a:pt x="65960" y="342355"/>
                      <a:pt x="62376" y="342355"/>
                    </a:cubicBezTo>
                    <a:lnTo>
                      <a:pt x="6489" y="342355"/>
                    </a:lnTo>
                    <a:cubicBezTo>
                      <a:pt x="2905" y="342355"/>
                      <a:pt x="0" y="339449"/>
                      <a:pt x="0" y="335865"/>
                    </a:cubicBezTo>
                    <a:lnTo>
                      <a:pt x="0" y="6489"/>
                    </a:lnTo>
                    <a:cubicBezTo>
                      <a:pt x="0" y="2905"/>
                      <a:pt x="2905" y="0"/>
                      <a:pt x="6489" y="0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87C9BB71-4189-A748-9654-68A34B69B63F}"/>
                  </a:ext>
                </a:extLst>
              </p:cNvPr>
              <p:cNvSpPr/>
              <p:nvPr/>
            </p:nvSpPr>
            <p:spPr>
              <a:xfrm>
                <a:off x="10006809" y="3011696"/>
                <a:ext cx="258538" cy="347300"/>
              </a:xfrm>
              <a:custGeom>
                <a:avLst/>
                <a:gdLst>
                  <a:gd name="connsiteX0" fmla="*/ 143734 w 258538"/>
                  <a:gd name="connsiteY0" fmla="*/ 93393 h 347300"/>
                  <a:gd name="connsiteX1" fmla="*/ 68894 w 258538"/>
                  <a:gd name="connsiteY1" fmla="*/ 129755 h 347300"/>
                  <a:gd name="connsiteX2" fmla="*/ 68894 w 258538"/>
                  <a:gd name="connsiteY2" fmla="*/ 6489 h 347300"/>
                  <a:gd name="connsiteX3" fmla="*/ 62405 w 258538"/>
                  <a:gd name="connsiteY3" fmla="*/ 0 h 347300"/>
                  <a:gd name="connsiteX4" fmla="*/ 6489 w 258538"/>
                  <a:gd name="connsiteY4" fmla="*/ 0 h 347300"/>
                  <a:gd name="connsiteX5" fmla="*/ 0 w 258538"/>
                  <a:gd name="connsiteY5" fmla="*/ 6489 h 347300"/>
                  <a:gd name="connsiteX6" fmla="*/ 0 w 258538"/>
                  <a:gd name="connsiteY6" fmla="*/ 335894 h 347300"/>
                  <a:gd name="connsiteX7" fmla="*/ 6489 w 258538"/>
                  <a:gd name="connsiteY7" fmla="*/ 342383 h 347300"/>
                  <a:gd name="connsiteX8" fmla="*/ 62405 w 258538"/>
                  <a:gd name="connsiteY8" fmla="*/ 342383 h 347300"/>
                  <a:gd name="connsiteX9" fmla="*/ 68894 w 258538"/>
                  <a:gd name="connsiteY9" fmla="*/ 335894 h 347300"/>
                  <a:gd name="connsiteX10" fmla="*/ 68894 w 258538"/>
                  <a:gd name="connsiteY10" fmla="*/ 311624 h 347300"/>
                  <a:gd name="connsiteX11" fmla="*/ 144249 w 258538"/>
                  <a:gd name="connsiteY11" fmla="*/ 347300 h 347300"/>
                  <a:gd name="connsiteX12" fmla="*/ 258539 w 258538"/>
                  <a:gd name="connsiteY12" fmla="*/ 220689 h 347300"/>
                  <a:gd name="connsiteX13" fmla="*/ 143763 w 258538"/>
                  <a:gd name="connsiteY13" fmla="*/ 93393 h 347300"/>
                  <a:gd name="connsiteX14" fmla="*/ 130041 w 258538"/>
                  <a:gd name="connsiteY14" fmla="*/ 282637 h 347300"/>
                  <a:gd name="connsiteX15" fmla="*/ 68894 w 258538"/>
                  <a:gd name="connsiteY15" fmla="*/ 220718 h 347300"/>
                  <a:gd name="connsiteX16" fmla="*/ 130041 w 258538"/>
                  <a:gd name="connsiteY16" fmla="*/ 159285 h 347300"/>
                  <a:gd name="connsiteX17" fmla="*/ 190216 w 258538"/>
                  <a:gd name="connsiteY17" fmla="*/ 220718 h 347300"/>
                  <a:gd name="connsiteX18" fmla="*/ 130041 w 258538"/>
                  <a:gd name="connsiteY18" fmla="*/ 282637 h 347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8538" h="347300">
                    <a:moveTo>
                      <a:pt x="143734" y="93393"/>
                    </a:moveTo>
                    <a:cubicBezTo>
                      <a:pt x="111946" y="93393"/>
                      <a:pt x="85503" y="107172"/>
                      <a:pt x="68894" y="129755"/>
                    </a:cubicBezTo>
                    <a:lnTo>
                      <a:pt x="68894" y="6489"/>
                    </a:lnTo>
                    <a:cubicBezTo>
                      <a:pt x="68894" y="2916"/>
                      <a:pt x="65978" y="0"/>
                      <a:pt x="62405" y="0"/>
                    </a:cubicBezTo>
                    <a:lnTo>
                      <a:pt x="6489" y="0"/>
                    </a:lnTo>
                    <a:cubicBezTo>
                      <a:pt x="2916" y="0"/>
                      <a:pt x="0" y="2916"/>
                      <a:pt x="0" y="6489"/>
                    </a:cubicBezTo>
                    <a:lnTo>
                      <a:pt x="0" y="335894"/>
                    </a:lnTo>
                    <a:cubicBezTo>
                      <a:pt x="0" y="339467"/>
                      <a:pt x="2916" y="342383"/>
                      <a:pt x="6489" y="342383"/>
                    </a:cubicBezTo>
                    <a:lnTo>
                      <a:pt x="62405" y="342383"/>
                    </a:lnTo>
                    <a:cubicBezTo>
                      <a:pt x="65978" y="342383"/>
                      <a:pt x="68894" y="339467"/>
                      <a:pt x="68894" y="335894"/>
                    </a:cubicBezTo>
                    <a:lnTo>
                      <a:pt x="68894" y="311624"/>
                    </a:lnTo>
                    <a:cubicBezTo>
                      <a:pt x="85532" y="334236"/>
                      <a:pt x="111946" y="347300"/>
                      <a:pt x="144249" y="347300"/>
                    </a:cubicBezTo>
                    <a:cubicBezTo>
                      <a:pt x="212257" y="347300"/>
                      <a:pt x="258539" y="292442"/>
                      <a:pt x="258539" y="220689"/>
                    </a:cubicBezTo>
                    <a:cubicBezTo>
                      <a:pt x="258539" y="148937"/>
                      <a:pt x="212257" y="93393"/>
                      <a:pt x="143763" y="93393"/>
                    </a:cubicBezTo>
                    <a:close/>
                    <a:moveTo>
                      <a:pt x="130041" y="282637"/>
                    </a:moveTo>
                    <a:cubicBezTo>
                      <a:pt x="94822" y="282637"/>
                      <a:pt x="68894" y="254136"/>
                      <a:pt x="68894" y="220718"/>
                    </a:cubicBezTo>
                    <a:cubicBezTo>
                      <a:pt x="68894" y="187300"/>
                      <a:pt x="94822" y="159285"/>
                      <a:pt x="130041" y="159285"/>
                    </a:cubicBezTo>
                    <a:cubicBezTo>
                      <a:pt x="165260" y="159285"/>
                      <a:pt x="190216" y="187300"/>
                      <a:pt x="190216" y="220718"/>
                    </a:cubicBezTo>
                    <a:cubicBezTo>
                      <a:pt x="190216" y="254136"/>
                      <a:pt x="164774" y="282637"/>
                      <a:pt x="130041" y="282637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10649762-403A-AAC2-9701-060C6107C5B8}"/>
                  </a:ext>
                </a:extLst>
              </p:cNvPr>
              <p:cNvSpPr/>
              <p:nvPr/>
            </p:nvSpPr>
            <p:spPr>
              <a:xfrm>
                <a:off x="9736922" y="3105088"/>
                <a:ext cx="251792" cy="253935"/>
              </a:xfrm>
              <a:custGeom>
                <a:avLst/>
                <a:gdLst>
                  <a:gd name="connsiteX0" fmla="*/ 125896 w 251792"/>
                  <a:gd name="connsiteY0" fmla="*/ 0 h 253935"/>
                  <a:gd name="connsiteX1" fmla="*/ 0 w 251792"/>
                  <a:gd name="connsiteY1" fmla="*/ 126725 h 253935"/>
                  <a:gd name="connsiteX2" fmla="*/ 125896 w 251792"/>
                  <a:gd name="connsiteY2" fmla="*/ 253936 h 253935"/>
                  <a:gd name="connsiteX3" fmla="*/ 251792 w 251792"/>
                  <a:gd name="connsiteY3" fmla="*/ 126725 h 253935"/>
                  <a:gd name="connsiteX4" fmla="*/ 125896 w 251792"/>
                  <a:gd name="connsiteY4" fmla="*/ 0 h 253935"/>
                  <a:gd name="connsiteX5" fmla="*/ 126153 w 251792"/>
                  <a:gd name="connsiteY5" fmla="*/ 188558 h 253935"/>
                  <a:gd name="connsiteX6" fmla="*/ 65378 w 251792"/>
                  <a:gd name="connsiteY6" fmla="*/ 126725 h 253935"/>
                  <a:gd name="connsiteX7" fmla="*/ 126153 w 251792"/>
                  <a:gd name="connsiteY7" fmla="*/ 65378 h 253935"/>
                  <a:gd name="connsiteX8" fmla="*/ 186443 w 251792"/>
                  <a:gd name="connsiteY8" fmla="*/ 126725 h 253935"/>
                  <a:gd name="connsiteX9" fmla="*/ 126153 w 251792"/>
                  <a:gd name="connsiteY9" fmla="*/ 188558 h 253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1792" h="253935">
                    <a:moveTo>
                      <a:pt x="125896" y="0"/>
                    </a:moveTo>
                    <a:cubicBezTo>
                      <a:pt x="54944" y="0"/>
                      <a:pt x="0" y="55287"/>
                      <a:pt x="0" y="126725"/>
                    </a:cubicBezTo>
                    <a:cubicBezTo>
                      <a:pt x="0" y="198163"/>
                      <a:pt x="54915" y="253936"/>
                      <a:pt x="125896" y="253936"/>
                    </a:cubicBezTo>
                    <a:cubicBezTo>
                      <a:pt x="196877" y="253936"/>
                      <a:pt x="251792" y="198163"/>
                      <a:pt x="251792" y="126725"/>
                    </a:cubicBezTo>
                    <a:cubicBezTo>
                      <a:pt x="251792" y="55287"/>
                      <a:pt x="196877" y="0"/>
                      <a:pt x="125896" y="0"/>
                    </a:cubicBezTo>
                    <a:close/>
                    <a:moveTo>
                      <a:pt x="126153" y="188558"/>
                    </a:moveTo>
                    <a:cubicBezTo>
                      <a:pt x="91506" y="188558"/>
                      <a:pt x="65378" y="160314"/>
                      <a:pt x="65378" y="126725"/>
                    </a:cubicBezTo>
                    <a:cubicBezTo>
                      <a:pt x="65378" y="93136"/>
                      <a:pt x="91506" y="65378"/>
                      <a:pt x="126153" y="65378"/>
                    </a:cubicBezTo>
                    <a:cubicBezTo>
                      <a:pt x="160801" y="65378"/>
                      <a:pt x="186443" y="93136"/>
                      <a:pt x="186443" y="126725"/>
                    </a:cubicBezTo>
                    <a:cubicBezTo>
                      <a:pt x="186443" y="160314"/>
                      <a:pt x="161315" y="188558"/>
                      <a:pt x="126153" y="188558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FDD55C2F-D3C4-D4B4-EF67-C859EFBE4FC8}"/>
                  </a:ext>
                </a:extLst>
              </p:cNvPr>
              <p:cNvSpPr/>
              <p:nvPr/>
            </p:nvSpPr>
            <p:spPr>
              <a:xfrm>
                <a:off x="10370776" y="3105088"/>
                <a:ext cx="251792" cy="253935"/>
              </a:xfrm>
              <a:custGeom>
                <a:avLst/>
                <a:gdLst>
                  <a:gd name="connsiteX0" fmla="*/ 125896 w 251792"/>
                  <a:gd name="connsiteY0" fmla="*/ 0 h 253935"/>
                  <a:gd name="connsiteX1" fmla="*/ 0 w 251792"/>
                  <a:gd name="connsiteY1" fmla="*/ 126725 h 253935"/>
                  <a:gd name="connsiteX2" fmla="*/ 125896 w 251792"/>
                  <a:gd name="connsiteY2" fmla="*/ 253936 h 253935"/>
                  <a:gd name="connsiteX3" fmla="*/ 251792 w 251792"/>
                  <a:gd name="connsiteY3" fmla="*/ 126725 h 253935"/>
                  <a:gd name="connsiteX4" fmla="*/ 125896 w 251792"/>
                  <a:gd name="connsiteY4" fmla="*/ 0 h 253935"/>
                  <a:gd name="connsiteX5" fmla="*/ 126153 w 251792"/>
                  <a:gd name="connsiteY5" fmla="*/ 188558 h 253935"/>
                  <a:gd name="connsiteX6" fmla="*/ 65378 w 251792"/>
                  <a:gd name="connsiteY6" fmla="*/ 126725 h 253935"/>
                  <a:gd name="connsiteX7" fmla="*/ 126153 w 251792"/>
                  <a:gd name="connsiteY7" fmla="*/ 65378 h 253935"/>
                  <a:gd name="connsiteX8" fmla="*/ 186443 w 251792"/>
                  <a:gd name="connsiteY8" fmla="*/ 126725 h 253935"/>
                  <a:gd name="connsiteX9" fmla="*/ 126153 w 251792"/>
                  <a:gd name="connsiteY9" fmla="*/ 188558 h 253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1792" h="253935">
                    <a:moveTo>
                      <a:pt x="125896" y="0"/>
                    </a:moveTo>
                    <a:cubicBezTo>
                      <a:pt x="54944" y="0"/>
                      <a:pt x="0" y="55287"/>
                      <a:pt x="0" y="126725"/>
                    </a:cubicBezTo>
                    <a:cubicBezTo>
                      <a:pt x="0" y="198163"/>
                      <a:pt x="54915" y="253936"/>
                      <a:pt x="125896" y="253936"/>
                    </a:cubicBezTo>
                    <a:cubicBezTo>
                      <a:pt x="196877" y="253936"/>
                      <a:pt x="251792" y="198163"/>
                      <a:pt x="251792" y="126725"/>
                    </a:cubicBezTo>
                    <a:cubicBezTo>
                      <a:pt x="251792" y="55287"/>
                      <a:pt x="196877" y="0"/>
                      <a:pt x="125896" y="0"/>
                    </a:cubicBezTo>
                    <a:close/>
                    <a:moveTo>
                      <a:pt x="126153" y="188558"/>
                    </a:moveTo>
                    <a:cubicBezTo>
                      <a:pt x="91506" y="188558"/>
                      <a:pt x="65378" y="160314"/>
                      <a:pt x="65378" y="126725"/>
                    </a:cubicBezTo>
                    <a:cubicBezTo>
                      <a:pt x="65378" y="93136"/>
                      <a:pt x="91506" y="65378"/>
                      <a:pt x="126153" y="65378"/>
                    </a:cubicBezTo>
                    <a:cubicBezTo>
                      <a:pt x="160801" y="65378"/>
                      <a:pt x="186443" y="93136"/>
                      <a:pt x="186443" y="126725"/>
                    </a:cubicBezTo>
                    <a:cubicBezTo>
                      <a:pt x="186443" y="160314"/>
                      <a:pt x="161315" y="188558"/>
                      <a:pt x="126153" y="188558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8BCE8A73-0DF3-C2D1-5D2D-99A60A4023B0}"/>
                  </a:ext>
                </a:extLst>
              </p:cNvPr>
              <p:cNvSpPr/>
              <p:nvPr/>
            </p:nvSpPr>
            <p:spPr>
              <a:xfrm>
                <a:off x="9242171" y="3110092"/>
                <a:ext cx="68865" cy="243987"/>
              </a:xfrm>
              <a:custGeom>
                <a:avLst/>
                <a:gdLst>
                  <a:gd name="connsiteX0" fmla="*/ 62405 w 68865"/>
                  <a:gd name="connsiteY0" fmla="*/ 243987 h 243987"/>
                  <a:gd name="connsiteX1" fmla="*/ 6489 w 68865"/>
                  <a:gd name="connsiteY1" fmla="*/ 243987 h 243987"/>
                  <a:gd name="connsiteX2" fmla="*/ 0 w 68865"/>
                  <a:gd name="connsiteY2" fmla="*/ 237498 h 243987"/>
                  <a:gd name="connsiteX3" fmla="*/ 0 w 68865"/>
                  <a:gd name="connsiteY3" fmla="*/ 63891 h 243987"/>
                  <a:gd name="connsiteX4" fmla="*/ 3888 w 68865"/>
                  <a:gd name="connsiteY4" fmla="*/ 54629 h 243987"/>
                  <a:gd name="connsiteX5" fmla="*/ 57860 w 68865"/>
                  <a:gd name="connsiteY5" fmla="*/ 1858 h 243987"/>
                  <a:gd name="connsiteX6" fmla="*/ 68866 w 68865"/>
                  <a:gd name="connsiteY6" fmla="*/ 6489 h 243987"/>
                  <a:gd name="connsiteX7" fmla="*/ 68866 w 68865"/>
                  <a:gd name="connsiteY7" fmla="*/ 237498 h 243987"/>
                  <a:gd name="connsiteX8" fmla="*/ 62376 w 68865"/>
                  <a:gd name="connsiteY8" fmla="*/ 243987 h 243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8865" h="243987">
                    <a:moveTo>
                      <a:pt x="62405" y="243987"/>
                    </a:moveTo>
                    <a:lnTo>
                      <a:pt x="6489" y="243987"/>
                    </a:lnTo>
                    <a:cubicBezTo>
                      <a:pt x="2916" y="243987"/>
                      <a:pt x="0" y="241071"/>
                      <a:pt x="0" y="237498"/>
                    </a:cubicBezTo>
                    <a:lnTo>
                      <a:pt x="0" y="63891"/>
                    </a:lnTo>
                    <a:cubicBezTo>
                      <a:pt x="0" y="60403"/>
                      <a:pt x="1401" y="57059"/>
                      <a:pt x="3888" y="54629"/>
                    </a:cubicBezTo>
                    <a:lnTo>
                      <a:pt x="57860" y="1858"/>
                    </a:lnTo>
                    <a:cubicBezTo>
                      <a:pt x="61976" y="-2144"/>
                      <a:pt x="68866" y="743"/>
                      <a:pt x="68866" y="6489"/>
                    </a:cubicBezTo>
                    <a:lnTo>
                      <a:pt x="68866" y="237498"/>
                    </a:lnTo>
                    <a:cubicBezTo>
                      <a:pt x="68866" y="241071"/>
                      <a:pt x="65950" y="243987"/>
                      <a:pt x="62376" y="243987"/>
                    </a:cubicBez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C4068E8A-2C58-15D1-F5B9-20341075D7F5}"/>
                  </a:ext>
                </a:extLst>
              </p:cNvPr>
              <p:cNvSpPr/>
              <p:nvPr/>
            </p:nvSpPr>
            <p:spPr>
              <a:xfrm>
                <a:off x="9347255" y="3105025"/>
                <a:ext cx="224777" cy="249082"/>
              </a:xfrm>
              <a:custGeom>
                <a:avLst/>
                <a:gdLst>
                  <a:gd name="connsiteX0" fmla="*/ 224749 w 224777"/>
                  <a:gd name="connsiteY0" fmla="*/ 87568 h 249082"/>
                  <a:gd name="connsiteX1" fmla="*/ 136416 w 224777"/>
                  <a:gd name="connsiteY1" fmla="*/ 6 h 249082"/>
                  <a:gd name="connsiteX2" fmla="*/ 68894 w 224777"/>
                  <a:gd name="connsiteY2" fmla="*/ 36540 h 249082"/>
                  <a:gd name="connsiteX3" fmla="*/ 68894 w 224777"/>
                  <a:gd name="connsiteY3" fmla="*/ 11670 h 249082"/>
                  <a:gd name="connsiteX4" fmla="*/ 62405 w 224777"/>
                  <a:gd name="connsiteY4" fmla="*/ 5181 h 249082"/>
                  <a:gd name="connsiteX5" fmla="*/ 6489 w 224777"/>
                  <a:gd name="connsiteY5" fmla="*/ 5181 h 249082"/>
                  <a:gd name="connsiteX6" fmla="*/ 0 w 224777"/>
                  <a:gd name="connsiteY6" fmla="*/ 11670 h 249082"/>
                  <a:gd name="connsiteX7" fmla="*/ 0 w 224777"/>
                  <a:gd name="connsiteY7" fmla="*/ 242565 h 249082"/>
                  <a:gd name="connsiteX8" fmla="*/ 6489 w 224777"/>
                  <a:gd name="connsiteY8" fmla="*/ 249054 h 249082"/>
                  <a:gd name="connsiteX9" fmla="*/ 62405 w 224777"/>
                  <a:gd name="connsiteY9" fmla="*/ 249054 h 249082"/>
                  <a:gd name="connsiteX10" fmla="*/ 68894 w 224777"/>
                  <a:gd name="connsiteY10" fmla="*/ 242565 h 249082"/>
                  <a:gd name="connsiteX11" fmla="*/ 68894 w 224777"/>
                  <a:gd name="connsiteY11" fmla="*/ 108293 h 249082"/>
                  <a:gd name="connsiteX12" fmla="*/ 112375 w 224777"/>
                  <a:gd name="connsiteY12" fmla="*/ 66385 h 249082"/>
                  <a:gd name="connsiteX13" fmla="*/ 155884 w 224777"/>
                  <a:gd name="connsiteY13" fmla="*/ 111266 h 249082"/>
                  <a:gd name="connsiteX14" fmla="*/ 155884 w 224777"/>
                  <a:gd name="connsiteY14" fmla="*/ 242593 h 249082"/>
                  <a:gd name="connsiteX15" fmla="*/ 162373 w 224777"/>
                  <a:gd name="connsiteY15" fmla="*/ 249083 h 249082"/>
                  <a:gd name="connsiteX16" fmla="*/ 218289 w 224777"/>
                  <a:gd name="connsiteY16" fmla="*/ 249083 h 249082"/>
                  <a:gd name="connsiteX17" fmla="*/ 224778 w 224777"/>
                  <a:gd name="connsiteY17" fmla="*/ 242593 h 249082"/>
                  <a:gd name="connsiteX18" fmla="*/ 224778 w 224777"/>
                  <a:gd name="connsiteY18" fmla="*/ 87596 h 249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4777" h="249082">
                    <a:moveTo>
                      <a:pt x="224749" y="87568"/>
                    </a:moveTo>
                    <a:cubicBezTo>
                      <a:pt x="224749" y="40257"/>
                      <a:pt x="185671" y="578"/>
                      <a:pt x="136416" y="6"/>
                    </a:cubicBezTo>
                    <a:cubicBezTo>
                      <a:pt x="104370" y="-365"/>
                      <a:pt x="82730" y="15329"/>
                      <a:pt x="68894" y="36540"/>
                    </a:cubicBezTo>
                    <a:lnTo>
                      <a:pt x="68894" y="11670"/>
                    </a:lnTo>
                    <a:cubicBezTo>
                      <a:pt x="68894" y="8097"/>
                      <a:pt x="65978" y="5181"/>
                      <a:pt x="62405" y="5181"/>
                    </a:cubicBezTo>
                    <a:lnTo>
                      <a:pt x="6489" y="5181"/>
                    </a:lnTo>
                    <a:cubicBezTo>
                      <a:pt x="2916" y="5181"/>
                      <a:pt x="0" y="8097"/>
                      <a:pt x="0" y="11670"/>
                    </a:cubicBezTo>
                    <a:lnTo>
                      <a:pt x="0" y="242565"/>
                    </a:lnTo>
                    <a:cubicBezTo>
                      <a:pt x="0" y="246138"/>
                      <a:pt x="2916" y="249054"/>
                      <a:pt x="6489" y="249054"/>
                    </a:cubicBezTo>
                    <a:lnTo>
                      <a:pt x="62405" y="249054"/>
                    </a:lnTo>
                    <a:cubicBezTo>
                      <a:pt x="65978" y="249054"/>
                      <a:pt x="68894" y="246138"/>
                      <a:pt x="68894" y="242565"/>
                    </a:cubicBezTo>
                    <a:lnTo>
                      <a:pt x="68894" y="108293"/>
                    </a:lnTo>
                    <a:cubicBezTo>
                      <a:pt x="70438" y="82451"/>
                      <a:pt x="86818" y="66385"/>
                      <a:pt x="112375" y="66385"/>
                    </a:cubicBezTo>
                    <a:cubicBezTo>
                      <a:pt x="137931" y="66385"/>
                      <a:pt x="155884" y="84423"/>
                      <a:pt x="155884" y="111266"/>
                    </a:cubicBezTo>
                    <a:lnTo>
                      <a:pt x="155884" y="242593"/>
                    </a:lnTo>
                    <a:cubicBezTo>
                      <a:pt x="155884" y="246167"/>
                      <a:pt x="158800" y="249083"/>
                      <a:pt x="162373" y="249083"/>
                    </a:cubicBezTo>
                    <a:lnTo>
                      <a:pt x="218289" y="249083"/>
                    </a:lnTo>
                    <a:cubicBezTo>
                      <a:pt x="221862" y="249083"/>
                      <a:pt x="224778" y="246167"/>
                      <a:pt x="224778" y="242593"/>
                    </a:cubicBezTo>
                    <a:lnTo>
                      <a:pt x="224778" y="87596"/>
                    </a:lnTo>
                    <a:close/>
                  </a:path>
                </a:pathLst>
              </a:custGeom>
              <a:grpFill/>
              <a:ln w="28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 dirty="0">
                  <a:latin typeface="Lato" panose="020F0502020204030203" pitchFamily="34" charset="77"/>
                </a:endParaRPr>
              </a:p>
            </p:txBody>
          </p:sp>
        </p:grp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EBFECF68-B5B8-1B9C-DE35-48DD5048CDE9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569282" y="3812577"/>
            <a:ext cx="10332720" cy="27432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46D5D207-FB28-A65F-BF65-10F22C1CC9CF}"/>
              </a:ext>
            </a:extLst>
          </p:cNvPr>
          <p:cNvSpPr/>
          <p:nvPr userDrawn="1"/>
        </p:nvSpPr>
        <p:spPr>
          <a:xfrm>
            <a:off x="42929" y="6364224"/>
            <a:ext cx="493776" cy="493776"/>
          </a:xfrm>
          <a:prstGeom prst="ellipse">
            <a:avLst/>
          </a:prstGeom>
          <a:solidFill>
            <a:srgbClr val="D9E1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rgbClr val="10182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0072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oogle Shape;987;g22cb0be31a4_6_52">
            <a:extLst>
              <a:ext uri="{FF2B5EF4-FFF2-40B4-BE49-F238E27FC236}">
                <a16:creationId xmlns:a16="http://schemas.microsoft.com/office/drawing/2014/main" id="{4DE2FA32-4BDF-907B-19AD-7217FA4CE420}"/>
              </a:ext>
            </a:extLst>
          </p:cNvPr>
          <p:cNvGrpSpPr/>
          <p:nvPr userDrawn="1"/>
        </p:nvGrpSpPr>
        <p:grpSpPr>
          <a:xfrm>
            <a:off x="11122821" y="6466206"/>
            <a:ext cx="799629" cy="172367"/>
            <a:chOff x="11122821" y="6466206"/>
            <a:chExt cx="799629" cy="172367"/>
          </a:xfrm>
        </p:grpSpPr>
        <p:sp>
          <p:nvSpPr>
            <p:cNvPr id="5" name="Google Shape;988;g22cb0be31a4_6_52">
              <a:extLst>
                <a:ext uri="{FF2B5EF4-FFF2-40B4-BE49-F238E27FC236}">
                  <a16:creationId xmlns:a16="http://schemas.microsoft.com/office/drawing/2014/main" id="{B2CA3A27-3EF5-9B90-B4F4-41C44D6569FF}"/>
                </a:ext>
              </a:extLst>
            </p:cNvPr>
            <p:cNvSpPr/>
            <p:nvPr/>
          </p:nvSpPr>
          <p:spPr>
            <a:xfrm rot="-2700000">
              <a:off x="11134957" y="6473485"/>
              <a:ext cx="35147" cy="35147"/>
            </a:xfrm>
            <a:custGeom>
              <a:avLst/>
              <a:gdLst/>
              <a:ahLst/>
              <a:cxnLst/>
              <a:rect l="l" t="t" r="r" b="b"/>
              <a:pathLst>
                <a:path w="35147" h="35147" extrusionOk="0">
                  <a:moveTo>
                    <a:pt x="32044" y="0"/>
                  </a:moveTo>
                  <a:cubicBezTo>
                    <a:pt x="33758" y="0"/>
                    <a:pt x="35148" y="1389"/>
                    <a:pt x="35148" y="3103"/>
                  </a:cubicBezTo>
                  <a:lnTo>
                    <a:pt x="35148" y="32044"/>
                  </a:lnTo>
                  <a:cubicBezTo>
                    <a:pt x="35148" y="33758"/>
                    <a:pt x="33758" y="35148"/>
                    <a:pt x="32044" y="35148"/>
                  </a:cubicBezTo>
                  <a:lnTo>
                    <a:pt x="3103" y="35148"/>
                  </a:lnTo>
                  <a:cubicBezTo>
                    <a:pt x="1389" y="35148"/>
                    <a:pt x="0" y="33758"/>
                    <a:pt x="0" y="32044"/>
                  </a:cubicBezTo>
                  <a:lnTo>
                    <a:pt x="0" y="3103"/>
                  </a:lnTo>
                  <a:cubicBezTo>
                    <a:pt x="0" y="1389"/>
                    <a:pt x="1389" y="0"/>
                    <a:pt x="3103" y="0"/>
                  </a:cubicBezTo>
                  <a:close/>
                </a:path>
              </a:pathLst>
            </a:custGeom>
            <a:solidFill>
              <a:srgbClr val="00B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Lato Light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Calibri"/>
              </a:endParaRPr>
            </a:p>
          </p:txBody>
        </p:sp>
        <p:grpSp>
          <p:nvGrpSpPr>
            <p:cNvPr id="6" name="Google Shape;989;g22cb0be31a4_6_52">
              <a:extLst>
                <a:ext uri="{FF2B5EF4-FFF2-40B4-BE49-F238E27FC236}">
                  <a16:creationId xmlns:a16="http://schemas.microsoft.com/office/drawing/2014/main" id="{8DAC5303-7ED7-33A6-0CD6-254E7A6A7961}"/>
                </a:ext>
              </a:extLst>
            </p:cNvPr>
            <p:cNvGrpSpPr/>
            <p:nvPr/>
          </p:nvGrpSpPr>
          <p:grpSpPr>
            <a:xfrm>
              <a:off x="11122821" y="6472473"/>
              <a:ext cx="799629" cy="166100"/>
              <a:chOff x="11122821" y="6472473"/>
              <a:chExt cx="799629" cy="166100"/>
            </a:xfrm>
          </p:grpSpPr>
          <p:sp>
            <p:nvSpPr>
              <p:cNvPr id="7" name="Google Shape;990;g22cb0be31a4_6_52">
                <a:extLst>
                  <a:ext uri="{FF2B5EF4-FFF2-40B4-BE49-F238E27FC236}">
                    <a16:creationId xmlns:a16="http://schemas.microsoft.com/office/drawing/2014/main" id="{16B50947-AA17-A454-AF26-87CBF998C35A}"/>
                  </a:ext>
                </a:extLst>
              </p:cNvPr>
              <p:cNvSpPr/>
              <p:nvPr/>
            </p:nvSpPr>
            <p:spPr>
              <a:xfrm>
                <a:off x="11774281" y="6519597"/>
                <a:ext cx="119385" cy="116611"/>
              </a:xfrm>
              <a:custGeom>
                <a:avLst/>
                <a:gdLst/>
                <a:ahLst/>
                <a:cxnLst/>
                <a:rect l="l" t="t" r="r" b="b"/>
                <a:pathLst>
                  <a:path w="119385" h="116611" extrusionOk="0">
                    <a:moveTo>
                      <a:pt x="82523" y="58306"/>
                    </a:moveTo>
                    <a:lnTo>
                      <a:pt x="118887" y="112265"/>
                    </a:lnTo>
                    <a:cubicBezTo>
                      <a:pt x="120199" y="114124"/>
                      <a:pt x="118764" y="116612"/>
                      <a:pt x="116385" y="116612"/>
                    </a:cubicBezTo>
                    <a:lnTo>
                      <a:pt x="85831" y="116612"/>
                    </a:lnTo>
                    <a:cubicBezTo>
                      <a:pt x="83794" y="116612"/>
                      <a:pt x="81880" y="115600"/>
                      <a:pt x="80718" y="113919"/>
                    </a:cubicBezTo>
                    <a:lnTo>
                      <a:pt x="59693" y="81751"/>
                    </a:lnTo>
                    <a:lnTo>
                      <a:pt x="38667" y="113919"/>
                    </a:lnTo>
                    <a:cubicBezTo>
                      <a:pt x="37505" y="115600"/>
                      <a:pt x="35605" y="116612"/>
                      <a:pt x="33554" y="116612"/>
                    </a:cubicBezTo>
                    <a:lnTo>
                      <a:pt x="3000" y="116612"/>
                    </a:lnTo>
                    <a:cubicBezTo>
                      <a:pt x="621" y="116612"/>
                      <a:pt x="-814" y="114138"/>
                      <a:pt x="498" y="112265"/>
                    </a:cubicBezTo>
                    <a:lnTo>
                      <a:pt x="36753" y="58306"/>
                    </a:lnTo>
                    <a:lnTo>
                      <a:pt x="498" y="4347"/>
                    </a:lnTo>
                    <a:cubicBezTo>
                      <a:pt x="-814" y="2488"/>
                      <a:pt x="621" y="0"/>
                      <a:pt x="3000" y="0"/>
                    </a:cubicBezTo>
                    <a:lnTo>
                      <a:pt x="34853" y="0"/>
                    </a:lnTo>
                    <a:cubicBezTo>
                      <a:pt x="36042" y="0"/>
                      <a:pt x="37149" y="547"/>
                      <a:pt x="37778" y="1449"/>
                    </a:cubicBezTo>
                    <a:lnTo>
                      <a:pt x="59679" y="34806"/>
                    </a:lnTo>
                    <a:lnTo>
                      <a:pt x="80240" y="1463"/>
                    </a:lnTo>
                    <a:cubicBezTo>
                      <a:pt x="80855" y="561"/>
                      <a:pt x="81976" y="0"/>
                      <a:pt x="83165" y="0"/>
                    </a:cubicBezTo>
                    <a:lnTo>
                      <a:pt x="115333" y="0"/>
                    </a:lnTo>
                    <a:cubicBezTo>
                      <a:pt x="117711" y="0"/>
                      <a:pt x="119133" y="2474"/>
                      <a:pt x="117834" y="4334"/>
                    </a:cubicBezTo>
                    <a:lnTo>
                      <a:pt x="82495" y="5830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8" name="Google Shape;991;g22cb0be31a4_6_52">
                <a:extLst>
                  <a:ext uri="{FF2B5EF4-FFF2-40B4-BE49-F238E27FC236}">
                    <a16:creationId xmlns:a16="http://schemas.microsoft.com/office/drawing/2014/main" id="{C16BBA94-DC9E-7F21-1A44-2C9FB85B8EA7}"/>
                  </a:ext>
                </a:extLst>
              </p:cNvPr>
              <p:cNvSpPr/>
              <p:nvPr/>
            </p:nvSpPr>
            <p:spPr>
              <a:xfrm>
                <a:off x="11284928" y="6472473"/>
                <a:ext cx="78825" cy="163762"/>
              </a:xfrm>
              <a:custGeom>
                <a:avLst/>
                <a:gdLst/>
                <a:ahLst/>
                <a:cxnLst/>
                <a:rect l="l" t="t" r="r" b="b"/>
                <a:pathLst>
                  <a:path w="78825" h="163762" extrusionOk="0">
                    <a:moveTo>
                      <a:pt x="75722" y="14"/>
                    </a:moveTo>
                    <a:lnTo>
                      <a:pt x="50377" y="14"/>
                    </a:lnTo>
                    <a:cubicBezTo>
                      <a:pt x="47916" y="14"/>
                      <a:pt x="45551" y="998"/>
                      <a:pt x="43801" y="2734"/>
                    </a:cubicBezTo>
                    <a:lnTo>
                      <a:pt x="19987" y="26549"/>
                    </a:lnTo>
                    <a:cubicBezTo>
                      <a:pt x="18237" y="28299"/>
                      <a:pt x="17266" y="30664"/>
                      <a:pt x="17266" y="33124"/>
                    </a:cubicBezTo>
                    <a:lnTo>
                      <a:pt x="17266" y="51867"/>
                    </a:lnTo>
                    <a:lnTo>
                      <a:pt x="3049" y="51867"/>
                    </a:lnTo>
                    <a:cubicBezTo>
                      <a:pt x="1367" y="51867"/>
                      <a:pt x="0" y="53234"/>
                      <a:pt x="0" y="54916"/>
                    </a:cubicBezTo>
                    <a:lnTo>
                      <a:pt x="0" y="75955"/>
                    </a:lnTo>
                    <a:cubicBezTo>
                      <a:pt x="0" y="77636"/>
                      <a:pt x="1367" y="79004"/>
                      <a:pt x="3049" y="79004"/>
                    </a:cubicBezTo>
                    <a:lnTo>
                      <a:pt x="17266" y="79004"/>
                    </a:lnTo>
                    <a:lnTo>
                      <a:pt x="17266" y="160659"/>
                    </a:lnTo>
                    <a:cubicBezTo>
                      <a:pt x="17266" y="162368"/>
                      <a:pt x="18661" y="163763"/>
                      <a:pt x="20369" y="163763"/>
                    </a:cubicBezTo>
                    <a:lnTo>
                      <a:pt x="47109" y="163763"/>
                    </a:lnTo>
                    <a:cubicBezTo>
                      <a:pt x="48818" y="163763"/>
                      <a:pt x="50213" y="162368"/>
                      <a:pt x="50213" y="160659"/>
                    </a:cubicBezTo>
                    <a:lnTo>
                      <a:pt x="50213" y="78990"/>
                    </a:lnTo>
                    <a:lnTo>
                      <a:pt x="71443" y="78990"/>
                    </a:lnTo>
                    <a:cubicBezTo>
                      <a:pt x="73125" y="78990"/>
                      <a:pt x="74492" y="77623"/>
                      <a:pt x="74492" y="75941"/>
                    </a:cubicBezTo>
                    <a:lnTo>
                      <a:pt x="74492" y="54902"/>
                    </a:lnTo>
                    <a:cubicBezTo>
                      <a:pt x="74492" y="53220"/>
                      <a:pt x="73125" y="51853"/>
                      <a:pt x="71443" y="51853"/>
                    </a:cubicBezTo>
                    <a:lnTo>
                      <a:pt x="50213" y="51853"/>
                    </a:lnTo>
                    <a:lnTo>
                      <a:pt x="50213" y="38565"/>
                    </a:lnTo>
                    <a:cubicBezTo>
                      <a:pt x="50213" y="33425"/>
                      <a:pt x="54382" y="29269"/>
                      <a:pt x="59509" y="29269"/>
                    </a:cubicBezTo>
                    <a:lnTo>
                      <a:pt x="75722" y="29269"/>
                    </a:lnTo>
                    <a:cubicBezTo>
                      <a:pt x="77431" y="29269"/>
                      <a:pt x="78826" y="27875"/>
                      <a:pt x="78826" y="26166"/>
                    </a:cubicBezTo>
                    <a:lnTo>
                      <a:pt x="78826" y="3103"/>
                    </a:lnTo>
                    <a:cubicBezTo>
                      <a:pt x="78826" y="1394"/>
                      <a:pt x="77431" y="0"/>
                      <a:pt x="75722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9" name="Google Shape;992;g22cb0be31a4_6_52">
                <a:extLst>
                  <a:ext uri="{FF2B5EF4-FFF2-40B4-BE49-F238E27FC236}">
                    <a16:creationId xmlns:a16="http://schemas.microsoft.com/office/drawing/2014/main" id="{8941B8E6-F38C-9DC2-10D2-C236132A20A3}"/>
                  </a:ext>
                </a:extLst>
              </p:cNvPr>
              <p:cNvSpPr/>
              <p:nvPr/>
            </p:nvSpPr>
            <p:spPr>
              <a:xfrm>
                <a:off x="11896791" y="6612367"/>
                <a:ext cx="25659" cy="25660"/>
              </a:xfrm>
              <a:custGeom>
                <a:avLst/>
                <a:gdLst/>
                <a:ahLst/>
                <a:cxnLst/>
                <a:rect l="l" t="t" r="r" b="b"/>
                <a:pathLst>
                  <a:path w="25659" h="25660" extrusionOk="0">
                    <a:moveTo>
                      <a:pt x="25660" y="12810"/>
                    </a:moveTo>
                    <a:cubicBezTo>
                      <a:pt x="25660" y="19946"/>
                      <a:pt x="19946" y="25660"/>
                      <a:pt x="12782" y="25660"/>
                    </a:cubicBezTo>
                    <a:cubicBezTo>
                      <a:pt x="5619" y="25660"/>
                      <a:pt x="0" y="19891"/>
                      <a:pt x="0" y="12810"/>
                    </a:cubicBezTo>
                    <a:cubicBezTo>
                      <a:pt x="0" y="5728"/>
                      <a:pt x="5714" y="0"/>
                      <a:pt x="12823" y="0"/>
                    </a:cubicBezTo>
                    <a:cubicBezTo>
                      <a:pt x="19932" y="0"/>
                      <a:pt x="25646" y="5687"/>
                      <a:pt x="25646" y="12810"/>
                    </a:cubicBezTo>
                    <a:close/>
                    <a:moveTo>
                      <a:pt x="23691" y="12864"/>
                    </a:moveTo>
                    <a:cubicBezTo>
                      <a:pt x="23691" y="6712"/>
                      <a:pt x="18838" y="1832"/>
                      <a:pt x="12837" y="1832"/>
                    </a:cubicBezTo>
                    <a:cubicBezTo>
                      <a:pt x="6835" y="1832"/>
                      <a:pt x="1982" y="6658"/>
                      <a:pt x="1982" y="12851"/>
                    </a:cubicBezTo>
                    <a:cubicBezTo>
                      <a:pt x="1982" y="19043"/>
                      <a:pt x="6890" y="23856"/>
                      <a:pt x="12782" y="23856"/>
                    </a:cubicBezTo>
                    <a:cubicBezTo>
                      <a:pt x="18674" y="23856"/>
                      <a:pt x="23691" y="19002"/>
                      <a:pt x="23691" y="12864"/>
                    </a:cubicBezTo>
                    <a:close/>
                    <a:moveTo>
                      <a:pt x="15585" y="14888"/>
                    </a:moveTo>
                    <a:lnTo>
                      <a:pt x="18811" y="19905"/>
                    </a:lnTo>
                    <a:lnTo>
                      <a:pt x="16678" y="19905"/>
                    </a:lnTo>
                    <a:lnTo>
                      <a:pt x="13097" y="14218"/>
                    </a:lnTo>
                    <a:lnTo>
                      <a:pt x="9829" y="14218"/>
                    </a:lnTo>
                    <a:lnTo>
                      <a:pt x="9829" y="19905"/>
                    </a:lnTo>
                    <a:lnTo>
                      <a:pt x="8038" y="19905"/>
                    </a:lnTo>
                    <a:lnTo>
                      <a:pt x="8038" y="5523"/>
                    </a:lnTo>
                    <a:lnTo>
                      <a:pt x="13616" y="5523"/>
                    </a:lnTo>
                    <a:cubicBezTo>
                      <a:pt x="16364" y="5523"/>
                      <a:pt x="18155" y="6999"/>
                      <a:pt x="18155" y="9761"/>
                    </a:cubicBezTo>
                    <a:cubicBezTo>
                      <a:pt x="18155" y="11989"/>
                      <a:pt x="16801" y="13370"/>
                      <a:pt x="14887" y="13917"/>
                    </a:cubicBezTo>
                    <a:cubicBezTo>
                      <a:pt x="15147" y="14204"/>
                      <a:pt x="15407" y="14559"/>
                      <a:pt x="15585" y="14901"/>
                    </a:cubicBezTo>
                    <a:close/>
                    <a:moveTo>
                      <a:pt x="13015" y="12522"/>
                    </a:moveTo>
                    <a:cubicBezTo>
                      <a:pt x="15038" y="12522"/>
                      <a:pt x="16282" y="11565"/>
                      <a:pt x="16282" y="9870"/>
                    </a:cubicBezTo>
                    <a:cubicBezTo>
                      <a:pt x="16282" y="8175"/>
                      <a:pt x="15421" y="7191"/>
                      <a:pt x="13657" y="7191"/>
                    </a:cubicBezTo>
                    <a:lnTo>
                      <a:pt x="9816" y="7191"/>
                    </a:lnTo>
                    <a:lnTo>
                      <a:pt x="9816" y="12509"/>
                    </a:lnTo>
                    <a:lnTo>
                      <a:pt x="13015" y="12509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0" name="Google Shape;993;g22cb0be31a4_6_52">
                <a:extLst>
                  <a:ext uri="{FF2B5EF4-FFF2-40B4-BE49-F238E27FC236}">
                    <a16:creationId xmlns:a16="http://schemas.microsoft.com/office/drawing/2014/main" id="{83307B8F-5A19-3191-B974-315600FC968D}"/>
                  </a:ext>
                </a:extLst>
              </p:cNvPr>
              <p:cNvSpPr/>
              <p:nvPr/>
            </p:nvSpPr>
            <p:spPr>
              <a:xfrm>
                <a:off x="11620956" y="6472487"/>
                <a:ext cx="32932" cy="163721"/>
              </a:xfrm>
              <a:custGeom>
                <a:avLst/>
                <a:gdLst/>
                <a:ahLst/>
                <a:cxnLst/>
                <a:rect l="l" t="t" r="r" b="b"/>
                <a:pathLst>
                  <a:path w="32932" h="163721" extrusionOk="0">
                    <a:moveTo>
                      <a:pt x="29830" y="0"/>
                    </a:moveTo>
                    <a:cubicBezTo>
                      <a:pt x="31544" y="0"/>
                      <a:pt x="32933" y="1389"/>
                      <a:pt x="32933" y="3103"/>
                    </a:cubicBezTo>
                    <a:lnTo>
                      <a:pt x="32933" y="160618"/>
                    </a:lnTo>
                    <a:cubicBezTo>
                      <a:pt x="32933" y="162332"/>
                      <a:pt x="31543" y="163722"/>
                      <a:pt x="29830" y="163722"/>
                    </a:cubicBezTo>
                    <a:lnTo>
                      <a:pt x="3103" y="163722"/>
                    </a:lnTo>
                    <a:cubicBezTo>
                      <a:pt x="1389" y="163722"/>
                      <a:pt x="0" y="162332"/>
                      <a:pt x="0" y="160618"/>
                    </a:cubicBezTo>
                    <a:lnTo>
                      <a:pt x="0" y="3103"/>
                    </a:lnTo>
                    <a:cubicBezTo>
                      <a:pt x="0" y="1389"/>
                      <a:pt x="1389" y="0"/>
                      <a:pt x="3103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1" name="Google Shape;994;g22cb0be31a4_6_52">
                <a:extLst>
                  <a:ext uri="{FF2B5EF4-FFF2-40B4-BE49-F238E27FC236}">
                    <a16:creationId xmlns:a16="http://schemas.microsoft.com/office/drawing/2014/main" id="{130569FA-5D7A-F95B-F65D-704E55D748A0}"/>
                  </a:ext>
                </a:extLst>
              </p:cNvPr>
              <p:cNvSpPr/>
              <p:nvPr/>
            </p:nvSpPr>
            <p:spPr>
              <a:xfrm>
                <a:off x="11488486" y="6472473"/>
                <a:ext cx="123638" cy="166086"/>
              </a:xfrm>
              <a:custGeom>
                <a:avLst/>
                <a:gdLst/>
                <a:ahLst/>
                <a:cxnLst/>
                <a:rect l="l" t="t" r="r" b="b"/>
                <a:pathLst>
                  <a:path w="123638" h="166086" extrusionOk="0">
                    <a:moveTo>
                      <a:pt x="68737" y="44663"/>
                    </a:moveTo>
                    <a:cubicBezTo>
                      <a:pt x="53535" y="44663"/>
                      <a:pt x="40889" y="51252"/>
                      <a:pt x="32947" y="62052"/>
                    </a:cubicBezTo>
                    <a:lnTo>
                      <a:pt x="32947" y="3103"/>
                    </a:lnTo>
                    <a:cubicBezTo>
                      <a:pt x="32947" y="1394"/>
                      <a:pt x="31552" y="0"/>
                      <a:pt x="29843" y="0"/>
                    </a:cubicBezTo>
                    <a:lnTo>
                      <a:pt x="3103" y="0"/>
                    </a:lnTo>
                    <a:cubicBezTo>
                      <a:pt x="1394" y="0"/>
                      <a:pt x="0" y="1394"/>
                      <a:pt x="0" y="3103"/>
                    </a:cubicBezTo>
                    <a:lnTo>
                      <a:pt x="0" y="160632"/>
                    </a:lnTo>
                    <a:cubicBezTo>
                      <a:pt x="0" y="162341"/>
                      <a:pt x="1394" y="163735"/>
                      <a:pt x="3103" y="163735"/>
                    </a:cubicBezTo>
                    <a:lnTo>
                      <a:pt x="29843" y="163735"/>
                    </a:lnTo>
                    <a:cubicBezTo>
                      <a:pt x="31552" y="163735"/>
                      <a:pt x="32947" y="162341"/>
                      <a:pt x="32947" y="160632"/>
                    </a:cubicBezTo>
                    <a:lnTo>
                      <a:pt x="32947" y="149025"/>
                    </a:lnTo>
                    <a:cubicBezTo>
                      <a:pt x="40903" y="159839"/>
                      <a:pt x="53535" y="166087"/>
                      <a:pt x="68983" y="166087"/>
                    </a:cubicBezTo>
                    <a:cubicBezTo>
                      <a:pt x="101505" y="166087"/>
                      <a:pt x="123638" y="139852"/>
                      <a:pt x="123638" y="105539"/>
                    </a:cubicBezTo>
                    <a:cubicBezTo>
                      <a:pt x="123638" y="71225"/>
                      <a:pt x="101505" y="44663"/>
                      <a:pt x="68750" y="44663"/>
                    </a:cubicBezTo>
                    <a:close/>
                    <a:moveTo>
                      <a:pt x="62188" y="135163"/>
                    </a:moveTo>
                    <a:cubicBezTo>
                      <a:pt x="45346" y="135163"/>
                      <a:pt x="32947" y="121533"/>
                      <a:pt x="32947" y="105552"/>
                    </a:cubicBezTo>
                    <a:cubicBezTo>
                      <a:pt x="32947" y="89571"/>
                      <a:pt x="45346" y="76174"/>
                      <a:pt x="62188" y="76174"/>
                    </a:cubicBezTo>
                    <a:cubicBezTo>
                      <a:pt x="79031" y="76174"/>
                      <a:pt x="90965" y="89571"/>
                      <a:pt x="90965" y="105552"/>
                    </a:cubicBezTo>
                    <a:cubicBezTo>
                      <a:pt x="90965" y="121533"/>
                      <a:pt x="78798" y="135163"/>
                      <a:pt x="62188" y="13516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2" name="Google Shape;995;g22cb0be31a4_6_52">
                <a:extLst>
                  <a:ext uri="{FF2B5EF4-FFF2-40B4-BE49-F238E27FC236}">
                    <a16:creationId xmlns:a16="http://schemas.microsoft.com/office/drawing/2014/main" id="{6D393623-2CB7-C55C-8D1B-FC6314835DAC}"/>
                  </a:ext>
                </a:extLst>
              </p:cNvPr>
              <p:cNvSpPr/>
              <p:nvPr/>
            </p:nvSpPr>
            <p:spPr>
              <a:xfrm>
                <a:off x="11359421" y="6517136"/>
                <a:ext cx="120412" cy="121437"/>
              </a:xfrm>
              <a:custGeom>
                <a:avLst/>
                <a:gdLst/>
                <a:ahLst/>
                <a:cxnLst/>
                <a:rect l="l" t="t" r="r" b="b"/>
                <a:pathLst>
                  <a:path w="120412" h="121437" extrusionOk="0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3" name="Google Shape;996;g22cb0be31a4_6_52">
                <a:extLst>
                  <a:ext uri="{FF2B5EF4-FFF2-40B4-BE49-F238E27FC236}">
                    <a16:creationId xmlns:a16="http://schemas.microsoft.com/office/drawing/2014/main" id="{094FDF1B-5EB4-048A-72BC-5AD461F6007A}"/>
                  </a:ext>
                </a:extLst>
              </p:cNvPr>
              <p:cNvSpPr/>
              <p:nvPr/>
            </p:nvSpPr>
            <p:spPr>
              <a:xfrm>
                <a:off x="11662542" y="6517136"/>
                <a:ext cx="120412" cy="121437"/>
              </a:xfrm>
              <a:custGeom>
                <a:avLst/>
                <a:gdLst/>
                <a:ahLst/>
                <a:cxnLst/>
                <a:rect l="l" t="t" r="r" b="b"/>
                <a:pathLst>
                  <a:path w="120412" h="121437" extrusionOk="0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4" name="Google Shape;997;g22cb0be31a4_6_52">
                <a:extLst>
                  <a:ext uri="{FF2B5EF4-FFF2-40B4-BE49-F238E27FC236}">
                    <a16:creationId xmlns:a16="http://schemas.microsoft.com/office/drawing/2014/main" id="{C63C090B-3E6D-854E-8428-1FF6A03DBA1B}"/>
                  </a:ext>
                </a:extLst>
              </p:cNvPr>
              <p:cNvSpPr/>
              <p:nvPr/>
            </p:nvSpPr>
            <p:spPr>
              <a:xfrm>
                <a:off x="11122821" y="6519528"/>
                <a:ext cx="32932" cy="116680"/>
              </a:xfrm>
              <a:custGeom>
                <a:avLst/>
                <a:gdLst/>
                <a:ahLst/>
                <a:cxnLst/>
                <a:rect l="l" t="t" r="r" b="b"/>
                <a:pathLst>
                  <a:path w="32932" h="116680" extrusionOk="0">
                    <a:moveTo>
                      <a:pt x="29843" y="116680"/>
                    </a:moveTo>
                    <a:lnTo>
                      <a:pt x="3103" y="116680"/>
                    </a:lnTo>
                    <a:cubicBezTo>
                      <a:pt x="1394" y="116680"/>
                      <a:pt x="0" y="115286"/>
                      <a:pt x="0" y="113577"/>
                    </a:cubicBezTo>
                    <a:lnTo>
                      <a:pt x="0" y="30554"/>
                    </a:lnTo>
                    <a:cubicBezTo>
                      <a:pt x="0" y="28886"/>
                      <a:pt x="670" y="27287"/>
                      <a:pt x="1859" y="26125"/>
                    </a:cubicBezTo>
                    <a:lnTo>
                      <a:pt x="27670" y="888"/>
                    </a:lnTo>
                    <a:cubicBezTo>
                      <a:pt x="29638" y="-1026"/>
                      <a:pt x="32933" y="355"/>
                      <a:pt x="32933" y="3103"/>
                    </a:cubicBezTo>
                    <a:lnTo>
                      <a:pt x="32933" y="113577"/>
                    </a:lnTo>
                    <a:cubicBezTo>
                      <a:pt x="32933" y="115286"/>
                      <a:pt x="31538" y="116680"/>
                      <a:pt x="29830" y="11668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5" name="Google Shape;998;g22cb0be31a4_6_52">
                <a:extLst>
                  <a:ext uri="{FF2B5EF4-FFF2-40B4-BE49-F238E27FC236}">
                    <a16:creationId xmlns:a16="http://schemas.microsoft.com/office/drawing/2014/main" id="{FE6CF04B-B9BD-557A-4F3B-96E527E19D9A}"/>
                  </a:ext>
                </a:extLst>
              </p:cNvPr>
              <p:cNvSpPr/>
              <p:nvPr/>
            </p:nvSpPr>
            <p:spPr>
              <a:xfrm>
                <a:off x="11173074" y="6517105"/>
                <a:ext cx="107493" cy="119116"/>
              </a:xfrm>
              <a:custGeom>
                <a:avLst/>
                <a:gdLst/>
                <a:ahLst/>
                <a:cxnLst/>
                <a:rect l="l" t="t" r="r" b="b"/>
                <a:pathLst>
                  <a:path w="107493" h="119116" extrusionOk="0">
                    <a:moveTo>
                      <a:pt x="107480" y="41877"/>
                    </a:moveTo>
                    <a:cubicBezTo>
                      <a:pt x="107480" y="19252"/>
                      <a:pt x="88792" y="277"/>
                      <a:pt x="65237" y="3"/>
                    </a:cubicBezTo>
                    <a:cubicBezTo>
                      <a:pt x="49912" y="-175"/>
                      <a:pt x="39563" y="7331"/>
                      <a:pt x="32947" y="17474"/>
                    </a:cubicBezTo>
                    <a:lnTo>
                      <a:pt x="32947" y="5581"/>
                    </a:lnTo>
                    <a:cubicBezTo>
                      <a:pt x="32947" y="3872"/>
                      <a:pt x="31552" y="2478"/>
                      <a:pt x="29843" y="2478"/>
                    </a:cubicBezTo>
                    <a:lnTo>
                      <a:pt x="3103" y="2478"/>
                    </a:lnTo>
                    <a:cubicBezTo>
                      <a:pt x="1394" y="2478"/>
                      <a:pt x="0" y="3872"/>
                      <a:pt x="0" y="5581"/>
                    </a:cubicBezTo>
                    <a:lnTo>
                      <a:pt x="0" y="116000"/>
                    </a:lnTo>
                    <a:cubicBezTo>
                      <a:pt x="0" y="117709"/>
                      <a:pt x="1394" y="119103"/>
                      <a:pt x="3103" y="119103"/>
                    </a:cubicBezTo>
                    <a:lnTo>
                      <a:pt x="29843" y="119103"/>
                    </a:lnTo>
                    <a:cubicBezTo>
                      <a:pt x="31552" y="119103"/>
                      <a:pt x="32947" y="117709"/>
                      <a:pt x="32947" y="116000"/>
                    </a:cubicBezTo>
                    <a:lnTo>
                      <a:pt x="32947" y="51788"/>
                    </a:lnTo>
                    <a:cubicBezTo>
                      <a:pt x="33685" y="39430"/>
                      <a:pt x="41518" y="31747"/>
                      <a:pt x="53740" y="31747"/>
                    </a:cubicBezTo>
                    <a:cubicBezTo>
                      <a:pt x="65961" y="31747"/>
                      <a:pt x="74547" y="40373"/>
                      <a:pt x="74547" y="53210"/>
                    </a:cubicBezTo>
                    <a:lnTo>
                      <a:pt x="74547" y="116014"/>
                    </a:lnTo>
                    <a:cubicBezTo>
                      <a:pt x="74547" y="117722"/>
                      <a:pt x="75941" y="119117"/>
                      <a:pt x="77650" y="119117"/>
                    </a:cubicBezTo>
                    <a:lnTo>
                      <a:pt x="104390" y="119117"/>
                    </a:lnTo>
                    <a:cubicBezTo>
                      <a:pt x="106099" y="119117"/>
                      <a:pt x="107493" y="117722"/>
                      <a:pt x="107493" y="116014"/>
                    </a:cubicBezTo>
                    <a:lnTo>
                      <a:pt x="107493" y="4189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</p:grpSp>
      </p:grpSp>
      <p:pic>
        <p:nvPicPr>
          <p:cNvPr id="2" name="Picture 1" descr="A black and green diamond&#10;&#10;AI-generated content may be incorrect.">
            <a:extLst>
              <a:ext uri="{FF2B5EF4-FFF2-40B4-BE49-F238E27FC236}">
                <a16:creationId xmlns:a16="http://schemas.microsoft.com/office/drawing/2014/main" id="{3571683A-85E0-2806-EB48-018A133CB00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2504" t="-13146" r="50766" b="43119"/>
          <a:stretch>
            <a:fillRect/>
          </a:stretch>
        </p:blipFill>
        <p:spPr>
          <a:xfrm rot="10800000" flipH="1">
            <a:off x="6553200" y="0"/>
            <a:ext cx="5638800" cy="8156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3910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oogle Shape;987;g22cb0be31a4_6_52">
            <a:extLst>
              <a:ext uri="{FF2B5EF4-FFF2-40B4-BE49-F238E27FC236}">
                <a16:creationId xmlns:a16="http://schemas.microsoft.com/office/drawing/2014/main" id="{4DE2FA32-4BDF-907B-19AD-7217FA4CE420}"/>
              </a:ext>
            </a:extLst>
          </p:cNvPr>
          <p:cNvGrpSpPr/>
          <p:nvPr userDrawn="1"/>
        </p:nvGrpSpPr>
        <p:grpSpPr>
          <a:xfrm>
            <a:off x="11122821" y="6466206"/>
            <a:ext cx="799629" cy="172367"/>
            <a:chOff x="11122821" y="6466206"/>
            <a:chExt cx="799629" cy="172367"/>
          </a:xfrm>
        </p:grpSpPr>
        <p:sp>
          <p:nvSpPr>
            <p:cNvPr id="5" name="Google Shape;988;g22cb0be31a4_6_52">
              <a:extLst>
                <a:ext uri="{FF2B5EF4-FFF2-40B4-BE49-F238E27FC236}">
                  <a16:creationId xmlns:a16="http://schemas.microsoft.com/office/drawing/2014/main" id="{B2CA3A27-3EF5-9B90-B4F4-41C44D6569FF}"/>
                </a:ext>
              </a:extLst>
            </p:cNvPr>
            <p:cNvSpPr/>
            <p:nvPr/>
          </p:nvSpPr>
          <p:spPr>
            <a:xfrm rot="-2700000">
              <a:off x="11134957" y="6473485"/>
              <a:ext cx="35147" cy="35147"/>
            </a:xfrm>
            <a:custGeom>
              <a:avLst/>
              <a:gdLst/>
              <a:ahLst/>
              <a:cxnLst/>
              <a:rect l="l" t="t" r="r" b="b"/>
              <a:pathLst>
                <a:path w="35147" h="35147" extrusionOk="0">
                  <a:moveTo>
                    <a:pt x="32044" y="0"/>
                  </a:moveTo>
                  <a:cubicBezTo>
                    <a:pt x="33758" y="0"/>
                    <a:pt x="35148" y="1389"/>
                    <a:pt x="35148" y="3103"/>
                  </a:cubicBezTo>
                  <a:lnTo>
                    <a:pt x="35148" y="32044"/>
                  </a:lnTo>
                  <a:cubicBezTo>
                    <a:pt x="35148" y="33758"/>
                    <a:pt x="33758" y="35148"/>
                    <a:pt x="32044" y="35148"/>
                  </a:cubicBezTo>
                  <a:lnTo>
                    <a:pt x="3103" y="35148"/>
                  </a:lnTo>
                  <a:cubicBezTo>
                    <a:pt x="1389" y="35148"/>
                    <a:pt x="0" y="33758"/>
                    <a:pt x="0" y="32044"/>
                  </a:cubicBezTo>
                  <a:lnTo>
                    <a:pt x="0" y="3103"/>
                  </a:lnTo>
                  <a:cubicBezTo>
                    <a:pt x="0" y="1389"/>
                    <a:pt x="1389" y="0"/>
                    <a:pt x="3103" y="0"/>
                  </a:cubicBezTo>
                  <a:close/>
                </a:path>
              </a:pathLst>
            </a:custGeom>
            <a:solidFill>
              <a:srgbClr val="00B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Lato Light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Calibri"/>
              </a:endParaRPr>
            </a:p>
          </p:txBody>
        </p:sp>
        <p:grpSp>
          <p:nvGrpSpPr>
            <p:cNvPr id="6" name="Google Shape;989;g22cb0be31a4_6_52">
              <a:extLst>
                <a:ext uri="{FF2B5EF4-FFF2-40B4-BE49-F238E27FC236}">
                  <a16:creationId xmlns:a16="http://schemas.microsoft.com/office/drawing/2014/main" id="{8DAC5303-7ED7-33A6-0CD6-254E7A6A7961}"/>
                </a:ext>
              </a:extLst>
            </p:cNvPr>
            <p:cNvGrpSpPr/>
            <p:nvPr/>
          </p:nvGrpSpPr>
          <p:grpSpPr>
            <a:xfrm>
              <a:off x="11122821" y="6472473"/>
              <a:ext cx="799629" cy="166100"/>
              <a:chOff x="11122821" y="6472473"/>
              <a:chExt cx="799629" cy="166100"/>
            </a:xfrm>
          </p:grpSpPr>
          <p:sp>
            <p:nvSpPr>
              <p:cNvPr id="7" name="Google Shape;990;g22cb0be31a4_6_52">
                <a:extLst>
                  <a:ext uri="{FF2B5EF4-FFF2-40B4-BE49-F238E27FC236}">
                    <a16:creationId xmlns:a16="http://schemas.microsoft.com/office/drawing/2014/main" id="{16B50947-AA17-A454-AF26-87CBF998C35A}"/>
                  </a:ext>
                </a:extLst>
              </p:cNvPr>
              <p:cNvSpPr/>
              <p:nvPr/>
            </p:nvSpPr>
            <p:spPr>
              <a:xfrm>
                <a:off x="11774281" y="6519597"/>
                <a:ext cx="119385" cy="116611"/>
              </a:xfrm>
              <a:custGeom>
                <a:avLst/>
                <a:gdLst/>
                <a:ahLst/>
                <a:cxnLst/>
                <a:rect l="l" t="t" r="r" b="b"/>
                <a:pathLst>
                  <a:path w="119385" h="116611" extrusionOk="0">
                    <a:moveTo>
                      <a:pt x="82523" y="58306"/>
                    </a:moveTo>
                    <a:lnTo>
                      <a:pt x="118887" y="112265"/>
                    </a:lnTo>
                    <a:cubicBezTo>
                      <a:pt x="120199" y="114124"/>
                      <a:pt x="118764" y="116612"/>
                      <a:pt x="116385" y="116612"/>
                    </a:cubicBezTo>
                    <a:lnTo>
                      <a:pt x="85831" y="116612"/>
                    </a:lnTo>
                    <a:cubicBezTo>
                      <a:pt x="83794" y="116612"/>
                      <a:pt x="81880" y="115600"/>
                      <a:pt x="80718" y="113919"/>
                    </a:cubicBezTo>
                    <a:lnTo>
                      <a:pt x="59693" y="81751"/>
                    </a:lnTo>
                    <a:lnTo>
                      <a:pt x="38667" y="113919"/>
                    </a:lnTo>
                    <a:cubicBezTo>
                      <a:pt x="37505" y="115600"/>
                      <a:pt x="35605" y="116612"/>
                      <a:pt x="33554" y="116612"/>
                    </a:cubicBezTo>
                    <a:lnTo>
                      <a:pt x="3000" y="116612"/>
                    </a:lnTo>
                    <a:cubicBezTo>
                      <a:pt x="621" y="116612"/>
                      <a:pt x="-814" y="114138"/>
                      <a:pt x="498" y="112265"/>
                    </a:cubicBezTo>
                    <a:lnTo>
                      <a:pt x="36753" y="58306"/>
                    </a:lnTo>
                    <a:lnTo>
                      <a:pt x="498" y="4347"/>
                    </a:lnTo>
                    <a:cubicBezTo>
                      <a:pt x="-814" y="2488"/>
                      <a:pt x="621" y="0"/>
                      <a:pt x="3000" y="0"/>
                    </a:cubicBezTo>
                    <a:lnTo>
                      <a:pt x="34853" y="0"/>
                    </a:lnTo>
                    <a:cubicBezTo>
                      <a:pt x="36042" y="0"/>
                      <a:pt x="37149" y="547"/>
                      <a:pt x="37778" y="1449"/>
                    </a:cubicBezTo>
                    <a:lnTo>
                      <a:pt x="59679" y="34806"/>
                    </a:lnTo>
                    <a:lnTo>
                      <a:pt x="80240" y="1463"/>
                    </a:lnTo>
                    <a:cubicBezTo>
                      <a:pt x="80855" y="561"/>
                      <a:pt x="81976" y="0"/>
                      <a:pt x="83165" y="0"/>
                    </a:cubicBezTo>
                    <a:lnTo>
                      <a:pt x="115333" y="0"/>
                    </a:lnTo>
                    <a:cubicBezTo>
                      <a:pt x="117711" y="0"/>
                      <a:pt x="119133" y="2474"/>
                      <a:pt x="117834" y="4334"/>
                    </a:cubicBezTo>
                    <a:lnTo>
                      <a:pt x="82495" y="5830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8" name="Google Shape;991;g22cb0be31a4_6_52">
                <a:extLst>
                  <a:ext uri="{FF2B5EF4-FFF2-40B4-BE49-F238E27FC236}">
                    <a16:creationId xmlns:a16="http://schemas.microsoft.com/office/drawing/2014/main" id="{C16BBA94-DC9E-7F21-1A44-2C9FB85B8EA7}"/>
                  </a:ext>
                </a:extLst>
              </p:cNvPr>
              <p:cNvSpPr/>
              <p:nvPr/>
            </p:nvSpPr>
            <p:spPr>
              <a:xfrm>
                <a:off x="11284928" y="6472473"/>
                <a:ext cx="78825" cy="163762"/>
              </a:xfrm>
              <a:custGeom>
                <a:avLst/>
                <a:gdLst/>
                <a:ahLst/>
                <a:cxnLst/>
                <a:rect l="l" t="t" r="r" b="b"/>
                <a:pathLst>
                  <a:path w="78825" h="163762" extrusionOk="0">
                    <a:moveTo>
                      <a:pt x="75722" y="14"/>
                    </a:moveTo>
                    <a:lnTo>
                      <a:pt x="50377" y="14"/>
                    </a:lnTo>
                    <a:cubicBezTo>
                      <a:pt x="47916" y="14"/>
                      <a:pt x="45551" y="998"/>
                      <a:pt x="43801" y="2734"/>
                    </a:cubicBezTo>
                    <a:lnTo>
                      <a:pt x="19987" y="26549"/>
                    </a:lnTo>
                    <a:cubicBezTo>
                      <a:pt x="18237" y="28299"/>
                      <a:pt x="17266" y="30664"/>
                      <a:pt x="17266" y="33124"/>
                    </a:cubicBezTo>
                    <a:lnTo>
                      <a:pt x="17266" y="51867"/>
                    </a:lnTo>
                    <a:lnTo>
                      <a:pt x="3049" y="51867"/>
                    </a:lnTo>
                    <a:cubicBezTo>
                      <a:pt x="1367" y="51867"/>
                      <a:pt x="0" y="53234"/>
                      <a:pt x="0" y="54916"/>
                    </a:cubicBezTo>
                    <a:lnTo>
                      <a:pt x="0" y="75955"/>
                    </a:lnTo>
                    <a:cubicBezTo>
                      <a:pt x="0" y="77636"/>
                      <a:pt x="1367" y="79004"/>
                      <a:pt x="3049" y="79004"/>
                    </a:cubicBezTo>
                    <a:lnTo>
                      <a:pt x="17266" y="79004"/>
                    </a:lnTo>
                    <a:lnTo>
                      <a:pt x="17266" y="160659"/>
                    </a:lnTo>
                    <a:cubicBezTo>
                      <a:pt x="17266" y="162368"/>
                      <a:pt x="18661" y="163763"/>
                      <a:pt x="20369" y="163763"/>
                    </a:cubicBezTo>
                    <a:lnTo>
                      <a:pt x="47109" y="163763"/>
                    </a:lnTo>
                    <a:cubicBezTo>
                      <a:pt x="48818" y="163763"/>
                      <a:pt x="50213" y="162368"/>
                      <a:pt x="50213" y="160659"/>
                    </a:cubicBezTo>
                    <a:lnTo>
                      <a:pt x="50213" y="78990"/>
                    </a:lnTo>
                    <a:lnTo>
                      <a:pt x="71443" y="78990"/>
                    </a:lnTo>
                    <a:cubicBezTo>
                      <a:pt x="73125" y="78990"/>
                      <a:pt x="74492" y="77623"/>
                      <a:pt x="74492" y="75941"/>
                    </a:cubicBezTo>
                    <a:lnTo>
                      <a:pt x="74492" y="54902"/>
                    </a:lnTo>
                    <a:cubicBezTo>
                      <a:pt x="74492" y="53220"/>
                      <a:pt x="73125" y="51853"/>
                      <a:pt x="71443" y="51853"/>
                    </a:cubicBezTo>
                    <a:lnTo>
                      <a:pt x="50213" y="51853"/>
                    </a:lnTo>
                    <a:lnTo>
                      <a:pt x="50213" y="38565"/>
                    </a:lnTo>
                    <a:cubicBezTo>
                      <a:pt x="50213" y="33425"/>
                      <a:pt x="54382" y="29269"/>
                      <a:pt x="59509" y="29269"/>
                    </a:cubicBezTo>
                    <a:lnTo>
                      <a:pt x="75722" y="29269"/>
                    </a:lnTo>
                    <a:cubicBezTo>
                      <a:pt x="77431" y="29269"/>
                      <a:pt x="78826" y="27875"/>
                      <a:pt x="78826" y="26166"/>
                    </a:cubicBezTo>
                    <a:lnTo>
                      <a:pt x="78826" y="3103"/>
                    </a:lnTo>
                    <a:cubicBezTo>
                      <a:pt x="78826" y="1394"/>
                      <a:pt x="77431" y="0"/>
                      <a:pt x="75722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9" name="Google Shape;992;g22cb0be31a4_6_52">
                <a:extLst>
                  <a:ext uri="{FF2B5EF4-FFF2-40B4-BE49-F238E27FC236}">
                    <a16:creationId xmlns:a16="http://schemas.microsoft.com/office/drawing/2014/main" id="{8941B8E6-F38C-9DC2-10D2-C236132A20A3}"/>
                  </a:ext>
                </a:extLst>
              </p:cNvPr>
              <p:cNvSpPr/>
              <p:nvPr/>
            </p:nvSpPr>
            <p:spPr>
              <a:xfrm>
                <a:off x="11896791" y="6612367"/>
                <a:ext cx="25659" cy="25660"/>
              </a:xfrm>
              <a:custGeom>
                <a:avLst/>
                <a:gdLst/>
                <a:ahLst/>
                <a:cxnLst/>
                <a:rect l="l" t="t" r="r" b="b"/>
                <a:pathLst>
                  <a:path w="25659" h="25660" extrusionOk="0">
                    <a:moveTo>
                      <a:pt x="25660" y="12810"/>
                    </a:moveTo>
                    <a:cubicBezTo>
                      <a:pt x="25660" y="19946"/>
                      <a:pt x="19946" y="25660"/>
                      <a:pt x="12782" y="25660"/>
                    </a:cubicBezTo>
                    <a:cubicBezTo>
                      <a:pt x="5619" y="25660"/>
                      <a:pt x="0" y="19891"/>
                      <a:pt x="0" y="12810"/>
                    </a:cubicBezTo>
                    <a:cubicBezTo>
                      <a:pt x="0" y="5728"/>
                      <a:pt x="5714" y="0"/>
                      <a:pt x="12823" y="0"/>
                    </a:cubicBezTo>
                    <a:cubicBezTo>
                      <a:pt x="19932" y="0"/>
                      <a:pt x="25646" y="5687"/>
                      <a:pt x="25646" y="12810"/>
                    </a:cubicBezTo>
                    <a:close/>
                    <a:moveTo>
                      <a:pt x="23691" y="12864"/>
                    </a:moveTo>
                    <a:cubicBezTo>
                      <a:pt x="23691" y="6712"/>
                      <a:pt x="18838" y="1832"/>
                      <a:pt x="12837" y="1832"/>
                    </a:cubicBezTo>
                    <a:cubicBezTo>
                      <a:pt x="6835" y="1832"/>
                      <a:pt x="1982" y="6658"/>
                      <a:pt x="1982" y="12851"/>
                    </a:cubicBezTo>
                    <a:cubicBezTo>
                      <a:pt x="1982" y="19043"/>
                      <a:pt x="6890" y="23856"/>
                      <a:pt x="12782" y="23856"/>
                    </a:cubicBezTo>
                    <a:cubicBezTo>
                      <a:pt x="18674" y="23856"/>
                      <a:pt x="23691" y="19002"/>
                      <a:pt x="23691" y="12864"/>
                    </a:cubicBezTo>
                    <a:close/>
                    <a:moveTo>
                      <a:pt x="15585" y="14888"/>
                    </a:moveTo>
                    <a:lnTo>
                      <a:pt x="18811" y="19905"/>
                    </a:lnTo>
                    <a:lnTo>
                      <a:pt x="16678" y="19905"/>
                    </a:lnTo>
                    <a:lnTo>
                      <a:pt x="13097" y="14218"/>
                    </a:lnTo>
                    <a:lnTo>
                      <a:pt x="9829" y="14218"/>
                    </a:lnTo>
                    <a:lnTo>
                      <a:pt x="9829" y="19905"/>
                    </a:lnTo>
                    <a:lnTo>
                      <a:pt x="8038" y="19905"/>
                    </a:lnTo>
                    <a:lnTo>
                      <a:pt x="8038" y="5523"/>
                    </a:lnTo>
                    <a:lnTo>
                      <a:pt x="13616" y="5523"/>
                    </a:lnTo>
                    <a:cubicBezTo>
                      <a:pt x="16364" y="5523"/>
                      <a:pt x="18155" y="6999"/>
                      <a:pt x="18155" y="9761"/>
                    </a:cubicBezTo>
                    <a:cubicBezTo>
                      <a:pt x="18155" y="11989"/>
                      <a:pt x="16801" y="13370"/>
                      <a:pt x="14887" y="13917"/>
                    </a:cubicBezTo>
                    <a:cubicBezTo>
                      <a:pt x="15147" y="14204"/>
                      <a:pt x="15407" y="14559"/>
                      <a:pt x="15585" y="14901"/>
                    </a:cubicBezTo>
                    <a:close/>
                    <a:moveTo>
                      <a:pt x="13015" y="12522"/>
                    </a:moveTo>
                    <a:cubicBezTo>
                      <a:pt x="15038" y="12522"/>
                      <a:pt x="16282" y="11565"/>
                      <a:pt x="16282" y="9870"/>
                    </a:cubicBezTo>
                    <a:cubicBezTo>
                      <a:pt x="16282" y="8175"/>
                      <a:pt x="15421" y="7191"/>
                      <a:pt x="13657" y="7191"/>
                    </a:cubicBezTo>
                    <a:lnTo>
                      <a:pt x="9816" y="7191"/>
                    </a:lnTo>
                    <a:lnTo>
                      <a:pt x="9816" y="12509"/>
                    </a:lnTo>
                    <a:lnTo>
                      <a:pt x="13015" y="12509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0" name="Google Shape;993;g22cb0be31a4_6_52">
                <a:extLst>
                  <a:ext uri="{FF2B5EF4-FFF2-40B4-BE49-F238E27FC236}">
                    <a16:creationId xmlns:a16="http://schemas.microsoft.com/office/drawing/2014/main" id="{83307B8F-5A19-3191-B974-315600FC968D}"/>
                  </a:ext>
                </a:extLst>
              </p:cNvPr>
              <p:cNvSpPr/>
              <p:nvPr/>
            </p:nvSpPr>
            <p:spPr>
              <a:xfrm>
                <a:off x="11620956" y="6472487"/>
                <a:ext cx="32932" cy="163721"/>
              </a:xfrm>
              <a:custGeom>
                <a:avLst/>
                <a:gdLst/>
                <a:ahLst/>
                <a:cxnLst/>
                <a:rect l="l" t="t" r="r" b="b"/>
                <a:pathLst>
                  <a:path w="32932" h="163721" extrusionOk="0">
                    <a:moveTo>
                      <a:pt x="29830" y="0"/>
                    </a:moveTo>
                    <a:cubicBezTo>
                      <a:pt x="31544" y="0"/>
                      <a:pt x="32933" y="1389"/>
                      <a:pt x="32933" y="3103"/>
                    </a:cubicBezTo>
                    <a:lnTo>
                      <a:pt x="32933" y="160618"/>
                    </a:lnTo>
                    <a:cubicBezTo>
                      <a:pt x="32933" y="162332"/>
                      <a:pt x="31543" y="163722"/>
                      <a:pt x="29830" y="163722"/>
                    </a:cubicBezTo>
                    <a:lnTo>
                      <a:pt x="3103" y="163722"/>
                    </a:lnTo>
                    <a:cubicBezTo>
                      <a:pt x="1389" y="163722"/>
                      <a:pt x="0" y="162332"/>
                      <a:pt x="0" y="160618"/>
                    </a:cubicBezTo>
                    <a:lnTo>
                      <a:pt x="0" y="3103"/>
                    </a:lnTo>
                    <a:cubicBezTo>
                      <a:pt x="0" y="1389"/>
                      <a:pt x="1389" y="0"/>
                      <a:pt x="3103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1" name="Google Shape;994;g22cb0be31a4_6_52">
                <a:extLst>
                  <a:ext uri="{FF2B5EF4-FFF2-40B4-BE49-F238E27FC236}">
                    <a16:creationId xmlns:a16="http://schemas.microsoft.com/office/drawing/2014/main" id="{130569FA-5D7A-F95B-F65D-704E55D748A0}"/>
                  </a:ext>
                </a:extLst>
              </p:cNvPr>
              <p:cNvSpPr/>
              <p:nvPr/>
            </p:nvSpPr>
            <p:spPr>
              <a:xfrm>
                <a:off x="11488486" y="6472473"/>
                <a:ext cx="123638" cy="166086"/>
              </a:xfrm>
              <a:custGeom>
                <a:avLst/>
                <a:gdLst/>
                <a:ahLst/>
                <a:cxnLst/>
                <a:rect l="l" t="t" r="r" b="b"/>
                <a:pathLst>
                  <a:path w="123638" h="166086" extrusionOk="0">
                    <a:moveTo>
                      <a:pt x="68737" y="44663"/>
                    </a:moveTo>
                    <a:cubicBezTo>
                      <a:pt x="53535" y="44663"/>
                      <a:pt x="40889" y="51252"/>
                      <a:pt x="32947" y="62052"/>
                    </a:cubicBezTo>
                    <a:lnTo>
                      <a:pt x="32947" y="3103"/>
                    </a:lnTo>
                    <a:cubicBezTo>
                      <a:pt x="32947" y="1394"/>
                      <a:pt x="31552" y="0"/>
                      <a:pt x="29843" y="0"/>
                    </a:cubicBezTo>
                    <a:lnTo>
                      <a:pt x="3103" y="0"/>
                    </a:lnTo>
                    <a:cubicBezTo>
                      <a:pt x="1394" y="0"/>
                      <a:pt x="0" y="1394"/>
                      <a:pt x="0" y="3103"/>
                    </a:cubicBezTo>
                    <a:lnTo>
                      <a:pt x="0" y="160632"/>
                    </a:lnTo>
                    <a:cubicBezTo>
                      <a:pt x="0" y="162341"/>
                      <a:pt x="1394" y="163735"/>
                      <a:pt x="3103" y="163735"/>
                    </a:cubicBezTo>
                    <a:lnTo>
                      <a:pt x="29843" y="163735"/>
                    </a:lnTo>
                    <a:cubicBezTo>
                      <a:pt x="31552" y="163735"/>
                      <a:pt x="32947" y="162341"/>
                      <a:pt x="32947" y="160632"/>
                    </a:cubicBezTo>
                    <a:lnTo>
                      <a:pt x="32947" y="149025"/>
                    </a:lnTo>
                    <a:cubicBezTo>
                      <a:pt x="40903" y="159839"/>
                      <a:pt x="53535" y="166087"/>
                      <a:pt x="68983" y="166087"/>
                    </a:cubicBezTo>
                    <a:cubicBezTo>
                      <a:pt x="101505" y="166087"/>
                      <a:pt x="123638" y="139852"/>
                      <a:pt x="123638" y="105539"/>
                    </a:cubicBezTo>
                    <a:cubicBezTo>
                      <a:pt x="123638" y="71225"/>
                      <a:pt x="101505" y="44663"/>
                      <a:pt x="68750" y="44663"/>
                    </a:cubicBezTo>
                    <a:close/>
                    <a:moveTo>
                      <a:pt x="62188" y="135163"/>
                    </a:moveTo>
                    <a:cubicBezTo>
                      <a:pt x="45346" y="135163"/>
                      <a:pt x="32947" y="121533"/>
                      <a:pt x="32947" y="105552"/>
                    </a:cubicBezTo>
                    <a:cubicBezTo>
                      <a:pt x="32947" y="89571"/>
                      <a:pt x="45346" y="76174"/>
                      <a:pt x="62188" y="76174"/>
                    </a:cubicBezTo>
                    <a:cubicBezTo>
                      <a:pt x="79031" y="76174"/>
                      <a:pt x="90965" y="89571"/>
                      <a:pt x="90965" y="105552"/>
                    </a:cubicBezTo>
                    <a:cubicBezTo>
                      <a:pt x="90965" y="121533"/>
                      <a:pt x="78798" y="135163"/>
                      <a:pt x="62188" y="13516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2" name="Google Shape;995;g22cb0be31a4_6_52">
                <a:extLst>
                  <a:ext uri="{FF2B5EF4-FFF2-40B4-BE49-F238E27FC236}">
                    <a16:creationId xmlns:a16="http://schemas.microsoft.com/office/drawing/2014/main" id="{6D393623-2CB7-C55C-8D1B-FC6314835DAC}"/>
                  </a:ext>
                </a:extLst>
              </p:cNvPr>
              <p:cNvSpPr/>
              <p:nvPr/>
            </p:nvSpPr>
            <p:spPr>
              <a:xfrm>
                <a:off x="11359421" y="6517136"/>
                <a:ext cx="120412" cy="121437"/>
              </a:xfrm>
              <a:custGeom>
                <a:avLst/>
                <a:gdLst/>
                <a:ahLst/>
                <a:cxnLst/>
                <a:rect l="l" t="t" r="r" b="b"/>
                <a:pathLst>
                  <a:path w="120412" h="121437" extrusionOk="0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3" name="Google Shape;996;g22cb0be31a4_6_52">
                <a:extLst>
                  <a:ext uri="{FF2B5EF4-FFF2-40B4-BE49-F238E27FC236}">
                    <a16:creationId xmlns:a16="http://schemas.microsoft.com/office/drawing/2014/main" id="{094FDF1B-5EB4-048A-72BC-5AD461F6007A}"/>
                  </a:ext>
                </a:extLst>
              </p:cNvPr>
              <p:cNvSpPr/>
              <p:nvPr/>
            </p:nvSpPr>
            <p:spPr>
              <a:xfrm>
                <a:off x="11662542" y="6517136"/>
                <a:ext cx="120412" cy="121437"/>
              </a:xfrm>
              <a:custGeom>
                <a:avLst/>
                <a:gdLst/>
                <a:ahLst/>
                <a:cxnLst/>
                <a:rect l="l" t="t" r="r" b="b"/>
                <a:pathLst>
                  <a:path w="120412" h="121437" extrusionOk="0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4" name="Google Shape;997;g22cb0be31a4_6_52">
                <a:extLst>
                  <a:ext uri="{FF2B5EF4-FFF2-40B4-BE49-F238E27FC236}">
                    <a16:creationId xmlns:a16="http://schemas.microsoft.com/office/drawing/2014/main" id="{C63C090B-3E6D-854E-8428-1FF6A03DBA1B}"/>
                  </a:ext>
                </a:extLst>
              </p:cNvPr>
              <p:cNvSpPr/>
              <p:nvPr/>
            </p:nvSpPr>
            <p:spPr>
              <a:xfrm>
                <a:off x="11122821" y="6519528"/>
                <a:ext cx="32932" cy="116680"/>
              </a:xfrm>
              <a:custGeom>
                <a:avLst/>
                <a:gdLst/>
                <a:ahLst/>
                <a:cxnLst/>
                <a:rect l="l" t="t" r="r" b="b"/>
                <a:pathLst>
                  <a:path w="32932" h="116680" extrusionOk="0">
                    <a:moveTo>
                      <a:pt x="29843" y="116680"/>
                    </a:moveTo>
                    <a:lnTo>
                      <a:pt x="3103" y="116680"/>
                    </a:lnTo>
                    <a:cubicBezTo>
                      <a:pt x="1394" y="116680"/>
                      <a:pt x="0" y="115286"/>
                      <a:pt x="0" y="113577"/>
                    </a:cubicBezTo>
                    <a:lnTo>
                      <a:pt x="0" y="30554"/>
                    </a:lnTo>
                    <a:cubicBezTo>
                      <a:pt x="0" y="28886"/>
                      <a:pt x="670" y="27287"/>
                      <a:pt x="1859" y="26125"/>
                    </a:cubicBezTo>
                    <a:lnTo>
                      <a:pt x="27670" y="888"/>
                    </a:lnTo>
                    <a:cubicBezTo>
                      <a:pt x="29638" y="-1026"/>
                      <a:pt x="32933" y="355"/>
                      <a:pt x="32933" y="3103"/>
                    </a:cubicBezTo>
                    <a:lnTo>
                      <a:pt x="32933" y="113577"/>
                    </a:lnTo>
                    <a:cubicBezTo>
                      <a:pt x="32933" y="115286"/>
                      <a:pt x="31538" y="116680"/>
                      <a:pt x="29830" y="11668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5" name="Google Shape;998;g22cb0be31a4_6_52">
                <a:extLst>
                  <a:ext uri="{FF2B5EF4-FFF2-40B4-BE49-F238E27FC236}">
                    <a16:creationId xmlns:a16="http://schemas.microsoft.com/office/drawing/2014/main" id="{FE6CF04B-B9BD-557A-4F3B-96E527E19D9A}"/>
                  </a:ext>
                </a:extLst>
              </p:cNvPr>
              <p:cNvSpPr/>
              <p:nvPr/>
            </p:nvSpPr>
            <p:spPr>
              <a:xfrm>
                <a:off x="11173074" y="6517105"/>
                <a:ext cx="107493" cy="119116"/>
              </a:xfrm>
              <a:custGeom>
                <a:avLst/>
                <a:gdLst/>
                <a:ahLst/>
                <a:cxnLst/>
                <a:rect l="l" t="t" r="r" b="b"/>
                <a:pathLst>
                  <a:path w="107493" h="119116" extrusionOk="0">
                    <a:moveTo>
                      <a:pt x="107480" y="41877"/>
                    </a:moveTo>
                    <a:cubicBezTo>
                      <a:pt x="107480" y="19252"/>
                      <a:pt x="88792" y="277"/>
                      <a:pt x="65237" y="3"/>
                    </a:cubicBezTo>
                    <a:cubicBezTo>
                      <a:pt x="49912" y="-175"/>
                      <a:pt x="39563" y="7331"/>
                      <a:pt x="32947" y="17474"/>
                    </a:cubicBezTo>
                    <a:lnTo>
                      <a:pt x="32947" y="5581"/>
                    </a:lnTo>
                    <a:cubicBezTo>
                      <a:pt x="32947" y="3872"/>
                      <a:pt x="31552" y="2478"/>
                      <a:pt x="29843" y="2478"/>
                    </a:cubicBezTo>
                    <a:lnTo>
                      <a:pt x="3103" y="2478"/>
                    </a:lnTo>
                    <a:cubicBezTo>
                      <a:pt x="1394" y="2478"/>
                      <a:pt x="0" y="3872"/>
                      <a:pt x="0" y="5581"/>
                    </a:cubicBezTo>
                    <a:lnTo>
                      <a:pt x="0" y="116000"/>
                    </a:lnTo>
                    <a:cubicBezTo>
                      <a:pt x="0" y="117709"/>
                      <a:pt x="1394" y="119103"/>
                      <a:pt x="3103" y="119103"/>
                    </a:cubicBezTo>
                    <a:lnTo>
                      <a:pt x="29843" y="119103"/>
                    </a:lnTo>
                    <a:cubicBezTo>
                      <a:pt x="31552" y="119103"/>
                      <a:pt x="32947" y="117709"/>
                      <a:pt x="32947" y="116000"/>
                    </a:cubicBezTo>
                    <a:lnTo>
                      <a:pt x="32947" y="51788"/>
                    </a:lnTo>
                    <a:cubicBezTo>
                      <a:pt x="33685" y="39430"/>
                      <a:pt x="41518" y="31747"/>
                      <a:pt x="53740" y="31747"/>
                    </a:cubicBezTo>
                    <a:cubicBezTo>
                      <a:pt x="65961" y="31747"/>
                      <a:pt x="74547" y="40373"/>
                      <a:pt x="74547" y="53210"/>
                    </a:cubicBezTo>
                    <a:lnTo>
                      <a:pt x="74547" y="116014"/>
                    </a:lnTo>
                    <a:cubicBezTo>
                      <a:pt x="74547" y="117722"/>
                      <a:pt x="75941" y="119117"/>
                      <a:pt x="77650" y="119117"/>
                    </a:cubicBezTo>
                    <a:lnTo>
                      <a:pt x="104390" y="119117"/>
                    </a:lnTo>
                    <a:cubicBezTo>
                      <a:pt x="106099" y="119117"/>
                      <a:pt x="107493" y="117722"/>
                      <a:pt x="107493" y="116014"/>
                    </a:cubicBezTo>
                    <a:lnTo>
                      <a:pt x="107493" y="4189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29576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perpow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F85331F-A355-2F5D-67A9-B948AC7423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" y="0"/>
            <a:ext cx="12191995" cy="6857997"/>
          </a:xfrm>
          <a:prstGeom prst="rect">
            <a:avLst/>
          </a:prstGeom>
        </p:spPr>
      </p:pic>
      <p:grpSp>
        <p:nvGrpSpPr>
          <p:cNvPr id="4" name="Google Shape;987;g22cb0be31a4_6_52">
            <a:extLst>
              <a:ext uri="{FF2B5EF4-FFF2-40B4-BE49-F238E27FC236}">
                <a16:creationId xmlns:a16="http://schemas.microsoft.com/office/drawing/2014/main" id="{4DE2FA32-4BDF-907B-19AD-7217FA4CE420}"/>
              </a:ext>
            </a:extLst>
          </p:cNvPr>
          <p:cNvGrpSpPr/>
          <p:nvPr userDrawn="1"/>
        </p:nvGrpSpPr>
        <p:grpSpPr>
          <a:xfrm>
            <a:off x="11122821" y="6466206"/>
            <a:ext cx="799629" cy="172367"/>
            <a:chOff x="11122821" y="6466206"/>
            <a:chExt cx="799629" cy="172367"/>
          </a:xfrm>
        </p:grpSpPr>
        <p:sp>
          <p:nvSpPr>
            <p:cNvPr id="5" name="Google Shape;988;g22cb0be31a4_6_52">
              <a:extLst>
                <a:ext uri="{FF2B5EF4-FFF2-40B4-BE49-F238E27FC236}">
                  <a16:creationId xmlns:a16="http://schemas.microsoft.com/office/drawing/2014/main" id="{B2CA3A27-3EF5-9B90-B4F4-41C44D6569FF}"/>
                </a:ext>
              </a:extLst>
            </p:cNvPr>
            <p:cNvSpPr/>
            <p:nvPr/>
          </p:nvSpPr>
          <p:spPr>
            <a:xfrm rot="-2700000">
              <a:off x="11134957" y="6473485"/>
              <a:ext cx="35147" cy="35147"/>
            </a:xfrm>
            <a:custGeom>
              <a:avLst/>
              <a:gdLst/>
              <a:ahLst/>
              <a:cxnLst/>
              <a:rect l="l" t="t" r="r" b="b"/>
              <a:pathLst>
                <a:path w="35147" h="35147" extrusionOk="0">
                  <a:moveTo>
                    <a:pt x="32044" y="0"/>
                  </a:moveTo>
                  <a:cubicBezTo>
                    <a:pt x="33758" y="0"/>
                    <a:pt x="35148" y="1389"/>
                    <a:pt x="35148" y="3103"/>
                  </a:cubicBezTo>
                  <a:lnTo>
                    <a:pt x="35148" y="32044"/>
                  </a:lnTo>
                  <a:cubicBezTo>
                    <a:pt x="35148" y="33758"/>
                    <a:pt x="33758" y="35148"/>
                    <a:pt x="32044" y="35148"/>
                  </a:cubicBezTo>
                  <a:lnTo>
                    <a:pt x="3103" y="35148"/>
                  </a:lnTo>
                  <a:cubicBezTo>
                    <a:pt x="1389" y="35148"/>
                    <a:pt x="0" y="33758"/>
                    <a:pt x="0" y="32044"/>
                  </a:cubicBezTo>
                  <a:lnTo>
                    <a:pt x="0" y="3103"/>
                  </a:lnTo>
                  <a:cubicBezTo>
                    <a:pt x="0" y="1389"/>
                    <a:pt x="1389" y="0"/>
                    <a:pt x="3103" y="0"/>
                  </a:cubicBezTo>
                  <a:close/>
                </a:path>
              </a:pathLst>
            </a:custGeom>
            <a:solidFill>
              <a:srgbClr val="00B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Lato Light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Calibri"/>
              </a:endParaRPr>
            </a:p>
          </p:txBody>
        </p:sp>
        <p:grpSp>
          <p:nvGrpSpPr>
            <p:cNvPr id="6" name="Google Shape;989;g22cb0be31a4_6_52">
              <a:extLst>
                <a:ext uri="{FF2B5EF4-FFF2-40B4-BE49-F238E27FC236}">
                  <a16:creationId xmlns:a16="http://schemas.microsoft.com/office/drawing/2014/main" id="{8DAC5303-7ED7-33A6-0CD6-254E7A6A7961}"/>
                </a:ext>
              </a:extLst>
            </p:cNvPr>
            <p:cNvGrpSpPr/>
            <p:nvPr/>
          </p:nvGrpSpPr>
          <p:grpSpPr>
            <a:xfrm>
              <a:off x="11122821" y="6472473"/>
              <a:ext cx="799629" cy="166100"/>
              <a:chOff x="11122821" y="6472473"/>
              <a:chExt cx="799629" cy="166100"/>
            </a:xfrm>
          </p:grpSpPr>
          <p:sp>
            <p:nvSpPr>
              <p:cNvPr id="7" name="Google Shape;990;g22cb0be31a4_6_52">
                <a:extLst>
                  <a:ext uri="{FF2B5EF4-FFF2-40B4-BE49-F238E27FC236}">
                    <a16:creationId xmlns:a16="http://schemas.microsoft.com/office/drawing/2014/main" id="{16B50947-AA17-A454-AF26-87CBF998C35A}"/>
                  </a:ext>
                </a:extLst>
              </p:cNvPr>
              <p:cNvSpPr/>
              <p:nvPr/>
            </p:nvSpPr>
            <p:spPr>
              <a:xfrm>
                <a:off x="11774281" y="6519597"/>
                <a:ext cx="119385" cy="116611"/>
              </a:xfrm>
              <a:custGeom>
                <a:avLst/>
                <a:gdLst/>
                <a:ahLst/>
                <a:cxnLst/>
                <a:rect l="l" t="t" r="r" b="b"/>
                <a:pathLst>
                  <a:path w="119385" h="116611" extrusionOk="0">
                    <a:moveTo>
                      <a:pt x="82523" y="58306"/>
                    </a:moveTo>
                    <a:lnTo>
                      <a:pt x="118887" y="112265"/>
                    </a:lnTo>
                    <a:cubicBezTo>
                      <a:pt x="120199" y="114124"/>
                      <a:pt x="118764" y="116612"/>
                      <a:pt x="116385" y="116612"/>
                    </a:cubicBezTo>
                    <a:lnTo>
                      <a:pt x="85831" y="116612"/>
                    </a:lnTo>
                    <a:cubicBezTo>
                      <a:pt x="83794" y="116612"/>
                      <a:pt x="81880" y="115600"/>
                      <a:pt x="80718" y="113919"/>
                    </a:cubicBezTo>
                    <a:lnTo>
                      <a:pt x="59693" y="81751"/>
                    </a:lnTo>
                    <a:lnTo>
                      <a:pt x="38667" y="113919"/>
                    </a:lnTo>
                    <a:cubicBezTo>
                      <a:pt x="37505" y="115600"/>
                      <a:pt x="35605" y="116612"/>
                      <a:pt x="33554" y="116612"/>
                    </a:cubicBezTo>
                    <a:lnTo>
                      <a:pt x="3000" y="116612"/>
                    </a:lnTo>
                    <a:cubicBezTo>
                      <a:pt x="621" y="116612"/>
                      <a:pt x="-814" y="114138"/>
                      <a:pt x="498" y="112265"/>
                    </a:cubicBezTo>
                    <a:lnTo>
                      <a:pt x="36753" y="58306"/>
                    </a:lnTo>
                    <a:lnTo>
                      <a:pt x="498" y="4347"/>
                    </a:lnTo>
                    <a:cubicBezTo>
                      <a:pt x="-814" y="2488"/>
                      <a:pt x="621" y="0"/>
                      <a:pt x="3000" y="0"/>
                    </a:cubicBezTo>
                    <a:lnTo>
                      <a:pt x="34853" y="0"/>
                    </a:lnTo>
                    <a:cubicBezTo>
                      <a:pt x="36042" y="0"/>
                      <a:pt x="37149" y="547"/>
                      <a:pt x="37778" y="1449"/>
                    </a:cubicBezTo>
                    <a:lnTo>
                      <a:pt x="59679" y="34806"/>
                    </a:lnTo>
                    <a:lnTo>
                      <a:pt x="80240" y="1463"/>
                    </a:lnTo>
                    <a:cubicBezTo>
                      <a:pt x="80855" y="561"/>
                      <a:pt x="81976" y="0"/>
                      <a:pt x="83165" y="0"/>
                    </a:cubicBezTo>
                    <a:lnTo>
                      <a:pt x="115333" y="0"/>
                    </a:lnTo>
                    <a:cubicBezTo>
                      <a:pt x="117711" y="0"/>
                      <a:pt x="119133" y="2474"/>
                      <a:pt x="117834" y="4334"/>
                    </a:cubicBezTo>
                    <a:lnTo>
                      <a:pt x="82495" y="5830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8" name="Google Shape;991;g22cb0be31a4_6_52">
                <a:extLst>
                  <a:ext uri="{FF2B5EF4-FFF2-40B4-BE49-F238E27FC236}">
                    <a16:creationId xmlns:a16="http://schemas.microsoft.com/office/drawing/2014/main" id="{C16BBA94-DC9E-7F21-1A44-2C9FB85B8EA7}"/>
                  </a:ext>
                </a:extLst>
              </p:cNvPr>
              <p:cNvSpPr/>
              <p:nvPr/>
            </p:nvSpPr>
            <p:spPr>
              <a:xfrm>
                <a:off x="11284928" y="6472473"/>
                <a:ext cx="78825" cy="163762"/>
              </a:xfrm>
              <a:custGeom>
                <a:avLst/>
                <a:gdLst/>
                <a:ahLst/>
                <a:cxnLst/>
                <a:rect l="l" t="t" r="r" b="b"/>
                <a:pathLst>
                  <a:path w="78825" h="163762" extrusionOk="0">
                    <a:moveTo>
                      <a:pt x="75722" y="14"/>
                    </a:moveTo>
                    <a:lnTo>
                      <a:pt x="50377" y="14"/>
                    </a:lnTo>
                    <a:cubicBezTo>
                      <a:pt x="47916" y="14"/>
                      <a:pt x="45551" y="998"/>
                      <a:pt x="43801" y="2734"/>
                    </a:cubicBezTo>
                    <a:lnTo>
                      <a:pt x="19987" y="26549"/>
                    </a:lnTo>
                    <a:cubicBezTo>
                      <a:pt x="18237" y="28299"/>
                      <a:pt x="17266" y="30664"/>
                      <a:pt x="17266" y="33124"/>
                    </a:cubicBezTo>
                    <a:lnTo>
                      <a:pt x="17266" y="51867"/>
                    </a:lnTo>
                    <a:lnTo>
                      <a:pt x="3049" y="51867"/>
                    </a:lnTo>
                    <a:cubicBezTo>
                      <a:pt x="1367" y="51867"/>
                      <a:pt x="0" y="53234"/>
                      <a:pt x="0" y="54916"/>
                    </a:cubicBezTo>
                    <a:lnTo>
                      <a:pt x="0" y="75955"/>
                    </a:lnTo>
                    <a:cubicBezTo>
                      <a:pt x="0" y="77636"/>
                      <a:pt x="1367" y="79004"/>
                      <a:pt x="3049" y="79004"/>
                    </a:cubicBezTo>
                    <a:lnTo>
                      <a:pt x="17266" y="79004"/>
                    </a:lnTo>
                    <a:lnTo>
                      <a:pt x="17266" y="160659"/>
                    </a:lnTo>
                    <a:cubicBezTo>
                      <a:pt x="17266" y="162368"/>
                      <a:pt x="18661" y="163763"/>
                      <a:pt x="20369" y="163763"/>
                    </a:cubicBezTo>
                    <a:lnTo>
                      <a:pt x="47109" y="163763"/>
                    </a:lnTo>
                    <a:cubicBezTo>
                      <a:pt x="48818" y="163763"/>
                      <a:pt x="50213" y="162368"/>
                      <a:pt x="50213" y="160659"/>
                    </a:cubicBezTo>
                    <a:lnTo>
                      <a:pt x="50213" y="78990"/>
                    </a:lnTo>
                    <a:lnTo>
                      <a:pt x="71443" y="78990"/>
                    </a:lnTo>
                    <a:cubicBezTo>
                      <a:pt x="73125" y="78990"/>
                      <a:pt x="74492" y="77623"/>
                      <a:pt x="74492" y="75941"/>
                    </a:cubicBezTo>
                    <a:lnTo>
                      <a:pt x="74492" y="54902"/>
                    </a:lnTo>
                    <a:cubicBezTo>
                      <a:pt x="74492" y="53220"/>
                      <a:pt x="73125" y="51853"/>
                      <a:pt x="71443" y="51853"/>
                    </a:cubicBezTo>
                    <a:lnTo>
                      <a:pt x="50213" y="51853"/>
                    </a:lnTo>
                    <a:lnTo>
                      <a:pt x="50213" y="38565"/>
                    </a:lnTo>
                    <a:cubicBezTo>
                      <a:pt x="50213" y="33425"/>
                      <a:pt x="54382" y="29269"/>
                      <a:pt x="59509" y="29269"/>
                    </a:cubicBezTo>
                    <a:lnTo>
                      <a:pt x="75722" y="29269"/>
                    </a:lnTo>
                    <a:cubicBezTo>
                      <a:pt x="77431" y="29269"/>
                      <a:pt x="78826" y="27875"/>
                      <a:pt x="78826" y="26166"/>
                    </a:cubicBezTo>
                    <a:lnTo>
                      <a:pt x="78826" y="3103"/>
                    </a:lnTo>
                    <a:cubicBezTo>
                      <a:pt x="78826" y="1394"/>
                      <a:pt x="77431" y="0"/>
                      <a:pt x="75722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9" name="Google Shape;992;g22cb0be31a4_6_52">
                <a:extLst>
                  <a:ext uri="{FF2B5EF4-FFF2-40B4-BE49-F238E27FC236}">
                    <a16:creationId xmlns:a16="http://schemas.microsoft.com/office/drawing/2014/main" id="{8941B8E6-F38C-9DC2-10D2-C236132A20A3}"/>
                  </a:ext>
                </a:extLst>
              </p:cNvPr>
              <p:cNvSpPr/>
              <p:nvPr/>
            </p:nvSpPr>
            <p:spPr>
              <a:xfrm>
                <a:off x="11896791" y="6612367"/>
                <a:ext cx="25659" cy="25660"/>
              </a:xfrm>
              <a:custGeom>
                <a:avLst/>
                <a:gdLst/>
                <a:ahLst/>
                <a:cxnLst/>
                <a:rect l="l" t="t" r="r" b="b"/>
                <a:pathLst>
                  <a:path w="25659" h="25660" extrusionOk="0">
                    <a:moveTo>
                      <a:pt x="25660" y="12810"/>
                    </a:moveTo>
                    <a:cubicBezTo>
                      <a:pt x="25660" y="19946"/>
                      <a:pt x="19946" y="25660"/>
                      <a:pt x="12782" y="25660"/>
                    </a:cubicBezTo>
                    <a:cubicBezTo>
                      <a:pt x="5619" y="25660"/>
                      <a:pt x="0" y="19891"/>
                      <a:pt x="0" y="12810"/>
                    </a:cubicBezTo>
                    <a:cubicBezTo>
                      <a:pt x="0" y="5728"/>
                      <a:pt x="5714" y="0"/>
                      <a:pt x="12823" y="0"/>
                    </a:cubicBezTo>
                    <a:cubicBezTo>
                      <a:pt x="19932" y="0"/>
                      <a:pt x="25646" y="5687"/>
                      <a:pt x="25646" y="12810"/>
                    </a:cubicBezTo>
                    <a:close/>
                    <a:moveTo>
                      <a:pt x="23691" y="12864"/>
                    </a:moveTo>
                    <a:cubicBezTo>
                      <a:pt x="23691" y="6712"/>
                      <a:pt x="18838" y="1832"/>
                      <a:pt x="12837" y="1832"/>
                    </a:cubicBezTo>
                    <a:cubicBezTo>
                      <a:pt x="6835" y="1832"/>
                      <a:pt x="1982" y="6658"/>
                      <a:pt x="1982" y="12851"/>
                    </a:cubicBezTo>
                    <a:cubicBezTo>
                      <a:pt x="1982" y="19043"/>
                      <a:pt x="6890" y="23856"/>
                      <a:pt x="12782" y="23856"/>
                    </a:cubicBezTo>
                    <a:cubicBezTo>
                      <a:pt x="18674" y="23856"/>
                      <a:pt x="23691" y="19002"/>
                      <a:pt x="23691" y="12864"/>
                    </a:cubicBezTo>
                    <a:close/>
                    <a:moveTo>
                      <a:pt x="15585" y="14888"/>
                    </a:moveTo>
                    <a:lnTo>
                      <a:pt x="18811" y="19905"/>
                    </a:lnTo>
                    <a:lnTo>
                      <a:pt x="16678" y="19905"/>
                    </a:lnTo>
                    <a:lnTo>
                      <a:pt x="13097" y="14218"/>
                    </a:lnTo>
                    <a:lnTo>
                      <a:pt x="9829" y="14218"/>
                    </a:lnTo>
                    <a:lnTo>
                      <a:pt x="9829" y="19905"/>
                    </a:lnTo>
                    <a:lnTo>
                      <a:pt x="8038" y="19905"/>
                    </a:lnTo>
                    <a:lnTo>
                      <a:pt x="8038" y="5523"/>
                    </a:lnTo>
                    <a:lnTo>
                      <a:pt x="13616" y="5523"/>
                    </a:lnTo>
                    <a:cubicBezTo>
                      <a:pt x="16364" y="5523"/>
                      <a:pt x="18155" y="6999"/>
                      <a:pt x="18155" y="9761"/>
                    </a:cubicBezTo>
                    <a:cubicBezTo>
                      <a:pt x="18155" y="11989"/>
                      <a:pt x="16801" y="13370"/>
                      <a:pt x="14887" y="13917"/>
                    </a:cubicBezTo>
                    <a:cubicBezTo>
                      <a:pt x="15147" y="14204"/>
                      <a:pt x="15407" y="14559"/>
                      <a:pt x="15585" y="14901"/>
                    </a:cubicBezTo>
                    <a:close/>
                    <a:moveTo>
                      <a:pt x="13015" y="12522"/>
                    </a:moveTo>
                    <a:cubicBezTo>
                      <a:pt x="15038" y="12522"/>
                      <a:pt x="16282" y="11565"/>
                      <a:pt x="16282" y="9870"/>
                    </a:cubicBezTo>
                    <a:cubicBezTo>
                      <a:pt x="16282" y="8175"/>
                      <a:pt x="15421" y="7191"/>
                      <a:pt x="13657" y="7191"/>
                    </a:cubicBezTo>
                    <a:lnTo>
                      <a:pt x="9816" y="7191"/>
                    </a:lnTo>
                    <a:lnTo>
                      <a:pt x="9816" y="12509"/>
                    </a:lnTo>
                    <a:lnTo>
                      <a:pt x="13015" y="12509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0" name="Google Shape;993;g22cb0be31a4_6_52">
                <a:extLst>
                  <a:ext uri="{FF2B5EF4-FFF2-40B4-BE49-F238E27FC236}">
                    <a16:creationId xmlns:a16="http://schemas.microsoft.com/office/drawing/2014/main" id="{83307B8F-5A19-3191-B974-315600FC968D}"/>
                  </a:ext>
                </a:extLst>
              </p:cNvPr>
              <p:cNvSpPr/>
              <p:nvPr/>
            </p:nvSpPr>
            <p:spPr>
              <a:xfrm>
                <a:off x="11620956" y="6472487"/>
                <a:ext cx="32932" cy="163721"/>
              </a:xfrm>
              <a:custGeom>
                <a:avLst/>
                <a:gdLst/>
                <a:ahLst/>
                <a:cxnLst/>
                <a:rect l="l" t="t" r="r" b="b"/>
                <a:pathLst>
                  <a:path w="32932" h="163721" extrusionOk="0">
                    <a:moveTo>
                      <a:pt x="29830" y="0"/>
                    </a:moveTo>
                    <a:cubicBezTo>
                      <a:pt x="31544" y="0"/>
                      <a:pt x="32933" y="1389"/>
                      <a:pt x="32933" y="3103"/>
                    </a:cubicBezTo>
                    <a:lnTo>
                      <a:pt x="32933" y="160618"/>
                    </a:lnTo>
                    <a:cubicBezTo>
                      <a:pt x="32933" y="162332"/>
                      <a:pt x="31543" y="163722"/>
                      <a:pt x="29830" y="163722"/>
                    </a:cubicBezTo>
                    <a:lnTo>
                      <a:pt x="3103" y="163722"/>
                    </a:lnTo>
                    <a:cubicBezTo>
                      <a:pt x="1389" y="163722"/>
                      <a:pt x="0" y="162332"/>
                      <a:pt x="0" y="160618"/>
                    </a:cubicBezTo>
                    <a:lnTo>
                      <a:pt x="0" y="3103"/>
                    </a:lnTo>
                    <a:cubicBezTo>
                      <a:pt x="0" y="1389"/>
                      <a:pt x="1389" y="0"/>
                      <a:pt x="3103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1" name="Google Shape;994;g22cb0be31a4_6_52">
                <a:extLst>
                  <a:ext uri="{FF2B5EF4-FFF2-40B4-BE49-F238E27FC236}">
                    <a16:creationId xmlns:a16="http://schemas.microsoft.com/office/drawing/2014/main" id="{130569FA-5D7A-F95B-F65D-704E55D748A0}"/>
                  </a:ext>
                </a:extLst>
              </p:cNvPr>
              <p:cNvSpPr/>
              <p:nvPr/>
            </p:nvSpPr>
            <p:spPr>
              <a:xfrm>
                <a:off x="11488486" y="6472473"/>
                <a:ext cx="123638" cy="166086"/>
              </a:xfrm>
              <a:custGeom>
                <a:avLst/>
                <a:gdLst/>
                <a:ahLst/>
                <a:cxnLst/>
                <a:rect l="l" t="t" r="r" b="b"/>
                <a:pathLst>
                  <a:path w="123638" h="166086" extrusionOk="0">
                    <a:moveTo>
                      <a:pt x="68737" y="44663"/>
                    </a:moveTo>
                    <a:cubicBezTo>
                      <a:pt x="53535" y="44663"/>
                      <a:pt x="40889" y="51252"/>
                      <a:pt x="32947" y="62052"/>
                    </a:cubicBezTo>
                    <a:lnTo>
                      <a:pt x="32947" y="3103"/>
                    </a:lnTo>
                    <a:cubicBezTo>
                      <a:pt x="32947" y="1394"/>
                      <a:pt x="31552" y="0"/>
                      <a:pt x="29843" y="0"/>
                    </a:cubicBezTo>
                    <a:lnTo>
                      <a:pt x="3103" y="0"/>
                    </a:lnTo>
                    <a:cubicBezTo>
                      <a:pt x="1394" y="0"/>
                      <a:pt x="0" y="1394"/>
                      <a:pt x="0" y="3103"/>
                    </a:cubicBezTo>
                    <a:lnTo>
                      <a:pt x="0" y="160632"/>
                    </a:lnTo>
                    <a:cubicBezTo>
                      <a:pt x="0" y="162341"/>
                      <a:pt x="1394" y="163735"/>
                      <a:pt x="3103" y="163735"/>
                    </a:cubicBezTo>
                    <a:lnTo>
                      <a:pt x="29843" y="163735"/>
                    </a:lnTo>
                    <a:cubicBezTo>
                      <a:pt x="31552" y="163735"/>
                      <a:pt x="32947" y="162341"/>
                      <a:pt x="32947" y="160632"/>
                    </a:cubicBezTo>
                    <a:lnTo>
                      <a:pt x="32947" y="149025"/>
                    </a:lnTo>
                    <a:cubicBezTo>
                      <a:pt x="40903" y="159839"/>
                      <a:pt x="53535" y="166087"/>
                      <a:pt x="68983" y="166087"/>
                    </a:cubicBezTo>
                    <a:cubicBezTo>
                      <a:pt x="101505" y="166087"/>
                      <a:pt x="123638" y="139852"/>
                      <a:pt x="123638" y="105539"/>
                    </a:cubicBezTo>
                    <a:cubicBezTo>
                      <a:pt x="123638" y="71225"/>
                      <a:pt x="101505" y="44663"/>
                      <a:pt x="68750" y="44663"/>
                    </a:cubicBezTo>
                    <a:close/>
                    <a:moveTo>
                      <a:pt x="62188" y="135163"/>
                    </a:moveTo>
                    <a:cubicBezTo>
                      <a:pt x="45346" y="135163"/>
                      <a:pt x="32947" y="121533"/>
                      <a:pt x="32947" y="105552"/>
                    </a:cubicBezTo>
                    <a:cubicBezTo>
                      <a:pt x="32947" y="89571"/>
                      <a:pt x="45346" y="76174"/>
                      <a:pt x="62188" y="76174"/>
                    </a:cubicBezTo>
                    <a:cubicBezTo>
                      <a:pt x="79031" y="76174"/>
                      <a:pt x="90965" y="89571"/>
                      <a:pt x="90965" y="105552"/>
                    </a:cubicBezTo>
                    <a:cubicBezTo>
                      <a:pt x="90965" y="121533"/>
                      <a:pt x="78798" y="135163"/>
                      <a:pt x="62188" y="13516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2" name="Google Shape;995;g22cb0be31a4_6_52">
                <a:extLst>
                  <a:ext uri="{FF2B5EF4-FFF2-40B4-BE49-F238E27FC236}">
                    <a16:creationId xmlns:a16="http://schemas.microsoft.com/office/drawing/2014/main" id="{6D393623-2CB7-C55C-8D1B-FC6314835DAC}"/>
                  </a:ext>
                </a:extLst>
              </p:cNvPr>
              <p:cNvSpPr/>
              <p:nvPr/>
            </p:nvSpPr>
            <p:spPr>
              <a:xfrm>
                <a:off x="11359421" y="6517136"/>
                <a:ext cx="120412" cy="121437"/>
              </a:xfrm>
              <a:custGeom>
                <a:avLst/>
                <a:gdLst/>
                <a:ahLst/>
                <a:cxnLst/>
                <a:rect l="l" t="t" r="r" b="b"/>
                <a:pathLst>
                  <a:path w="120412" h="121437" extrusionOk="0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3" name="Google Shape;996;g22cb0be31a4_6_52">
                <a:extLst>
                  <a:ext uri="{FF2B5EF4-FFF2-40B4-BE49-F238E27FC236}">
                    <a16:creationId xmlns:a16="http://schemas.microsoft.com/office/drawing/2014/main" id="{094FDF1B-5EB4-048A-72BC-5AD461F6007A}"/>
                  </a:ext>
                </a:extLst>
              </p:cNvPr>
              <p:cNvSpPr/>
              <p:nvPr/>
            </p:nvSpPr>
            <p:spPr>
              <a:xfrm>
                <a:off x="11662542" y="6517136"/>
                <a:ext cx="120412" cy="121437"/>
              </a:xfrm>
              <a:custGeom>
                <a:avLst/>
                <a:gdLst/>
                <a:ahLst/>
                <a:cxnLst/>
                <a:rect l="l" t="t" r="r" b="b"/>
                <a:pathLst>
                  <a:path w="120412" h="121437" extrusionOk="0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4" name="Google Shape;997;g22cb0be31a4_6_52">
                <a:extLst>
                  <a:ext uri="{FF2B5EF4-FFF2-40B4-BE49-F238E27FC236}">
                    <a16:creationId xmlns:a16="http://schemas.microsoft.com/office/drawing/2014/main" id="{C63C090B-3E6D-854E-8428-1FF6A03DBA1B}"/>
                  </a:ext>
                </a:extLst>
              </p:cNvPr>
              <p:cNvSpPr/>
              <p:nvPr/>
            </p:nvSpPr>
            <p:spPr>
              <a:xfrm>
                <a:off x="11122821" y="6519528"/>
                <a:ext cx="32932" cy="116680"/>
              </a:xfrm>
              <a:custGeom>
                <a:avLst/>
                <a:gdLst/>
                <a:ahLst/>
                <a:cxnLst/>
                <a:rect l="l" t="t" r="r" b="b"/>
                <a:pathLst>
                  <a:path w="32932" h="116680" extrusionOk="0">
                    <a:moveTo>
                      <a:pt x="29843" y="116680"/>
                    </a:moveTo>
                    <a:lnTo>
                      <a:pt x="3103" y="116680"/>
                    </a:lnTo>
                    <a:cubicBezTo>
                      <a:pt x="1394" y="116680"/>
                      <a:pt x="0" y="115286"/>
                      <a:pt x="0" y="113577"/>
                    </a:cubicBezTo>
                    <a:lnTo>
                      <a:pt x="0" y="30554"/>
                    </a:lnTo>
                    <a:cubicBezTo>
                      <a:pt x="0" y="28886"/>
                      <a:pt x="670" y="27287"/>
                      <a:pt x="1859" y="26125"/>
                    </a:cubicBezTo>
                    <a:lnTo>
                      <a:pt x="27670" y="888"/>
                    </a:lnTo>
                    <a:cubicBezTo>
                      <a:pt x="29638" y="-1026"/>
                      <a:pt x="32933" y="355"/>
                      <a:pt x="32933" y="3103"/>
                    </a:cubicBezTo>
                    <a:lnTo>
                      <a:pt x="32933" y="113577"/>
                    </a:lnTo>
                    <a:cubicBezTo>
                      <a:pt x="32933" y="115286"/>
                      <a:pt x="31538" y="116680"/>
                      <a:pt x="29830" y="11668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5" name="Google Shape;998;g22cb0be31a4_6_52">
                <a:extLst>
                  <a:ext uri="{FF2B5EF4-FFF2-40B4-BE49-F238E27FC236}">
                    <a16:creationId xmlns:a16="http://schemas.microsoft.com/office/drawing/2014/main" id="{FE6CF04B-B9BD-557A-4F3B-96E527E19D9A}"/>
                  </a:ext>
                </a:extLst>
              </p:cNvPr>
              <p:cNvSpPr/>
              <p:nvPr/>
            </p:nvSpPr>
            <p:spPr>
              <a:xfrm>
                <a:off x="11173074" y="6517105"/>
                <a:ext cx="107493" cy="119116"/>
              </a:xfrm>
              <a:custGeom>
                <a:avLst/>
                <a:gdLst/>
                <a:ahLst/>
                <a:cxnLst/>
                <a:rect l="l" t="t" r="r" b="b"/>
                <a:pathLst>
                  <a:path w="107493" h="119116" extrusionOk="0">
                    <a:moveTo>
                      <a:pt x="107480" y="41877"/>
                    </a:moveTo>
                    <a:cubicBezTo>
                      <a:pt x="107480" y="19252"/>
                      <a:pt x="88792" y="277"/>
                      <a:pt x="65237" y="3"/>
                    </a:cubicBezTo>
                    <a:cubicBezTo>
                      <a:pt x="49912" y="-175"/>
                      <a:pt x="39563" y="7331"/>
                      <a:pt x="32947" y="17474"/>
                    </a:cubicBezTo>
                    <a:lnTo>
                      <a:pt x="32947" y="5581"/>
                    </a:lnTo>
                    <a:cubicBezTo>
                      <a:pt x="32947" y="3872"/>
                      <a:pt x="31552" y="2478"/>
                      <a:pt x="29843" y="2478"/>
                    </a:cubicBezTo>
                    <a:lnTo>
                      <a:pt x="3103" y="2478"/>
                    </a:lnTo>
                    <a:cubicBezTo>
                      <a:pt x="1394" y="2478"/>
                      <a:pt x="0" y="3872"/>
                      <a:pt x="0" y="5581"/>
                    </a:cubicBezTo>
                    <a:lnTo>
                      <a:pt x="0" y="116000"/>
                    </a:lnTo>
                    <a:cubicBezTo>
                      <a:pt x="0" y="117709"/>
                      <a:pt x="1394" y="119103"/>
                      <a:pt x="3103" y="119103"/>
                    </a:cubicBezTo>
                    <a:lnTo>
                      <a:pt x="29843" y="119103"/>
                    </a:lnTo>
                    <a:cubicBezTo>
                      <a:pt x="31552" y="119103"/>
                      <a:pt x="32947" y="117709"/>
                      <a:pt x="32947" y="116000"/>
                    </a:cubicBezTo>
                    <a:lnTo>
                      <a:pt x="32947" y="51788"/>
                    </a:lnTo>
                    <a:cubicBezTo>
                      <a:pt x="33685" y="39430"/>
                      <a:pt x="41518" y="31747"/>
                      <a:pt x="53740" y="31747"/>
                    </a:cubicBezTo>
                    <a:cubicBezTo>
                      <a:pt x="65961" y="31747"/>
                      <a:pt x="74547" y="40373"/>
                      <a:pt x="74547" y="53210"/>
                    </a:cubicBezTo>
                    <a:lnTo>
                      <a:pt x="74547" y="116014"/>
                    </a:lnTo>
                    <a:cubicBezTo>
                      <a:pt x="74547" y="117722"/>
                      <a:pt x="75941" y="119117"/>
                      <a:pt x="77650" y="119117"/>
                    </a:cubicBezTo>
                    <a:lnTo>
                      <a:pt x="104390" y="119117"/>
                    </a:lnTo>
                    <a:cubicBezTo>
                      <a:pt x="106099" y="119117"/>
                      <a:pt x="107493" y="117722"/>
                      <a:pt x="107493" y="116014"/>
                    </a:cubicBezTo>
                    <a:lnTo>
                      <a:pt x="107493" y="4189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02252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ild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F85331F-A355-2F5D-67A9-B948AC7423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" y="0"/>
            <a:ext cx="12191995" cy="6857998"/>
          </a:xfrm>
          <a:prstGeom prst="rect">
            <a:avLst/>
          </a:prstGeom>
        </p:spPr>
      </p:pic>
      <p:grpSp>
        <p:nvGrpSpPr>
          <p:cNvPr id="4" name="Google Shape;987;g22cb0be31a4_6_52">
            <a:extLst>
              <a:ext uri="{FF2B5EF4-FFF2-40B4-BE49-F238E27FC236}">
                <a16:creationId xmlns:a16="http://schemas.microsoft.com/office/drawing/2014/main" id="{4DE2FA32-4BDF-907B-19AD-7217FA4CE420}"/>
              </a:ext>
            </a:extLst>
          </p:cNvPr>
          <p:cNvGrpSpPr/>
          <p:nvPr userDrawn="1"/>
        </p:nvGrpSpPr>
        <p:grpSpPr>
          <a:xfrm>
            <a:off x="11122821" y="6466206"/>
            <a:ext cx="799629" cy="172367"/>
            <a:chOff x="11122821" y="6466206"/>
            <a:chExt cx="799629" cy="172367"/>
          </a:xfrm>
        </p:grpSpPr>
        <p:sp>
          <p:nvSpPr>
            <p:cNvPr id="5" name="Google Shape;988;g22cb0be31a4_6_52">
              <a:extLst>
                <a:ext uri="{FF2B5EF4-FFF2-40B4-BE49-F238E27FC236}">
                  <a16:creationId xmlns:a16="http://schemas.microsoft.com/office/drawing/2014/main" id="{B2CA3A27-3EF5-9B90-B4F4-41C44D6569FF}"/>
                </a:ext>
              </a:extLst>
            </p:cNvPr>
            <p:cNvSpPr/>
            <p:nvPr/>
          </p:nvSpPr>
          <p:spPr>
            <a:xfrm rot="-2700000">
              <a:off x="11134957" y="6473485"/>
              <a:ext cx="35147" cy="35147"/>
            </a:xfrm>
            <a:custGeom>
              <a:avLst/>
              <a:gdLst/>
              <a:ahLst/>
              <a:cxnLst/>
              <a:rect l="l" t="t" r="r" b="b"/>
              <a:pathLst>
                <a:path w="35147" h="35147" extrusionOk="0">
                  <a:moveTo>
                    <a:pt x="32044" y="0"/>
                  </a:moveTo>
                  <a:cubicBezTo>
                    <a:pt x="33758" y="0"/>
                    <a:pt x="35148" y="1389"/>
                    <a:pt x="35148" y="3103"/>
                  </a:cubicBezTo>
                  <a:lnTo>
                    <a:pt x="35148" y="32044"/>
                  </a:lnTo>
                  <a:cubicBezTo>
                    <a:pt x="35148" y="33758"/>
                    <a:pt x="33758" y="35148"/>
                    <a:pt x="32044" y="35148"/>
                  </a:cubicBezTo>
                  <a:lnTo>
                    <a:pt x="3103" y="35148"/>
                  </a:lnTo>
                  <a:cubicBezTo>
                    <a:pt x="1389" y="35148"/>
                    <a:pt x="0" y="33758"/>
                    <a:pt x="0" y="32044"/>
                  </a:cubicBezTo>
                  <a:lnTo>
                    <a:pt x="0" y="3103"/>
                  </a:lnTo>
                  <a:cubicBezTo>
                    <a:pt x="0" y="1389"/>
                    <a:pt x="1389" y="0"/>
                    <a:pt x="3103" y="0"/>
                  </a:cubicBezTo>
                  <a:close/>
                </a:path>
              </a:pathLst>
            </a:custGeom>
            <a:solidFill>
              <a:srgbClr val="00B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Lato Light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Calibri"/>
              </a:endParaRPr>
            </a:p>
          </p:txBody>
        </p:sp>
        <p:grpSp>
          <p:nvGrpSpPr>
            <p:cNvPr id="6" name="Google Shape;989;g22cb0be31a4_6_52">
              <a:extLst>
                <a:ext uri="{FF2B5EF4-FFF2-40B4-BE49-F238E27FC236}">
                  <a16:creationId xmlns:a16="http://schemas.microsoft.com/office/drawing/2014/main" id="{8DAC5303-7ED7-33A6-0CD6-254E7A6A7961}"/>
                </a:ext>
              </a:extLst>
            </p:cNvPr>
            <p:cNvGrpSpPr/>
            <p:nvPr/>
          </p:nvGrpSpPr>
          <p:grpSpPr>
            <a:xfrm>
              <a:off x="11122821" y="6472473"/>
              <a:ext cx="799629" cy="166100"/>
              <a:chOff x="11122821" y="6472473"/>
              <a:chExt cx="799629" cy="166100"/>
            </a:xfrm>
          </p:grpSpPr>
          <p:sp>
            <p:nvSpPr>
              <p:cNvPr id="7" name="Google Shape;990;g22cb0be31a4_6_52">
                <a:extLst>
                  <a:ext uri="{FF2B5EF4-FFF2-40B4-BE49-F238E27FC236}">
                    <a16:creationId xmlns:a16="http://schemas.microsoft.com/office/drawing/2014/main" id="{16B50947-AA17-A454-AF26-87CBF998C35A}"/>
                  </a:ext>
                </a:extLst>
              </p:cNvPr>
              <p:cNvSpPr/>
              <p:nvPr/>
            </p:nvSpPr>
            <p:spPr>
              <a:xfrm>
                <a:off x="11774281" y="6519597"/>
                <a:ext cx="119385" cy="116611"/>
              </a:xfrm>
              <a:custGeom>
                <a:avLst/>
                <a:gdLst/>
                <a:ahLst/>
                <a:cxnLst/>
                <a:rect l="l" t="t" r="r" b="b"/>
                <a:pathLst>
                  <a:path w="119385" h="116611" extrusionOk="0">
                    <a:moveTo>
                      <a:pt x="82523" y="58306"/>
                    </a:moveTo>
                    <a:lnTo>
                      <a:pt x="118887" y="112265"/>
                    </a:lnTo>
                    <a:cubicBezTo>
                      <a:pt x="120199" y="114124"/>
                      <a:pt x="118764" y="116612"/>
                      <a:pt x="116385" y="116612"/>
                    </a:cubicBezTo>
                    <a:lnTo>
                      <a:pt x="85831" y="116612"/>
                    </a:lnTo>
                    <a:cubicBezTo>
                      <a:pt x="83794" y="116612"/>
                      <a:pt x="81880" y="115600"/>
                      <a:pt x="80718" y="113919"/>
                    </a:cubicBezTo>
                    <a:lnTo>
                      <a:pt x="59693" y="81751"/>
                    </a:lnTo>
                    <a:lnTo>
                      <a:pt x="38667" y="113919"/>
                    </a:lnTo>
                    <a:cubicBezTo>
                      <a:pt x="37505" y="115600"/>
                      <a:pt x="35605" y="116612"/>
                      <a:pt x="33554" y="116612"/>
                    </a:cubicBezTo>
                    <a:lnTo>
                      <a:pt x="3000" y="116612"/>
                    </a:lnTo>
                    <a:cubicBezTo>
                      <a:pt x="621" y="116612"/>
                      <a:pt x="-814" y="114138"/>
                      <a:pt x="498" y="112265"/>
                    </a:cubicBezTo>
                    <a:lnTo>
                      <a:pt x="36753" y="58306"/>
                    </a:lnTo>
                    <a:lnTo>
                      <a:pt x="498" y="4347"/>
                    </a:lnTo>
                    <a:cubicBezTo>
                      <a:pt x="-814" y="2488"/>
                      <a:pt x="621" y="0"/>
                      <a:pt x="3000" y="0"/>
                    </a:cubicBezTo>
                    <a:lnTo>
                      <a:pt x="34853" y="0"/>
                    </a:lnTo>
                    <a:cubicBezTo>
                      <a:pt x="36042" y="0"/>
                      <a:pt x="37149" y="547"/>
                      <a:pt x="37778" y="1449"/>
                    </a:cubicBezTo>
                    <a:lnTo>
                      <a:pt x="59679" y="34806"/>
                    </a:lnTo>
                    <a:lnTo>
                      <a:pt x="80240" y="1463"/>
                    </a:lnTo>
                    <a:cubicBezTo>
                      <a:pt x="80855" y="561"/>
                      <a:pt x="81976" y="0"/>
                      <a:pt x="83165" y="0"/>
                    </a:cubicBezTo>
                    <a:lnTo>
                      <a:pt x="115333" y="0"/>
                    </a:lnTo>
                    <a:cubicBezTo>
                      <a:pt x="117711" y="0"/>
                      <a:pt x="119133" y="2474"/>
                      <a:pt x="117834" y="4334"/>
                    </a:cubicBezTo>
                    <a:lnTo>
                      <a:pt x="82495" y="5830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8" name="Google Shape;991;g22cb0be31a4_6_52">
                <a:extLst>
                  <a:ext uri="{FF2B5EF4-FFF2-40B4-BE49-F238E27FC236}">
                    <a16:creationId xmlns:a16="http://schemas.microsoft.com/office/drawing/2014/main" id="{C16BBA94-DC9E-7F21-1A44-2C9FB85B8EA7}"/>
                  </a:ext>
                </a:extLst>
              </p:cNvPr>
              <p:cNvSpPr/>
              <p:nvPr/>
            </p:nvSpPr>
            <p:spPr>
              <a:xfrm>
                <a:off x="11284928" y="6472473"/>
                <a:ext cx="78825" cy="163762"/>
              </a:xfrm>
              <a:custGeom>
                <a:avLst/>
                <a:gdLst/>
                <a:ahLst/>
                <a:cxnLst/>
                <a:rect l="l" t="t" r="r" b="b"/>
                <a:pathLst>
                  <a:path w="78825" h="163762" extrusionOk="0">
                    <a:moveTo>
                      <a:pt x="75722" y="14"/>
                    </a:moveTo>
                    <a:lnTo>
                      <a:pt x="50377" y="14"/>
                    </a:lnTo>
                    <a:cubicBezTo>
                      <a:pt x="47916" y="14"/>
                      <a:pt x="45551" y="998"/>
                      <a:pt x="43801" y="2734"/>
                    </a:cubicBezTo>
                    <a:lnTo>
                      <a:pt x="19987" y="26549"/>
                    </a:lnTo>
                    <a:cubicBezTo>
                      <a:pt x="18237" y="28299"/>
                      <a:pt x="17266" y="30664"/>
                      <a:pt x="17266" y="33124"/>
                    </a:cubicBezTo>
                    <a:lnTo>
                      <a:pt x="17266" y="51867"/>
                    </a:lnTo>
                    <a:lnTo>
                      <a:pt x="3049" y="51867"/>
                    </a:lnTo>
                    <a:cubicBezTo>
                      <a:pt x="1367" y="51867"/>
                      <a:pt x="0" y="53234"/>
                      <a:pt x="0" y="54916"/>
                    </a:cubicBezTo>
                    <a:lnTo>
                      <a:pt x="0" y="75955"/>
                    </a:lnTo>
                    <a:cubicBezTo>
                      <a:pt x="0" y="77636"/>
                      <a:pt x="1367" y="79004"/>
                      <a:pt x="3049" y="79004"/>
                    </a:cubicBezTo>
                    <a:lnTo>
                      <a:pt x="17266" y="79004"/>
                    </a:lnTo>
                    <a:lnTo>
                      <a:pt x="17266" y="160659"/>
                    </a:lnTo>
                    <a:cubicBezTo>
                      <a:pt x="17266" y="162368"/>
                      <a:pt x="18661" y="163763"/>
                      <a:pt x="20369" y="163763"/>
                    </a:cubicBezTo>
                    <a:lnTo>
                      <a:pt x="47109" y="163763"/>
                    </a:lnTo>
                    <a:cubicBezTo>
                      <a:pt x="48818" y="163763"/>
                      <a:pt x="50213" y="162368"/>
                      <a:pt x="50213" y="160659"/>
                    </a:cubicBezTo>
                    <a:lnTo>
                      <a:pt x="50213" y="78990"/>
                    </a:lnTo>
                    <a:lnTo>
                      <a:pt x="71443" y="78990"/>
                    </a:lnTo>
                    <a:cubicBezTo>
                      <a:pt x="73125" y="78990"/>
                      <a:pt x="74492" y="77623"/>
                      <a:pt x="74492" y="75941"/>
                    </a:cubicBezTo>
                    <a:lnTo>
                      <a:pt x="74492" y="54902"/>
                    </a:lnTo>
                    <a:cubicBezTo>
                      <a:pt x="74492" y="53220"/>
                      <a:pt x="73125" y="51853"/>
                      <a:pt x="71443" y="51853"/>
                    </a:cubicBezTo>
                    <a:lnTo>
                      <a:pt x="50213" y="51853"/>
                    </a:lnTo>
                    <a:lnTo>
                      <a:pt x="50213" y="38565"/>
                    </a:lnTo>
                    <a:cubicBezTo>
                      <a:pt x="50213" y="33425"/>
                      <a:pt x="54382" y="29269"/>
                      <a:pt x="59509" y="29269"/>
                    </a:cubicBezTo>
                    <a:lnTo>
                      <a:pt x="75722" y="29269"/>
                    </a:lnTo>
                    <a:cubicBezTo>
                      <a:pt x="77431" y="29269"/>
                      <a:pt x="78826" y="27875"/>
                      <a:pt x="78826" y="26166"/>
                    </a:cubicBezTo>
                    <a:lnTo>
                      <a:pt x="78826" y="3103"/>
                    </a:lnTo>
                    <a:cubicBezTo>
                      <a:pt x="78826" y="1394"/>
                      <a:pt x="77431" y="0"/>
                      <a:pt x="75722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9" name="Google Shape;992;g22cb0be31a4_6_52">
                <a:extLst>
                  <a:ext uri="{FF2B5EF4-FFF2-40B4-BE49-F238E27FC236}">
                    <a16:creationId xmlns:a16="http://schemas.microsoft.com/office/drawing/2014/main" id="{8941B8E6-F38C-9DC2-10D2-C236132A20A3}"/>
                  </a:ext>
                </a:extLst>
              </p:cNvPr>
              <p:cNvSpPr/>
              <p:nvPr/>
            </p:nvSpPr>
            <p:spPr>
              <a:xfrm>
                <a:off x="11896791" y="6612367"/>
                <a:ext cx="25659" cy="25660"/>
              </a:xfrm>
              <a:custGeom>
                <a:avLst/>
                <a:gdLst/>
                <a:ahLst/>
                <a:cxnLst/>
                <a:rect l="l" t="t" r="r" b="b"/>
                <a:pathLst>
                  <a:path w="25659" h="25660" extrusionOk="0">
                    <a:moveTo>
                      <a:pt x="25660" y="12810"/>
                    </a:moveTo>
                    <a:cubicBezTo>
                      <a:pt x="25660" y="19946"/>
                      <a:pt x="19946" y="25660"/>
                      <a:pt x="12782" y="25660"/>
                    </a:cubicBezTo>
                    <a:cubicBezTo>
                      <a:pt x="5619" y="25660"/>
                      <a:pt x="0" y="19891"/>
                      <a:pt x="0" y="12810"/>
                    </a:cubicBezTo>
                    <a:cubicBezTo>
                      <a:pt x="0" y="5728"/>
                      <a:pt x="5714" y="0"/>
                      <a:pt x="12823" y="0"/>
                    </a:cubicBezTo>
                    <a:cubicBezTo>
                      <a:pt x="19932" y="0"/>
                      <a:pt x="25646" y="5687"/>
                      <a:pt x="25646" y="12810"/>
                    </a:cubicBezTo>
                    <a:close/>
                    <a:moveTo>
                      <a:pt x="23691" y="12864"/>
                    </a:moveTo>
                    <a:cubicBezTo>
                      <a:pt x="23691" y="6712"/>
                      <a:pt x="18838" y="1832"/>
                      <a:pt x="12837" y="1832"/>
                    </a:cubicBezTo>
                    <a:cubicBezTo>
                      <a:pt x="6835" y="1832"/>
                      <a:pt x="1982" y="6658"/>
                      <a:pt x="1982" y="12851"/>
                    </a:cubicBezTo>
                    <a:cubicBezTo>
                      <a:pt x="1982" y="19043"/>
                      <a:pt x="6890" y="23856"/>
                      <a:pt x="12782" y="23856"/>
                    </a:cubicBezTo>
                    <a:cubicBezTo>
                      <a:pt x="18674" y="23856"/>
                      <a:pt x="23691" y="19002"/>
                      <a:pt x="23691" y="12864"/>
                    </a:cubicBezTo>
                    <a:close/>
                    <a:moveTo>
                      <a:pt x="15585" y="14888"/>
                    </a:moveTo>
                    <a:lnTo>
                      <a:pt x="18811" y="19905"/>
                    </a:lnTo>
                    <a:lnTo>
                      <a:pt x="16678" y="19905"/>
                    </a:lnTo>
                    <a:lnTo>
                      <a:pt x="13097" y="14218"/>
                    </a:lnTo>
                    <a:lnTo>
                      <a:pt x="9829" y="14218"/>
                    </a:lnTo>
                    <a:lnTo>
                      <a:pt x="9829" y="19905"/>
                    </a:lnTo>
                    <a:lnTo>
                      <a:pt x="8038" y="19905"/>
                    </a:lnTo>
                    <a:lnTo>
                      <a:pt x="8038" y="5523"/>
                    </a:lnTo>
                    <a:lnTo>
                      <a:pt x="13616" y="5523"/>
                    </a:lnTo>
                    <a:cubicBezTo>
                      <a:pt x="16364" y="5523"/>
                      <a:pt x="18155" y="6999"/>
                      <a:pt x="18155" y="9761"/>
                    </a:cubicBezTo>
                    <a:cubicBezTo>
                      <a:pt x="18155" y="11989"/>
                      <a:pt x="16801" y="13370"/>
                      <a:pt x="14887" y="13917"/>
                    </a:cubicBezTo>
                    <a:cubicBezTo>
                      <a:pt x="15147" y="14204"/>
                      <a:pt x="15407" y="14559"/>
                      <a:pt x="15585" y="14901"/>
                    </a:cubicBezTo>
                    <a:close/>
                    <a:moveTo>
                      <a:pt x="13015" y="12522"/>
                    </a:moveTo>
                    <a:cubicBezTo>
                      <a:pt x="15038" y="12522"/>
                      <a:pt x="16282" y="11565"/>
                      <a:pt x="16282" y="9870"/>
                    </a:cubicBezTo>
                    <a:cubicBezTo>
                      <a:pt x="16282" y="8175"/>
                      <a:pt x="15421" y="7191"/>
                      <a:pt x="13657" y="7191"/>
                    </a:cubicBezTo>
                    <a:lnTo>
                      <a:pt x="9816" y="7191"/>
                    </a:lnTo>
                    <a:lnTo>
                      <a:pt x="9816" y="12509"/>
                    </a:lnTo>
                    <a:lnTo>
                      <a:pt x="13015" y="12509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0" name="Google Shape;993;g22cb0be31a4_6_52">
                <a:extLst>
                  <a:ext uri="{FF2B5EF4-FFF2-40B4-BE49-F238E27FC236}">
                    <a16:creationId xmlns:a16="http://schemas.microsoft.com/office/drawing/2014/main" id="{83307B8F-5A19-3191-B974-315600FC968D}"/>
                  </a:ext>
                </a:extLst>
              </p:cNvPr>
              <p:cNvSpPr/>
              <p:nvPr/>
            </p:nvSpPr>
            <p:spPr>
              <a:xfrm>
                <a:off x="11620956" y="6472487"/>
                <a:ext cx="32932" cy="163721"/>
              </a:xfrm>
              <a:custGeom>
                <a:avLst/>
                <a:gdLst/>
                <a:ahLst/>
                <a:cxnLst/>
                <a:rect l="l" t="t" r="r" b="b"/>
                <a:pathLst>
                  <a:path w="32932" h="163721" extrusionOk="0">
                    <a:moveTo>
                      <a:pt x="29830" y="0"/>
                    </a:moveTo>
                    <a:cubicBezTo>
                      <a:pt x="31544" y="0"/>
                      <a:pt x="32933" y="1389"/>
                      <a:pt x="32933" y="3103"/>
                    </a:cubicBezTo>
                    <a:lnTo>
                      <a:pt x="32933" y="160618"/>
                    </a:lnTo>
                    <a:cubicBezTo>
                      <a:pt x="32933" y="162332"/>
                      <a:pt x="31543" y="163722"/>
                      <a:pt x="29830" y="163722"/>
                    </a:cubicBezTo>
                    <a:lnTo>
                      <a:pt x="3103" y="163722"/>
                    </a:lnTo>
                    <a:cubicBezTo>
                      <a:pt x="1389" y="163722"/>
                      <a:pt x="0" y="162332"/>
                      <a:pt x="0" y="160618"/>
                    </a:cubicBezTo>
                    <a:lnTo>
                      <a:pt x="0" y="3103"/>
                    </a:lnTo>
                    <a:cubicBezTo>
                      <a:pt x="0" y="1389"/>
                      <a:pt x="1389" y="0"/>
                      <a:pt x="3103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1" name="Google Shape;994;g22cb0be31a4_6_52">
                <a:extLst>
                  <a:ext uri="{FF2B5EF4-FFF2-40B4-BE49-F238E27FC236}">
                    <a16:creationId xmlns:a16="http://schemas.microsoft.com/office/drawing/2014/main" id="{130569FA-5D7A-F95B-F65D-704E55D748A0}"/>
                  </a:ext>
                </a:extLst>
              </p:cNvPr>
              <p:cNvSpPr/>
              <p:nvPr/>
            </p:nvSpPr>
            <p:spPr>
              <a:xfrm>
                <a:off x="11488486" y="6472473"/>
                <a:ext cx="123638" cy="166086"/>
              </a:xfrm>
              <a:custGeom>
                <a:avLst/>
                <a:gdLst/>
                <a:ahLst/>
                <a:cxnLst/>
                <a:rect l="l" t="t" r="r" b="b"/>
                <a:pathLst>
                  <a:path w="123638" h="166086" extrusionOk="0">
                    <a:moveTo>
                      <a:pt x="68737" y="44663"/>
                    </a:moveTo>
                    <a:cubicBezTo>
                      <a:pt x="53535" y="44663"/>
                      <a:pt x="40889" y="51252"/>
                      <a:pt x="32947" y="62052"/>
                    </a:cubicBezTo>
                    <a:lnTo>
                      <a:pt x="32947" y="3103"/>
                    </a:lnTo>
                    <a:cubicBezTo>
                      <a:pt x="32947" y="1394"/>
                      <a:pt x="31552" y="0"/>
                      <a:pt x="29843" y="0"/>
                    </a:cubicBezTo>
                    <a:lnTo>
                      <a:pt x="3103" y="0"/>
                    </a:lnTo>
                    <a:cubicBezTo>
                      <a:pt x="1394" y="0"/>
                      <a:pt x="0" y="1394"/>
                      <a:pt x="0" y="3103"/>
                    </a:cubicBezTo>
                    <a:lnTo>
                      <a:pt x="0" y="160632"/>
                    </a:lnTo>
                    <a:cubicBezTo>
                      <a:pt x="0" y="162341"/>
                      <a:pt x="1394" y="163735"/>
                      <a:pt x="3103" y="163735"/>
                    </a:cubicBezTo>
                    <a:lnTo>
                      <a:pt x="29843" y="163735"/>
                    </a:lnTo>
                    <a:cubicBezTo>
                      <a:pt x="31552" y="163735"/>
                      <a:pt x="32947" y="162341"/>
                      <a:pt x="32947" y="160632"/>
                    </a:cubicBezTo>
                    <a:lnTo>
                      <a:pt x="32947" y="149025"/>
                    </a:lnTo>
                    <a:cubicBezTo>
                      <a:pt x="40903" y="159839"/>
                      <a:pt x="53535" y="166087"/>
                      <a:pt x="68983" y="166087"/>
                    </a:cubicBezTo>
                    <a:cubicBezTo>
                      <a:pt x="101505" y="166087"/>
                      <a:pt x="123638" y="139852"/>
                      <a:pt x="123638" y="105539"/>
                    </a:cubicBezTo>
                    <a:cubicBezTo>
                      <a:pt x="123638" y="71225"/>
                      <a:pt x="101505" y="44663"/>
                      <a:pt x="68750" y="44663"/>
                    </a:cubicBezTo>
                    <a:close/>
                    <a:moveTo>
                      <a:pt x="62188" y="135163"/>
                    </a:moveTo>
                    <a:cubicBezTo>
                      <a:pt x="45346" y="135163"/>
                      <a:pt x="32947" y="121533"/>
                      <a:pt x="32947" y="105552"/>
                    </a:cubicBezTo>
                    <a:cubicBezTo>
                      <a:pt x="32947" y="89571"/>
                      <a:pt x="45346" y="76174"/>
                      <a:pt x="62188" y="76174"/>
                    </a:cubicBezTo>
                    <a:cubicBezTo>
                      <a:pt x="79031" y="76174"/>
                      <a:pt x="90965" y="89571"/>
                      <a:pt x="90965" y="105552"/>
                    </a:cubicBezTo>
                    <a:cubicBezTo>
                      <a:pt x="90965" y="121533"/>
                      <a:pt x="78798" y="135163"/>
                      <a:pt x="62188" y="13516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2" name="Google Shape;995;g22cb0be31a4_6_52">
                <a:extLst>
                  <a:ext uri="{FF2B5EF4-FFF2-40B4-BE49-F238E27FC236}">
                    <a16:creationId xmlns:a16="http://schemas.microsoft.com/office/drawing/2014/main" id="{6D393623-2CB7-C55C-8D1B-FC6314835DAC}"/>
                  </a:ext>
                </a:extLst>
              </p:cNvPr>
              <p:cNvSpPr/>
              <p:nvPr/>
            </p:nvSpPr>
            <p:spPr>
              <a:xfrm>
                <a:off x="11359421" y="6517136"/>
                <a:ext cx="120412" cy="121437"/>
              </a:xfrm>
              <a:custGeom>
                <a:avLst/>
                <a:gdLst/>
                <a:ahLst/>
                <a:cxnLst/>
                <a:rect l="l" t="t" r="r" b="b"/>
                <a:pathLst>
                  <a:path w="120412" h="121437" extrusionOk="0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3" name="Google Shape;996;g22cb0be31a4_6_52">
                <a:extLst>
                  <a:ext uri="{FF2B5EF4-FFF2-40B4-BE49-F238E27FC236}">
                    <a16:creationId xmlns:a16="http://schemas.microsoft.com/office/drawing/2014/main" id="{094FDF1B-5EB4-048A-72BC-5AD461F6007A}"/>
                  </a:ext>
                </a:extLst>
              </p:cNvPr>
              <p:cNvSpPr/>
              <p:nvPr/>
            </p:nvSpPr>
            <p:spPr>
              <a:xfrm>
                <a:off x="11662542" y="6517136"/>
                <a:ext cx="120412" cy="121437"/>
              </a:xfrm>
              <a:custGeom>
                <a:avLst/>
                <a:gdLst/>
                <a:ahLst/>
                <a:cxnLst/>
                <a:rect l="l" t="t" r="r" b="b"/>
                <a:pathLst>
                  <a:path w="120412" h="121437" extrusionOk="0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4" name="Google Shape;997;g22cb0be31a4_6_52">
                <a:extLst>
                  <a:ext uri="{FF2B5EF4-FFF2-40B4-BE49-F238E27FC236}">
                    <a16:creationId xmlns:a16="http://schemas.microsoft.com/office/drawing/2014/main" id="{C63C090B-3E6D-854E-8428-1FF6A03DBA1B}"/>
                  </a:ext>
                </a:extLst>
              </p:cNvPr>
              <p:cNvSpPr/>
              <p:nvPr/>
            </p:nvSpPr>
            <p:spPr>
              <a:xfrm>
                <a:off x="11122821" y="6519528"/>
                <a:ext cx="32932" cy="116680"/>
              </a:xfrm>
              <a:custGeom>
                <a:avLst/>
                <a:gdLst/>
                <a:ahLst/>
                <a:cxnLst/>
                <a:rect l="l" t="t" r="r" b="b"/>
                <a:pathLst>
                  <a:path w="32932" h="116680" extrusionOk="0">
                    <a:moveTo>
                      <a:pt x="29843" y="116680"/>
                    </a:moveTo>
                    <a:lnTo>
                      <a:pt x="3103" y="116680"/>
                    </a:lnTo>
                    <a:cubicBezTo>
                      <a:pt x="1394" y="116680"/>
                      <a:pt x="0" y="115286"/>
                      <a:pt x="0" y="113577"/>
                    </a:cubicBezTo>
                    <a:lnTo>
                      <a:pt x="0" y="30554"/>
                    </a:lnTo>
                    <a:cubicBezTo>
                      <a:pt x="0" y="28886"/>
                      <a:pt x="670" y="27287"/>
                      <a:pt x="1859" y="26125"/>
                    </a:cubicBezTo>
                    <a:lnTo>
                      <a:pt x="27670" y="888"/>
                    </a:lnTo>
                    <a:cubicBezTo>
                      <a:pt x="29638" y="-1026"/>
                      <a:pt x="32933" y="355"/>
                      <a:pt x="32933" y="3103"/>
                    </a:cubicBezTo>
                    <a:lnTo>
                      <a:pt x="32933" y="113577"/>
                    </a:lnTo>
                    <a:cubicBezTo>
                      <a:pt x="32933" y="115286"/>
                      <a:pt x="31538" y="116680"/>
                      <a:pt x="29830" y="11668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5" name="Google Shape;998;g22cb0be31a4_6_52">
                <a:extLst>
                  <a:ext uri="{FF2B5EF4-FFF2-40B4-BE49-F238E27FC236}">
                    <a16:creationId xmlns:a16="http://schemas.microsoft.com/office/drawing/2014/main" id="{FE6CF04B-B9BD-557A-4F3B-96E527E19D9A}"/>
                  </a:ext>
                </a:extLst>
              </p:cNvPr>
              <p:cNvSpPr/>
              <p:nvPr/>
            </p:nvSpPr>
            <p:spPr>
              <a:xfrm>
                <a:off x="11173074" y="6517105"/>
                <a:ext cx="107493" cy="119116"/>
              </a:xfrm>
              <a:custGeom>
                <a:avLst/>
                <a:gdLst/>
                <a:ahLst/>
                <a:cxnLst/>
                <a:rect l="l" t="t" r="r" b="b"/>
                <a:pathLst>
                  <a:path w="107493" h="119116" extrusionOk="0">
                    <a:moveTo>
                      <a:pt x="107480" y="41877"/>
                    </a:moveTo>
                    <a:cubicBezTo>
                      <a:pt x="107480" y="19252"/>
                      <a:pt x="88792" y="277"/>
                      <a:pt x="65237" y="3"/>
                    </a:cubicBezTo>
                    <a:cubicBezTo>
                      <a:pt x="49912" y="-175"/>
                      <a:pt x="39563" y="7331"/>
                      <a:pt x="32947" y="17474"/>
                    </a:cubicBezTo>
                    <a:lnTo>
                      <a:pt x="32947" y="5581"/>
                    </a:lnTo>
                    <a:cubicBezTo>
                      <a:pt x="32947" y="3872"/>
                      <a:pt x="31552" y="2478"/>
                      <a:pt x="29843" y="2478"/>
                    </a:cubicBezTo>
                    <a:lnTo>
                      <a:pt x="3103" y="2478"/>
                    </a:lnTo>
                    <a:cubicBezTo>
                      <a:pt x="1394" y="2478"/>
                      <a:pt x="0" y="3872"/>
                      <a:pt x="0" y="5581"/>
                    </a:cubicBezTo>
                    <a:lnTo>
                      <a:pt x="0" y="116000"/>
                    </a:lnTo>
                    <a:cubicBezTo>
                      <a:pt x="0" y="117709"/>
                      <a:pt x="1394" y="119103"/>
                      <a:pt x="3103" y="119103"/>
                    </a:cubicBezTo>
                    <a:lnTo>
                      <a:pt x="29843" y="119103"/>
                    </a:lnTo>
                    <a:cubicBezTo>
                      <a:pt x="31552" y="119103"/>
                      <a:pt x="32947" y="117709"/>
                      <a:pt x="32947" y="116000"/>
                    </a:cubicBezTo>
                    <a:lnTo>
                      <a:pt x="32947" y="51788"/>
                    </a:lnTo>
                    <a:cubicBezTo>
                      <a:pt x="33685" y="39430"/>
                      <a:pt x="41518" y="31747"/>
                      <a:pt x="53740" y="31747"/>
                    </a:cubicBezTo>
                    <a:cubicBezTo>
                      <a:pt x="65961" y="31747"/>
                      <a:pt x="74547" y="40373"/>
                      <a:pt x="74547" y="53210"/>
                    </a:cubicBezTo>
                    <a:lnTo>
                      <a:pt x="74547" y="116014"/>
                    </a:lnTo>
                    <a:cubicBezTo>
                      <a:pt x="74547" y="117722"/>
                      <a:pt x="75941" y="119117"/>
                      <a:pt x="77650" y="119117"/>
                    </a:cubicBezTo>
                    <a:lnTo>
                      <a:pt x="104390" y="119117"/>
                    </a:lnTo>
                    <a:cubicBezTo>
                      <a:pt x="106099" y="119117"/>
                      <a:pt x="107493" y="117722"/>
                      <a:pt x="107493" y="116014"/>
                    </a:cubicBezTo>
                    <a:lnTo>
                      <a:pt x="107493" y="4189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02514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stimonial - Krosch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oogle Shape;987;g22cb0be31a4_6_52">
            <a:extLst>
              <a:ext uri="{FF2B5EF4-FFF2-40B4-BE49-F238E27FC236}">
                <a16:creationId xmlns:a16="http://schemas.microsoft.com/office/drawing/2014/main" id="{4DE2FA32-4BDF-907B-19AD-7217FA4CE420}"/>
              </a:ext>
            </a:extLst>
          </p:cNvPr>
          <p:cNvGrpSpPr/>
          <p:nvPr userDrawn="1"/>
        </p:nvGrpSpPr>
        <p:grpSpPr>
          <a:xfrm>
            <a:off x="11122821" y="6466206"/>
            <a:ext cx="799629" cy="172367"/>
            <a:chOff x="11122821" y="6466206"/>
            <a:chExt cx="799629" cy="172367"/>
          </a:xfrm>
        </p:grpSpPr>
        <p:sp>
          <p:nvSpPr>
            <p:cNvPr id="5" name="Google Shape;988;g22cb0be31a4_6_52">
              <a:extLst>
                <a:ext uri="{FF2B5EF4-FFF2-40B4-BE49-F238E27FC236}">
                  <a16:creationId xmlns:a16="http://schemas.microsoft.com/office/drawing/2014/main" id="{B2CA3A27-3EF5-9B90-B4F4-41C44D6569FF}"/>
                </a:ext>
              </a:extLst>
            </p:cNvPr>
            <p:cNvSpPr/>
            <p:nvPr/>
          </p:nvSpPr>
          <p:spPr>
            <a:xfrm rot="-2700000">
              <a:off x="11134957" y="6473485"/>
              <a:ext cx="35147" cy="35147"/>
            </a:xfrm>
            <a:custGeom>
              <a:avLst/>
              <a:gdLst/>
              <a:ahLst/>
              <a:cxnLst/>
              <a:rect l="l" t="t" r="r" b="b"/>
              <a:pathLst>
                <a:path w="35147" h="35147" extrusionOk="0">
                  <a:moveTo>
                    <a:pt x="32044" y="0"/>
                  </a:moveTo>
                  <a:cubicBezTo>
                    <a:pt x="33758" y="0"/>
                    <a:pt x="35148" y="1389"/>
                    <a:pt x="35148" y="3103"/>
                  </a:cubicBezTo>
                  <a:lnTo>
                    <a:pt x="35148" y="32044"/>
                  </a:lnTo>
                  <a:cubicBezTo>
                    <a:pt x="35148" y="33758"/>
                    <a:pt x="33758" y="35148"/>
                    <a:pt x="32044" y="35148"/>
                  </a:cubicBezTo>
                  <a:lnTo>
                    <a:pt x="3103" y="35148"/>
                  </a:lnTo>
                  <a:cubicBezTo>
                    <a:pt x="1389" y="35148"/>
                    <a:pt x="0" y="33758"/>
                    <a:pt x="0" y="32044"/>
                  </a:cubicBezTo>
                  <a:lnTo>
                    <a:pt x="0" y="3103"/>
                  </a:lnTo>
                  <a:cubicBezTo>
                    <a:pt x="0" y="1389"/>
                    <a:pt x="1389" y="0"/>
                    <a:pt x="3103" y="0"/>
                  </a:cubicBezTo>
                  <a:close/>
                </a:path>
              </a:pathLst>
            </a:custGeom>
            <a:solidFill>
              <a:srgbClr val="00B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Lato Light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Calibri"/>
              </a:endParaRPr>
            </a:p>
          </p:txBody>
        </p:sp>
        <p:grpSp>
          <p:nvGrpSpPr>
            <p:cNvPr id="6" name="Google Shape;989;g22cb0be31a4_6_52">
              <a:extLst>
                <a:ext uri="{FF2B5EF4-FFF2-40B4-BE49-F238E27FC236}">
                  <a16:creationId xmlns:a16="http://schemas.microsoft.com/office/drawing/2014/main" id="{8DAC5303-7ED7-33A6-0CD6-254E7A6A7961}"/>
                </a:ext>
              </a:extLst>
            </p:cNvPr>
            <p:cNvGrpSpPr/>
            <p:nvPr/>
          </p:nvGrpSpPr>
          <p:grpSpPr>
            <a:xfrm>
              <a:off x="11122821" y="6472473"/>
              <a:ext cx="799629" cy="166100"/>
              <a:chOff x="11122821" y="6472473"/>
              <a:chExt cx="799629" cy="166100"/>
            </a:xfrm>
          </p:grpSpPr>
          <p:sp>
            <p:nvSpPr>
              <p:cNvPr id="7" name="Google Shape;990;g22cb0be31a4_6_52">
                <a:extLst>
                  <a:ext uri="{FF2B5EF4-FFF2-40B4-BE49-F238E27FC236}">
                    <a16:creationId xmlns:a16="http://schemas.microsoft.com/office/drawing/2014/main" id="{16B50947-AA17-A454-AF26-87CBF998C35A}"/>
                  </a:ext>
                </a:extLst>
              </p:cNvPr>
              <p:cNvSpPr/>
              <p:nvPr/>
            </p:nvSpPr>
            <p:spPr>
              <a:xfrm>
                <a:off x="11774281" y="6519597"/>
                <a:ext cx="119385" cy="116611"/>
              </a:xfrm>
              <a:custGeom>
                <a:avLst/>
                <a:gdLst/>
                <a:ahLst/>
                <a:cxnLst/>
                <a:rect l="l" t="t" r="r" b="b"/>
                <a:pathLst>
                  <a:path w="119385" h="116611" extrusionOk="0">
                    <a:moveTo>
                      <a:pt x="82523" y="58306"/>
                    </a:moveTo>
                    <a:lnTo>
                      <a:pt x="118887" y="112265"/>
                    </a:lnTo>
                    <a:cubicBezTo>
                      <a:pt x="120199" y="114124"/>
                      <a:pt x="118764" y="116612"/>
                      <a:pt x="116385" y="116612"/>
                    </a:cubicBezTo>
                    <a:lnTo>
                      <a:pt x="85831" y="116612"/>
                    </a:lnTo>
                    <a:cubicBezTo>
                      <a:pt x="83794" y="116612"/>
                      <a:pt x="81880" y="115600"/>
                      <a:pt x="80718" y="113919"/>
                    </a:cubicBezTo>
                    <a:lnTo>
                      <a:pt x="59693" y="81751"/>
                    </a:lnTo>
                    <a:lnTo>
                      <a:pt x="38667" y="113919"/>
                    </a:lnTo>
                    <a:cubicBezTo>
                      <a:pt x="37505" y="115600"/>
                      <a:pt x="35605" y="116612"/>
                      <a:pt x="33554" y="116612"/>
                    </a:cubicBezTo>
                    <a:lnTo>
                      <a:pt x="3000" y="116612"/>
                    </a:lnTo>
                    <a:cubicBezTo>
                      <a:pt x="621" y="116612"/>
                      <a:pt x="-814" y="114138"/>
                      <a:pt x="498" y="112265"/>
                    </a:cubicBezTo>
                    <a:lnTo>
                      <a:pt x="36753" y="58306"/>
                    </a:lnTo>
                    <a:lnTo>
                      <a:pt x="498" y="4347"/>
                    </a:lnTo>
                    <a:cubicBezTo>
                      <a:pt x="-814" y="2488"/>
                      <a:pt x="621" y="0"/>
                      <a:pt x="3000" y="0"/>
                    </a:cubicBezTo>
                    <a:lnTo>
                      <a:pt x="34853" y="0"/>
                    </a:lnTo>
                    <a:cubicBezTo>
                      <a:pt x="36042" y="0"/>
                      <a:pt x="37149" y="547"/>
                      <a:pt x="37778" y="1449"/>
                    </a:cubicBezTo>
                    <a:lnTo>
                      <a:pt x="59679" y="34806"/>
                    </a:lnTo>
                    <a:lnTo>
                      <a:pt x="80240" y="1463"/>
                    </a:lnTo>
                    <a:cubicBezTo>
                      <a:pt x="80855" y="561"/>
                      <a:pt x="81976" y="0"/>
                      <a:pt x="83165" y="0"/>
                    </a:cubicBezTo>
                    <a:lnTo>
                      <a:pt x="115333" y="0"/>
                    </a:lnTo>
                    <a:cubicBezTo>
                      <a:pt x="117711" y="0"/>
                      <a:pt x="119133" y="2474"/>
                      <a:pt x="117834" y="4334"/>
                    </a:cubicBezTo>
                    <a:lnTo>
                      <a:pt x="82495" y="5830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8" name="Google Shape;991;g22cb0be31a4_6_52">
                <a:extLst>
                  <a:ext uri="{FF2B5EF4-FFF2-40B4-BE49-F238E27FC236}">
                    <a16:creationId xmlns:a16="http://schemas.microsoft.com/office/drawing/2014/main" id="{C16BBA94-DC9E-7F21-1A44-2C9FB85B8EA7}"/>
                  </a:ext>
                </a:extLst>
              </p:cNvPr>
              <p:cNvSpPr/>
              <p:nvPr/>
            </p:nvSpPr>
            <p:spPr>
              <a:xfrm>
                <a:off x="11284928" y="6472473"/>
                <a:ext cx="78825" cy="163762"/>
              </a:xfrm>
              <a:custGeom>
                <a:avLst/>
                <a:gdLst/>
                <a:ahLst/>
                <a:cxnLst/>
                <a:rect l="l" t="t" r="r" b="b"/>
                <a:pathLst>
                  <a:path w="78825" h="163762" extrusionOk="0">
                    <a:moveTo>
                      <a:pt x="75722" y="14"/>
                    </a:moveTo>
                    <a:lnTo>
                      <a:pt x="50377" y="14"/>
                    </a:lnTo>
                    <a:cubicBezTo>
                      <a:pt x="47916" y="14"/>
                      <a:pt x="45551" y="998"/>
                      <a:pt x="43801" y="2734"/>
                    </a:cubicBezTo>
                    <a:lnTo>
                      <a:pt x="19987" y="26549"/>
                    </a:lnTo>
                    <a:cubicBezTo>
                      <a:pt x="18237" y="28299"/>
                      <a:pt x="17266" y="30664"/>
                      <a:pt x="17266" y="33124"/>
                    </a:cubicBezTo>
                    <a:lnTo>
                      <a:pt x="17266" y="51867"/>
                    </a:lnTo>
                    <a:lnTo>
                      <a:pt x="3049" y="51867"/>
                    </a:lnTo>
                    <a:cubicBezTo>
                      <a:pt x="1367" y="51867"/>
                      <a:pt x="0" y="53234"/>
                      <a:pt x="0" y="54916"/>
                    </a:cubicBezTo>
                    <a:lnTo>
                      <a:pt x="0" y="75955"/>
                    </a:lnTo>
                    <a:cubicBezTo>
                      <a:pt x="0" y="77636"/>
                      <a:pt x="1367" y="79004"/>
                      <a:pt x="3049" y="79004"/>
                    </a:cubicBezTo>
                    <a:lnTo>
                      <a:pt x="17266" y="79004"/>
                    </a:lnTo>
                    <a:lnTo>
                      <a:pt x="17266" y="160659"/>
                    </a:lnTo>
                    <a:cubicBezTo>
                      <a:pt x="17266" y="162368"/>
                      <a:pt x="18661" y="163763"/>
                      <a:pt x="20369" y="163763"/>
                    </a:cubicBezTo>
                    <a:lnTo>
                      <a:pt x="47109" y="163763"/>
                    </a:lnTo>
                    <a:cubicBezTo>
                      <a:pt x="48818" y="163763"/>
                      <a:pt x="50213" y="162368"/>
                      <a:pt x="50213" y="160659"/>
                    </a:cubicBezTo>
                    <a:lnTo>
                      <a:pt x="50213" y="78990"/>
                    </a:lnTo>
                    <a:lnTo>
                      <a:pt x="71443" y="78990"/>
                    </a:lnTo>
                    <a:cubicBezTo>
                      <a:pt x="73125" y="78990"/>
                      <a:pt x="74492" y="77623"/>
                      <a:pt x="74492" y="75941"/>
                    </a:cubicBezTo>
                    <a:lnTo>
                      <a:pt x="74492" y="54902"/>
                    </a:lnTo>
                    <a:cubicBezTo>
                      <a:pt x="74492" y="53220"/>
                      <a:pt x="73125" y="51853"/>
                      <a:pt x="71443" y="51853"/>
                    </a:cubicBezTo>
                    <a:lnTo>
                      <a:pt x="50213" y="51853"/>
                    </a:lnTo>
                    <a:lnTo>
                      <a:pt x="50213" y="38565"/>
                    </a:lnTo>
                    <a:cubicBezTo>
                      <a:pt x="50213" y="33425"/>
                      <a:pt x="54382" y="29269"/>
                      <a:pt x="59509" y="29269"/>
                    </a:cubicBezTo>
                    <a:lnTo>
                      <a:pt x="75722" y="29269"/>
                    </a:lnTo>
                    <a:cubicBezTo>
                      <a:pt x="77431" y="29269"/>
                      <a:pt x="78826" y="27875"/>
                      <a:pt x="78826" y="26166"/>
                    </a:cubicBezTo>
                    <a:lnTo>
                      <a:pt x="78826" y="3103"/>
                    </a:lnTo>
                    <a:cubicBezTo>
                      <a:pt x="78826" y="1394"/>
                      <a:pt x="77431" y="0"/>
                      <a:pt x="75722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9" name="Google Shape;992;g22cb0be31a4_6_52">
                <a:extLst>
                  <a:ext uri="{FF2B5EF4-FFF2-40B4-BE49-F238E27FC236}">
                    <a16:creationId xmlns:a16="http://schemas.microsoft.com/office/drawing/2014/main" id="{8941B8E6-F38C-9DC2-10D2-C236132A20A3}"/>
                  </a:ext>
                </a:extLst>
              </p:cNvPr>
              <p:cNvSpPr/>
              <p:nvPr/>
            </p:nvSpPr>
            <p:spPr>
              <a:xfrm>
                <a:off x="11896791" y="6612367"/>
                <a:ext cx="25659" cy="25660"/>
              </a:xfrm>
              <a:custGeom>
                <a:avLst/>
                <a:gdLst/>
                <a:ahLst/>
                <a:cxnLst/>
                <a:rect l="l" t="t" r="r" b="b"/>
                <a:pathLst>
                  <a:path w="25659" h="25660" extrusionOk="0">
                    <a:moveTo>
                      <a:pt x="25660" y="12810"/>
                    </a:moveTo>
                    <a:cubicBezTo>
                      <a:pt x="25660" y="19946"/>
                      <a:pt x="19946" y="25660"/>
                      <a:pt x="12782" y="25660"/>
                    </a:cubicBezTo>
                    <a:cubicBezTo>
                      <a:pt x="5619" y="25660"/>
                      <a:pt x="0" y="19891"/>
                      <a:pt x="0" y="12810"/>
                    </a:cubicBezTo>
                    <a:cubicBezTo>
                      <a:pt x="0" y="5728"/>
                      <a:pt x="5714" y="0"/>
                      <a:pt x="12823" y="0"/>
                    </a:cubicBezTo>
                    <a:cubicBezTo>
                      <a:pt x="19932" y="0"/>
                      <a:pt x="25646" y="5687"/>
                      <a:pt x="25646" y="12810"/>
                    </a:cubicBezTo>
                    <a:close/>
                    <a:moveTo>
                      <a:pt x="23691" y="12864"/>
                    </a:moveTo>
                    <a:cubicBezTo>
                      <a:pt x="23691" y="6712"/>
                      <a:pt x="18838" y="1832"/>
                      <a:pt x="12837" y="1832"/>
                    </a:cubicBezTo>
                    <a:cubicBezTo>
                      <a:pt x="6835" y="1832"/>
                      <a:pt x="1982" y="6658"/>
                      <a:pt x="1982" y="12851"/>
                    </a:cubicBezTo>
                    <a:cubicBezTo>
                      <a:pt x="1982" y="19043"/>
                      <a:pt x="6890" y="23856"/>
                      <a:pt x="12782" y="23856"/>
                    </a:cubicBezTo>
                    <a:cubicBezTo>
                      <a:pt x="18674" y="23856"/>
                      <a:pt x="23691" y="19002"/>
                      <a:pt x="23691" y="12864"/>
                    </a:cubicBezTo>
                    <a:close/>
                    <a:moveTo>
                      <a:pt x="15585" y="14888"/>
                    </a:moveTo>
                    <a:lnTo>
                      <a:pt x="18811" y="19905"/>
                    </a:lnTo>
                    <a:lnTo>
                      <a:pt x="16678" y="19905"/>
                    </a:lnTo>
                    <a:lnTo>
                      <a:pt x="13097" y="14218"/>
                    </a:lnTo>
                    <a:lnTo>
                      <a:pt x="9829" y="14218"/>
                    </a:lnTo>
                    <a:lnTo>
                      <a:pt x="9829" y="19905"/>
                    </a:lnTo>
                    <a:lnTo>
                      <a:pt x="8038" y="19905"/>
                    </a:lnTo>
                    <a:lnTo>
                      <a:pt x="8038" y="5523"/>
                    </a:lnTo>
                    <a:lnTo>
                      <a:pt x="13616" y="5523"/>
                    </a:lnTo>
                    <a:cubicBezTo>
                      <a:pt x="16364" y="5523"/>
                      <a:pt x="18155" y="6999"/>
                      <a:pt x="18155" y="9761"/>
                    </a:cubicBezTo>
                    <a:cubicBezTo>
                      <a:pt x="18155" y="11989"/>
                      <a:pt x="16801" y="13370"/>
                      <a:pt x="14887" y="13917"/>
                    </a:cubicBezTo>
                    <a:cubicBezTo>
                      <a:pt x="15147" y="14204"/>
                      <a:pt x="15407" y="14559"/>
                      <a:pt x="15585" y="14901"/>
                    </a:cubicBezTo>
                    <a:close/>
                    <a:moveTo>
                      <a:pt x="13015" y="12522"/>
                    </a:moveTo>
                    <a:cubicBezTo>
                      <a:pt x="15038" y="12522"/>
                      <a:pt x="16282" y="11565"/>
                      <a:pt x="16282" y="9870"/>
                    </a:cubicBezTo>
                    <a:cubicBezTo>
                      <a:pt x="16282" y="8175"/>
                      <a:pt x="15421" y="7191"/>
                      <a:pt x="13657" y="7191"/>
                    </a:cubicBezTo>
                    <a:lnTo>
                      <a:pt x="9816" y="7191"/>
                    </a:lnTo>
                    <a:lnTo>
                      <a:pt x="9816" y="12509"/>
                    </a:lnTo>
                    <a:lnTo>
                      <a:pt x="13015" y="12509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0" name="Google Shape;993;g22cb0be31a4_6_52">
                <a:extLst>
                  <a:ext uri="{FF2B5EF4-FFF2-40B4-BE49-F238E27FC236}">
                    <a16:creationId xmlns:a16="http://schemas.microsoft.com/office/drawing/2014/main" id="{83307B8F-5A19-3191-B974-315600FC968D}"/>
                  </a:ext>
                </a:extLst>
              </p:cNvPr>
              <p:cNvSpPr/>
              <p:nvPr/>
            </p:nvSpPr>
            <p:spPr>
              <a:xfrm>
                <a:off x="11620956" y="6472487"/>
                <a:ext cx="32932" cy="163721"/>
              </a:xfrm>
              <a:custGeom>
                <a:avLst/>
                <a:gdLst/>
                <a:ahLst/>
                <a:cxnLst/>
                <a:rect l="l" t="t" r="r" b="b"/>
                <a:pathLst>
                  <a:path w="32932" h="163721" extrusionOk="0">
                    <a:moveTo>
                      <a:pt x="29830" y="0"/>
                    </a:moveTo>
                    <a:cubicBezTo>
                      <a:pt x="31544" y="0"/>
                      <a:pt x="32933" y="1389"/>
                      <a:pt x="32933" y="3103"/>
                    </a:cubicBezTo>
                    <a:lnTo>
                      <a:pt x="32933" y="160618"/>
                    </a:lnTo>
                    <a:cubicBezTo>
                      <a:pt x="32933" y="162332"/>
                      <a:pt x="31543" y="163722"/>
                      <a:pt x="29830" y="163722"/>
                    </a:cubicBezTo>
                    <a:lnTo>
                      <a:pt x="3103" y="163722"/>
                    </a:lnTo>
                    <a:cubicBezTo>
                      <a:pt x="1389" y="163722"/>
                      <a:pt x="0" y="162332"/>
                      <a:pt x="0" y="160618"/>
                    </a:cubicBezTo>
                    <a:lnTo>
                      <a:pt x="0" y="3103"/>
                    </a:lnTo>
                    <a:cubicBezTo>
                      <a:pt x="0" y="1389"/>
                      <a:pt x="1389" y="0"/>
                      <a:pt x="3103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1" name="Google Shape;994;g22cb0be31a4_6_52">
                <a:extLst>
                  <a:ext uri="{FF2B5EF4-FFF2-40B4-BE49-F238E27FC236}">
                    <a16:creationId xmlns:a16="http://schemas.microsoft.com/office/drawing/2014/main" id="{130569FA-5D7A-F95B-F65D-704E55D748A0}"/>
                  </a:ext>
                </a:extLst>
              </p:cNvPr>
              <p:cNvSpPr/>
              <p:nvPr/>
            </p:nvSpPr>
            <p:spPr>
              <a:xfrm>
                <a:off x="11488486" y="6472473"/>
                <a:ext cx="123638" cy="166086"/>
              </a:xfrm>
              <a:custGeom>
                <a:avLst/>
                <a:gdLst/>
                <a:ahLst/>
                <a:cxnLst/>
                <a:rect l="l" t="t" r="r" b="b"/>
                <a:pathLst>
                  <a:path w="123638" h="166086" extrusionOk="0">
                    <a:moveTo>
                      <a:pt x="68737" y="44663"/>
                    </a:moveTo>
                    <a:cubicBezTo>
                      <a:pt x="53535" y="44663"/>
                      <a:pt x="40889" y="51252"/>
                      <a:pt x="32947" y="62052"/>
                    </a:cubicBezTo>
                    <a:lnTo>
                      <a:pt x="32947" y="3103"/>
                    </a:lnTo>
                    <a:cubicBezTo>
                      <a:pt x="32947" y="1394"/>
                      <a:pt x="31552" y="0"/>
                      <a:pt x="29843" y="0"/>
                    </a:cubicBezTo>
                    <a:lnTo>
                      <a:pt x="3103" y="0"/>
                    </a:lnTo>
                    <a:cubicBezTo>
                      <a:pt x="1394" y="0"/>
                      <a:pt x="0" y="1394"/>
                      <a:pt x="0" y="3103"/>
                    </a:cubicBezTo>
                    <a:lnTo>
                      <a:pt x="0" y="160632"/>
                    </a:lnTo>
                    <a:cubicBezTo>
                      <a:pt x="0" y="162341"/>
                      <a:pt x="1394" y="163735"/>
                      <a:pt x="3103" y="163735"/>
                    </a:cubicBezTo>
                    <a:lnTo>
                      <a:pt x="29843" y="163735"/>
                    </a:lnTo>
                    <a:cubicBezTo>
                      <a:pt x="31552" y="163735"/>
                      <a:pt x="32947" y="162341"/>
                      <a:pt x="32947" y="160632"/>
                    </a:cubicBezTo>
                    <a:lnTo>
                      <a:pt x="32947" y="149025"/>
                    </a:lnTo>
                    <a:cubicBezTo>
                      <a:pt x="40903" y="159839"/>
                      <a:pt x="53535" y="166087"/>
                      <a:pt x="68983" y="166087"/>
                    </a:cubicBezTo>
                    <a:cubicBezTo>
                      <a:pt x="101505" y="166087"/>
                      <a:pt x="123638" y="139852"/>
                      <a:pt x="123638" y="105539"/>
                    </a:cubicBezTo>
                    <a:cubicBezTo>
                      <a:pt x="123638" y="71225"/>
                      <a:pt x="101505" y="44663"/>
                      <a:pt x="68750" y="44663"/>
                    </a:cubicBezTo>
                    <a:close/>
                    <a:moveTo>
                      <a:pt x="62188" y="135163"/>
                    </a:moveTo>
                    <a:cubicBezTo>
                      <a:pt x="45346" y="135163"/>
                      <a:pt x="32947" y="121533"/>
                      <a:pt x="32947" y="105552"/>
                    </a:cubicBezTo>
                    <a:cubicBezTo>
                      <a:pt x="32947" y="89571"/>
                      <a:pt x="45346" y="76174"/>
                      <a:pt x="62188" y="76174"/>
                    </a:cubicBezTo>
                    <a:cubicBezTo>
                      <a:pt x="79031" y="76174"/>
                      <a:pt x="90965" y="89571"/>
                      <a:pt x="90965" y="105552"/>
                    </a:cubicBezTo>
                    <a:cubicBezTo>
                      <a:pt x="90965" y="121533"/>
                      <a:pt x="78798" y="135163"/>
                      <a:pt x="62188" y="13516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2" name="Google Shape;995;g22cb0be31a4_6_52">
                <a:extLst>
                  <a:ext uri="{FF2B5EF4-FFF2-40B4-BE49-F238E27FC236}">
                    <a16:creationId xmlns:a16="http://schemas.microsoft.com/office/drawing/2014/main" id="{6D393623-2CB7-C55C-8D1B-FC6314835DAC}"/>
                  </a:ext>
                </a:extLst>
              </p:cNvPr>
              <p:cNvSpPr/>
              <p:nvPr/>
            </p:nvSpPr>
            <p:spPr>
              <a:xfrm>
                <a:off x="11359421" y="6517136"/>
                <a:ext cx="120412" cy="121437"/>
              </a:xfrm>
              <a:custGeom>
                <a:avLst/>
                <a:gdLst/>
                <a:ahLst/>
                <a:cxnLst/>
                <a:rect l="l" t="t" r="r" b="b"/>
                <a:pathLst>
                  <a:path w="120412" h="121437" extrusionOk="0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3" name="Google Shape;996;g22cb0be31a4_6_52">
                <a:extLst>
                  <a:ext uri="{FF2B5EF4-FFF2-40B4-BE49-F238E27FC236}">
                    <a16:creationId xmlns:a16="http://schemas.microsoft.com/office/drawing/2014/main" id="{094FDF1B-5EB4-048A-72BC-5AD461F6007A}"/>
                  </a:ext>
                </a:extLst>
              </p:cNvPr>
              <p:cNvSpPr/>
              <p:nvPr/>
            </p:nvSpPr>
            <p:spPr>
              <a:xfrm>
                <a:off x="11662542" y="6517136"/>
                <a:ext cx="120412" cy="121437"/>
              </a:xfrm>
              <a:custGeom>
                <a:avLst/>
                <a:gdLst/>
                <a:ahLst/>
                <a:cxnLst/>
                <a:rect l="l" t="t" r="r" b="b"/>
                <a:pathLst>
                  <a:path w="120412" h="121437" extrusionOk="0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4" name="Google Shape;997;g22cb0be31a4_6_52">
                <a:extLst>
                  <a:ext uri="{FF2B5EF4-FFF2-40B4-BE49-F238E27FC236}">
                    <a16:creationId xmlns:a16="http://schemas.microsoft.com/office/drawing/2014/main" id="{C63C090B-3E6D-854E-8428-1FF6A03DBA1B}"/>
                  </a:ext>
                </a:extLst>
              </p:cNvPr>
              <p:cNvSpPr/>
              <p:nvPr/>
            </p:nvSpPr>
            <p:spPr>
              <a:xfrm>
                <a:off x="11122821" y="6519528"/>
                <a:ext cx="32932" cy="116680"/>
              </a:xfrm>
              <a:custGeom>
                <a:avLst/>
                <a:gdLst/>
                <a:ahLst/>
                <a:cxnLst/>
                <a:rect l="l" t="t" r="r" b="b"/>
                <a:pathLst>
                  <a:path w="32932" h="116680" extrusionOk="0">
                    <a:moveTo>
                      <a:pt x="29843" y="116680"/>
                    </a:moveTo>
                    <a:lnTo>
                      <a:pt x="3103" y="116680"/>
                    </a:lnTo>
                    <a:cubicBezTo>
                      <a:pt x="1394" y="116680"/>
                      <a:pt x="0" y="115286"/>
                      <a:pt x="0" y="113577"/>
                    </a:cubicBezTo>
                    <a:lnTo>
                      <a:pt x="0" y="30554"/>
                    </a:lnTo>
                    <a:cubicBezTo>
                      <a:pt x="0" y="28886"/>
                      <a:pt x="670" y="27287"/>
                      <a:pt x="1859" y="26125"/>
                    </a:cubicBezTo>
                    <a:lnTo>
                      <a:pt x="27670" y="888"/>
                    </a:lnTo>
                    <a:cubicBezTo>
                      <a:pt x="29638" y="-1026"/>
                      <a:pt x="32933" y="355"/>
                      <a:pt x="32933" y="3103"/>
                    </a:cubicBezTo>
                    <a:lnTo>
                      <a:pt x="32933" y="113577"/>
                    </a:lnTo>
                    <a:cubicBezTo>
                      <a:pt x="32933" y="115286"/>
                      <a:pt x="31538" y="116680"/>
                      <a:pt x="29830" y="11668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5" name="Google Shape;998;g22cb0be31a4_6_52">
                <a:extLst>
                  <a:ext uri="{FF2B5EF4-FFF2-40B4-BE49-F238E27FC236}">
                    <a16:creationId xmlns:a16="http://schemas.microsoft.com/office/drawing/2014/main" id="{FE6CF04B-B9BD-557A-4F3B-96E527E19D9A}"/>
                  </a:ext>
                </a:extLst>
              </p:cNvPr>
              <p:cNvSpPr/>
              <p:nvPr/>
            </p:nvSpPr>
            <p:spPr>
              <a:xfrm>
                <a:off x="11173074" y="6517105"/>
                <a:ext cx="107493" cy="119116"/>
              </a:xfrm>
              <a:custGeom>
                <a:avLst/>
                <a:gdLst/>
                <a:ahLst/>
                <a:cxnLst/>
                <a:rect l="l" t="t" r="r" b="b"/>
                <a:pathLst>
                  <a:path w="107493" h="119116" extrusionOk="0">
                    <a:moveTo>
                      <a:pt x="107480" y="41877"/>
                    </a:moveTo>
                    <a:cubicBezTo>
                      <a:pt x="107480" y="19252"/>
                      <a:pt x="88792" y="277"/>
                      <a:pt x="65237" y="3"/>
                    </a:cubicBezTo>
                    <a:cubicBezTo>
                      <a:pt x="49912" y="-175"/>
                      <a:pt x="39563" y="7331"/>
                      <a:pt x="32947" y="17474"/>
                    </a:cubicBezTo>
                    <a:lnTo>
                      <a:pt x="32947" y="5581"/>
                    </a:lnTo>
                    <a:cubicBezTo>
                      <a:pt x="32947" y="3872"/>
                      <a:pt x="31552" y="2478"/>
                      <a:pt x="29843" y="2478"/>
                    </a:cubicBezTo>
                    <a:lnTo>
                      <a:pt x="3103" y="2478"/>
                    </a:lnTo>
                    <a:cubicBezTo>
                      <a:pt x="1394" y="2478"/>
                      <a:pt x="0" y="3872"/>
                      <a:pt x="0" y="5581"/>
                    </a:cubicBezTo>
                    <a:lnTo>
                      <a:pt x="0" y="116000"/>
                    </a:lnTo>
                    <a:cubicBezTo>
                      <a:pt x="0" y="117709"/>
                      <a:pt x="1394" y="119103"/>
                      <a:pt x="3103" y="119103"/>
                    </a:cubicBezTo>
                    <a:lnTo>
                      <a:pt x="29843" y="119103"/>
                    </a:lnTo>
                    <a:cubicBezTo>
                      <a:pt x="31552" y="119103"/>
                      <a:pt x="32947" y="117709"/>
                      <a:pt x="32947" y="116000"/>
                    </a:cubicBezTo>
                    <a:lnTo>
                      <a:pt x="32947" y="51788"/>
                    </a:lnTo>
                    <a:cubicBezTo>
                      <a:pt x="33685" y="39430"/>
                      <a:pt x="41518" y="31747"/>
                      <a:pt x="53740" y="31747"/>
                    </a:cubicBezTo>
                    <a:cubicBezTo>
                      <a:pt x="65961" y="31747"/>
                      <a:pt x="74547" y="40373"/>
                      <a:pt x="74547" y="53210"/>
                    </a:cubicBezTo>
                    <a:lnTo>
                      <a:pt x="74547" y="116014"/>
                    </a:lnTo>
                    <a:cubicBezTo>
                      <a:pt x="74547" y="117722"/>
                      <a:pt x="75941" y="119117"/>
                      <a:pt x="77650" y="119117"/>
                    </a:cubicBezTo>
                    <a:lnTo>
                      <a:pt x="104390" y="119117"/>
                    </a:lnTo>
                    <a:cubicBezTo>
                      <a:pt x="106099" y="119117"/>
                      <a:pt x="107493" y="117722"/>
                      <a:pt x="107493" y="116014"/>
                    </a:cubicBezTo>
                    <a:lnTo>
                      <a:pt x="107493" y="4189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</p:grpSp>
      </p:grpSp>
      <p:pic>
        <p:nvPicPr>
          <p:cNvPr id="3" name="Picture 2" descr="A grey square with a black background&#10;&#10;Description automatically generated">
            <a:extLst>
              <a:ext uri="{FF2B5EF4-FFF2-40B4-BE49-F238E27FC236}">
                <a16:creationId xmlns:a16="http://schemas.microsoft.com/office/drawing/2014/main" id="{41F82240-BB74-94C8-CF56-5AE2069471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11000"/>
          </a:blip>
          <a:stretch>
            <a:fillRect/>
          </a:stretch>
        </p:blipFill>
        <p:spPr>
          <a:xfrm>
            <a:off x="9365255" y="-1320779"/>
            <a:ext cx="3988332" cy="3910407"/>
          </a:xfrm>
          <a:prstGeom prst="rect">
            <a:avLst/>
          </a:prstGeom>
          <a:effectLst>
            <a:reflection stA="0" endPos="65000" dist="50800" dir="5400000" sy="-100000" algn="bl" rotWithShape="0"/>
          </a:effectLst>
          <a:scene3d>
            <a:camera prst="orthographicFront">
              <a:rot lat="0" lon="10800000" rev="0"/>
            </a:camera>
            <a:lightRig rig="threePt" dir="t"/>
          </a:scene3d>
        </p:spPr>
      </p:pic>
      <p:pic>
        <p:nvPicPr>
          <p:cNvPr id="18" name="Picture 17" descr="A store with mannequins in a diamond shape&#10;&#10;AI-generated content may be incorrect.">
            <a:extLst>
              <a:ext uri="{FF2B5EF4-FFF2-40B4-BE49-F238E27FC236}">
                <a16:creationId xmlns:a16="http://schemas.microsoft.com/office/drawing/2014/main" id="{705B2D42-2660-B706-E787-9D37321E0EB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411937" y="459491"/>
            <a:ext cx="5481729" cy="5481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040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e &amp; S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F85331F-A355-2F5D-67A9-B948AC7423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2" y="0"/>
            <a:ext cx="12191993" cy="6857997"/>
          </a:xfrm>
          <a:prstGeom prst="rect">
            <a:avLst/>
          </a:prstGeom>
        </p:spPr>
      </p:pic>
      <p:grpSp>
        <p:nvGrpSpPr>
          <p:cNvPr id="4" name="Google Shape;987;g22cb0be31a4_6_52">
            <a:extLst>
              <a:ext uri="{FF2B5EF4-FFF2-40B4-BE49-F238E27FC236}">
                <a16:creationId xmlns:a16="http://schemas.microsoft.com/office/drawing/2014/main" id="{4DE2FA32-4BDF-907B-19AD-7217FA4CE420}"/>
              </a:ext>
            </a:extLst>
          </p:cNvPr>
          <p:cNvGrpSpPr/>
          <p:nvPr userDrawn="1"/>
        </p:nvGrpSpPr>
        <p:grpSpPr>
          <a:xfrm>
            <a:off x="11122821" y="6466206"/>
            <a:ext cx="799629" cy="172367"/>
            <a:chOff x="11122821" y="6466206"/>
            <a:chExt cx="799629" cy="172367"/>
          </a:xfrm>
        </p:grpSpPr>
        <p:sp>
          <p:nvSpPr>
            <p:cNvPr id="5" name="Google Shape;988;g22cb0be31a4_6_52">
              <a:extLst>
                <a:ext uri="{FF2B5EF4-FFF2-40B4-BE49-F238E27FC236}">
                  <a16:creationId xmlns:a16="http://schemas.microsoft.com/office/drawing/2014/main" id="{B2CA3A27-3EF5-9B90-B4F4-41C44D6569FF}"/>
                </a:ext>
              </a:extLst>
            </p:cNvPr>
            <p:cNvSpPr/>
            <p:nvPr/>
          </p:nvSpPr>
          <p:spPr>
            <a:xfrm rot="-2700000">
              <a:off x="11134957" y="6473485"/>
              <a:ext cx="35147" cy="35147"/>
            </a:xfrm>
            <a:custGeom>
              <a:avLst/>
              <a:gdLst/>
              <a:ahLst/>
              <a:cxnLst/>
              <a:rect l="l" t="t" r="r" b="b"/>
              <a:pathLst>
                <a:path w="35147" h="35147" extrusionOk="0">
                  <a:moveTo>
                    <a:pt x="32044" y="0"/>
                  </a:moveTo>
                  <a:cubicBezTo>
                    <a:pt x="33758" y="0"/>
                    <a:pt x="35148" y="1389"/>
                    <a:pt x="35148" y="3103"/>
                  </a:cubicBezTo>
                  <a:lnTo>
                    <a:pt x="35148" y="32044"/>
                  </a:lnTo>
                  <a:cubicBezTo>
                    <a:pt x="35148" y="33758"/>
                    <a:pt x="33758" y="35148"/>
                    <a:pt x="32044" y="35148"/>
                  </a:cubicBezTo>
                  <a:lnTo>
                    <a:pt x="3103" y="35148"/>
                  </a:lnTo>
                  <a:cubicBezTo>
                    <a:pt x="1389" y="35148"/>
                    <a:pt x="0" y="33758"/>
                    <a:pt x="0" y="32044"/>
                  </a:cubicBezTo>
                  <a:lnTo>
                    <a:pt x="0" y="3103"/>
                  </a:lnTo>
                  <a:cubicBezTo>
                    <a:pt x="0" y="1389"/>
                    <a:pt x="1389" y="0"/>
                    <a:pt x="3103" y="0"/>
                  </a:cubicBezTo>
                  <a:close/>
                </a:path>
              </a:pathLst>
            </a:custGeom>
            <a:solidFill>
              <a:srgbClr val="00B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Lato Light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Calibri"/>
              </a:endParaRPr>
            </a:p>
          </p:txBody>
        </p:sp>
        <p:grpSp>
          <p:nvGrpSpPr>
            <p:cNvPr id="6" name="Google Shape;989;g22cb0be31a4_6_52">
              <a:extLst>
                <a:ext uri="{FF2B5EF4-FFF2-40B4-BE49-F238E27FC236}">
                  <a16:creationId xmlns:a16="http://schemas.microsoft.com/office/drawing/2014/main" id="{8DAC5303-7ED7-33A6-0CD6-254E7A6A7961}"/>
                </a:ext>
              </a:extLst>
            </p:cNvPr>
            <p:cNvGrpSpPr/>
            <p:nvPr/>
          </p:nvGrpSpPr>
          <p:grpSpPr>
            <a:xfrm>
              <a:off x="11122821" y="6472473"/>
              <a:ext cx="799629" cy="166100"/>
              <a:chOff x="11122821" y="6472473"/>
              <a:chExt cx="799629" cy="166100"/>
            </a:xfrm>
          </p:grpSpPr>
          <p:sp>
            <p:nvSpPr>
              <p:cNvPr id="7" name="Google Shape;990;g22cb0be31a4_6_52">
                <a:extLst>
                  <a:ext uri="{FF2B5EF4-FFF2-40B4-BE49-F238E27FC236}">
                    <a16:creationId xmlns:a16="http://schemas.microsoft.com/office/drawing/2014/main" id="{16B50947-AA17-A454-AF26-87CBF998C35A}"/>
                  </a:ext>
                </a:extLst>
              </p:cNvPr>
              <p:cNvSpPr/>
              <p:nvPr/>
            </p:nvSpPr>
            <p:spPr>
              <a:xfrm>
                <a:off x="11774281" y="6519597"/>
                <a:ext cx="119385" cy="116611"/>
              </a:xfrm>
              <a:custGeom>
                <a:avLst/>
                <a:gdLst/>
                <a:ahLst/>
                <a:cxnLst/>
                <a:rect l="l" t="t" r="r" b="b"/>
                <a:pathLst>
                  <a:path w="119385" h="116611" extrusionOk="0">
                    <a:moveTo>
                      <a:pt x="82523" y="58306"/>
                    </a:moveTo>
                    <a:lnTo>
                      <a:pt x="118887" y="112265"/>
                    </a:lnTo>
                    <a:cubicBezTo>
                      <a:pt x="120199" y="114124"/>
                      <a:pt x="118764" y="116612"/>
                      <a:pt x="116385" y="116612"/>
                    </a:cubicBezTo>
                    <a:lnTo>
                      <a:pt x="85831" y="116612"/>
                    </a:lnTo>
                    <a:cubicBezTo>
                      <a:pt x="83794" y="116612"/>
                      <a:pt x="81880" y="115600"/>
                      <a:pt x="80718" y="113919"/>
                    </a:cubicBezTo>
                    <a:lnTo>
                      <a:pt x="59693" y="81751"/>
                    </a:lnTo>
                    <a:lnTo>
                      <a:pt x="38667" y="113919"/>
                    </a:lnTo>
                    <a:cubicBezTo>
                      <a:pt x="37505" y="115600"/>
                      <a:pt x="35605" y="116612"/>
                      <a:pt x="33554" y="116612"/>
                    </a:cubicBezTo>
                    <a:lnTo>
                      <a:pt x="3000" y="116612"/>
                    </a:lnTo>
                    <a:cubicBezTo>
                      <a:pt x="621" y="116612"/>
                      <a:pt x="-814" y="114138"/>
                      <a:pt x="498" y="112265"/>
                    </a:cubicBezTo>
                    <a:lnTo>
                      <a:pt x="36753" y="58306"/>
                    </a:lnTo>
                    <a:lnTo>
                      <a:pt x="498" y="4347"/>
                    </a:lnTo>
                    <a:cubicBezTo>
                      <a:pt x="-814" y="2488"/>
                      <a:pt x="621" y="0"/>
                      <a:pt x="3000" y="0"/>
                    </a:cubicBezTo>
                    <a:lnTo>
                      <a:pt x="34853" y="0"/>
                    </a:lnTo>
                    <a:cubicBezTo>
                      <a:pt x="36042" y="0"/>
                      <a:pt x="37149" y="547"/>
                      <a:pt x="37778" y="1449"/>
                    </a:cubicBezTo>
                    <a:lnTo>
                      <a:pt x="59679" y="34806"/>
                    </a:lnTo>
                    <a:lnTo>
                      <a:pt x="80240" y="1463"/>
                    </a:lnTo>
                    <a:cubicBezTo>
                      <a:pt x="80855" y="561"/>
                      <a:pt x="81976" y="0"/>
                      <a:pt x="83165" y="0"/>
                    </a:cubicBezTo>
                    <a:lnTo>
                      <a:pt x="115333" y="0"/>
                    </a:lnTo>
                    <a:cubicBezTo>
                      <a:pt x="117711" y="0"/>
                      <a:pt x="119133" y="2474"/>
                      <a:pt x="117834" y="4334"/>
                    </a:cubicBezTo>
                    <a:lnTo>
                      <a:pt x="82495" y="5830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8" name="Google Shape;991;g22cb0be31a4_6_52">
                <a:extLst>
                  <a:ext uri="{FF2B5EF4-FFF2-40B4-BE49-F238E27FC236}">
                    <a16:creationId xmlns:a16="http://schemas.microsoft.com/office/drawing/2014/main" id="{C16BBA94-DC9E-7F21-1A44-2C9FB85B8EA7}"/>
                  </a:ext>
                </a:extLst>
              </p:cNvPr>
              <p:cNvSpPr/>
              <p:nvPr/>
            </p:nvSpPr>
            <p:spPr>
              <a:xfrm>
                <a:off x="11284928" y="6472473"/>
                <a:ext cx="78825" cy="163762"/>
              </a:xfrm>
              <a:custGeom>
                <a:avLst/>
                <a:gdLst/>
                <a:ahLst/>
                <a:cxnLst/>
                <a:rect l="l" t="t" r="r" b="b"/>
                <a:pathLst>
                  <a:path w="78825" h="163762" extrusionOk="0">
                    <a:moveTo>
                      <a:pt x="75722" y="14"/>
                    </a:moveTo>
                    <a:lnTo>
                      <a:pt x="50377" y="14"/>
                    </a:lnTo>
                    <a:cubicBezTo>
                      <a:pt x="47916" y="14"/>
                      <a:pt x="45551" y="998"/>
                      <a:pt x="43801" y="2734"/>
                    </a:cubicBezTo>
                    <a:lnTo>
                      <a:pt x="19987" y="26549"/>
                    </a:lnTo>
                    <a:cubicBezTo>
                      <a:pt x="18237" y="28299"/>
                      <a:pt x="17266" y="30664"/>
                      <a:pt x="17266" y="33124"/>
                    </a:cubicBezTo>
                    <a:lnTo>
                      <a:pt x="17266" y="51867"/>
                    </a:lnTo>
                    <a:lnTo>
                      <a:pt x="3049" y="51867"/>
                    </a:lnTo>
                    <a:cubicBezTo>
                      <a:pt x="1367" y="51867"/>
                      <a:pt x="0" y="53234"/>
                      <a:pt x="0" y="54916"/>
                    </a:cubicBezTo>
                    <a:lnTo>
                      <a:pt x="0" y="75955"/>
                    </a:lnTo>
                    <a:cubicBezTo>
                      <a:pt x="0" y="77636"/>
                      <a:pt x="1367" y="79004"/>
                      <a:pt x="3049" y="79004"/>
                    </a:cubicBezTo>
                    <a:lnTo>
                      <a:pt x="17266" y="79004"/>
                    </a:lnTo>
                    <a:lnTo>
                      <a:pt x="17266" y="160659"/>
                    </a:lnTo>
                    <a:cubicBezTo>
                      <a:pt x="17266" y="162368"/>
                      <a:pt x="18661" y="163763"/>
                      <a:pt x="20369" y="163763"/>
                    </a:cubicBezTo>
                    <a:lnTo>
                      <a:pt x="47109" y="163763"/>
                    </a:lnTo>
                    <a:cubicBezTo>
                      <a:pt x="48818" y="163763"/>
                      <a:pt x="50213" y="162368"/>
                      <a:pt x="50213" y="160659"/>
                    </a:cubicBezTo>
                    <a:lnTo>
                      <a:pt x="50213" y="78990"/>
                    </a:lnTo>
                    <a:lnTo>
                      <a:pt x="71443" y="78990"/>
                    </a:lnTo>
                    <a:cubicBezTo>
                      <a:pt x="73125" y="78990"/>
                      <a:pt x="74492" y="77623"/>
                      <a:pt x="74492" y="75941"/>
                    </a:cubicBezTo>
                    <a:lnTo>
                      <a:pt x="74492" y="54902"/>
                    </a:lnTo>
                    <a:cubicBezTo>
                      <a:pt x="74492" y="53220"/>
                      <a:pt x="73125" y="51853"/>
                      <a:pt x="71443" y="51853"/>
                    </a:cubicBezTo>
                    <a:lnTo>
                      <a:pt x="50213" y="51853"/>
                    </a:lnTo>
                    <a:lnTo>
                      <a:pt x="50213" y="38565"/>
                    </a:lnTo>
                    <a:cubicBezTo>
                      <a:pt x="50213" y="33425"/>
                      <a:pt x="54382" y="29269"/>
                      <a:pt x="59509" y="29269"/>
                    </a:cubicBezTo>
                    <a:lnTo>
                      <a:pt x="75722" y="29269"/>
                    </a:lnTo>
                    <a:cubicBezTo>
                      <a:pt x="77431" y="29269"/>
                      <a:pt x="78826" y="27875"/>
                      <a:pt x="78826" y="26166"/>
                    </a:cubicBezTo>
                    <a:lnTo>
                      <a:pt x="78826" y="3103"/>
                    </a:lnTo>
                    <a:cubicBezTo>
                      <a:pt x="78826" y="1394"/>
                      <a:pt x="77431" y="0"/>
                      <a:pt x="75722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9" name="Google Shape;992;g22cb0be31a4_6_52">
                <a:extLst>
                  <a:ext uri="{FF2B5EF4-FFF2-40B4-BE49-F238E27FC236}">
                    <a16:creationId xmlns:a16="http://schemas.microsoft.com/office/drawing/2014/main" id="{8941B8E6-F38C-9DC2-10D2-C236132A20A3}"/>
                  </a:ext>
                </a:extLst>
              </p:cNvPr>
              <p:cNvSpPr/>
              <p:nvPr/>
            </p:nvSpPr>
            <p:spPr>
              <a:xfrm>
                <a:off x="11896791" y="6612367"/>
                <a:ext cx="25659" cy="25660"/>
              </a:xfrm>
              <a:custGeom>
                <a:avLst/>
                <a:gdLst/>
                <a:ahLst/>
                <a:cxnLst/>
                <a:rect l="l" t="t" r="r" b="b"/>
                <a:pathLst>
                  <a:path w="25659" h="25660" extrusionOk="0">
                    <a:moveTo>
                      <a:pt x="25660" y="12810"/>
                    </a:moveTo>
                    <a:cubicBezTo>
                      <a:pt x="25660" y="19946"/>
                      <a:pt x="19946" y="25660"/>
                      <a:pt x="12782" y="25660"/>
                    </a:cubicBezTo>
                    <a:cubicBezTo>
                      <a:pt x="5619" y="25660"/>
                      <a:pt x="0" y="19891"/>
                      <a:pt x="0" y="12810"/>
                    </a:cubicBezTo>
                    <a:cubicBezTo>
                      <a:pt x="0" y="5728"/>
                      <a:pt x="5714" y="0"/>
                      <a:pt x="12823" y="0"/>
                    </a:cubicBezTo>
                    <a:cubicBezTo>
                      <a:pt x="19932" y="0"/>
                      <a:pt x="25646" y="5687"/>
                      <a:pt x="25646" y="12810"/>
                    </a:cubicBezTo>
                    <a:close/>
                    <a:moveTo>
                      <a:pt x="23691" y="12864"/>
                    </a:moveTo>
                    <a:cubicBezTo>
                      <a:pt x="23691" y="6712"/>
                      <a:pt x="18838" y="1832"/>
                      <a:pt x="12837" y="1832"/>
                    </a:cubicBezTo>
                    <a:cubicBezTo>
                      <a:pt x="6835" y="1832"/>
                      <a:pt x="1982" y="6658"/>
                      <a:pt x="1982" y="12851"/>
                    </a:cubicBezTo>
                    <a:cubicBezTo>
                      <a:pt x="1982" y="19043"/>
                      <a:pt x="6890" y="23856"/>
                      <a:pt x="12782" y="23856"/>
                    </a:cubicBezTo>
                    <a:cubicBezTo>
                      <a:pt x="18674" y="23856"/>
                      <a:pt x="23691" y="19002"/>
                      <a:pt x="23691" y="12864"/>
                    </a:cubicBezTo>
                    <a:close/>
                    <a:moveTo>
                      <a:pt x="15585" y="14888"/>
                    </a:moveTo>
                    <a:lnTo>
                      <a:pt x="18811" y="19905"/>
                    </a:lnTo>
                    <a:lnTo>
                      <a:pt x="16678" y="19905"/>
                    </a:lnTo>
                    <a:lnTo>
                      <a:pt x="13097" y="14218"/>
                    </a:lnTo>
                    <a:lnTo>
                      <a:pt x="9829" y="14218"/>
                    </a:lnTo>
                    <a:lnTo>
                      <a:pt x="9829" y="19905"/>
                    </a:lnTo>
                    <a:lnTo>
                      <a:pt x="8038" y="19905"/>
                    </a:lnTo>
                    <a:lnTo>
                      <a:pt x="8038" y="5523"/>
                    </a:lnTo>
                    <a:lnTo>
                      <a:pt x="13616" y="5523"/>
                    </a:lnTo>
                    <a:cubicBezTo>
                      <a:pt x="16364" y="5523"/>
                      <a:pt x="18155" y="6999"/>
                      <a:pt x="18155" y="9761"/>
                    </a:cubicBezTo>
                    <a:cubicBezTo>
                      <a:pt x="18155" y="11989"/>
                      <a:pt x="16801" y="13370"/>
                      <a:pt x="14887" y="13917"/>
                    </a:cubicBezTo>
                    <a:cubicBezTo>
                      <a:pt x="15147" y="14204"/>
                      <a:pt x="15407" y="14559"/>
                      <a:pt x="15585" y="14901"/>
                    </a:cubicBezTo>
                    <a:close/>
                    <a:moveTo>
                      <a:pt x="13015" y="12522"/>
                    </a:moveTo>
                    <a:cubicBezTo>
                      <a:pt x="15038" y="12522"/>
                      <a:pt x="16282" y="11565"/>
                      <a:pt x="16282" y="9870"/>
                    </a:cubicBezTo>
                    <a:cubicBezTo>
                      <a:pt x="16282" y="8175"/>
                      <a:pt x="15421" y="7191"/>
                      <a:pt x="13657" y="7191"/>
                    </a:cubicBezTo>
                    <a:lnTo>
                      <a:pt x="9816" y="7191"/>
                    </a:lnTo>
                    <a:lnTo>
                      <a:pt x="9816" y="12509"/>
                    </a:lnTo>
                    <a:lnTo>
                      <a:pt x="13015" y="12509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0" name="Google Shape;993;g22cb0be31a4_6_52">
                <a:extLst>
                  <a:ext uri="{FF2B5EF4-FFF2-40B4-BE49-F238E27FC236}">
                    <a16:creationId xmlns:a16="http://schemas.microsoft.com/office/drawing/2014/main" id="{83307B8F-5A19-3191-B974-315600FC968D}"/>
                  </a:ext>
                </a:extLst>
              </p:cNvPr>
              <p:cNvSpPr/>
              <p:nvPr/>
            </p:nvSpPr>
            <p:spPr>
              <a:xfrm>
                <a:off x="11620956" y="6472487"/>
                <a:ext cx="32932" cy="163721"/>
              </a:xfrm>
              <a:custGeom>
                <a:avLst/>
                <a:gdLst/>
                <a:ahLst/>
                <a:cxnLst/>
                <a:rect l="l" t="t" r="r" b="b"/>
                <a:pathLst>
                  <a:path w="32932" h="163721" extrusionOk="0">
                    <a:moveTo>
                      <a:pt x="29830" y="0"/>
                    </a:moveTo>
                    <a:cubicBezTo>
                      <a:pt x="31544" y="0"/>
                      <a:pt x="32933" y="1389"/>
                      <a:pt x="32933" y="3103"/>
                    </a:cubicBezTo>
                    <a:lnTo>
                      <a:pt x="32933" y="160618"/>
                    </a:lnTo>
                    <a:cubicBezTo>
                      <a:pt x="32933" y="162332"/>
                      <a:pt x="31543" y="163722"/>
                      <a:pt x="29830" y="163722"/>
                    </a:cubicBezTo>
                    <a:lnTo>
                      <a:pt x="3103" y="163722"/>
                    </a:lnTo>
                    <a:cubicBezTo>
                      <a:pt x="1389" y="163722"/>
                      <a:pt x="0" y="162332"/>
                      <a:pt x="0" y="160618"/>
                    </a:cubicBezTo>
                    <a:lnTo>
                      <a:pt x="0" y="3103"/>
                    </a:lnTo>
                    <a:cubicBezTo>
                      <a:pt x="0" y="1389"/>
                      <a:pt x="1389" y="0"/>
                      <a:pt x="3103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1" name="Google Shape;994;g22cb0be31a4_6_52">
                <a:extLst>
                  <a:ext uri="{FF2B5EF4-FFF2-40B4-BE49-F238E27FC236}">
                    <a16:creationId xmlns:a16="http://schemas.microsoft.com/office/drawing/2014/main" id="{130569FA-5D7A-F95B-F65D-704E55D748A0}"/>
                  </a:ext>
                </a:extLst>
              </p:cNvPr>
              <p:cNvSpPr/>
              <p:nvPr/>
            </p:nvSpPr>
            <p:spPr>
              <a:xfrm>
                <a:off x="11488486" y="6472473"/>
                <a:ext cx="123638" cy="166086"/>
              </a:xfrm>
              <a:custGeom>
                <a:avLst/>
                <a:gdLst/>
                <a:ahLst/>
                <a:cxnLst/>
                <a:rect l="l" t="t" r="r" b="b"/>
                <a:pathLst>
                  <a:path w="123638" h="166086" extrusionOk="0">
                    <a:moveTo>
                      <a:pt x="68737" y="44663"/>
                    </a:moveTo>
                    <a:cubicBezTo>
                      <a:pt x="53535" y="44663"/>
                      <a:pt x="40889" y="51252"/>
                      <a:pt x="32947" y="62052"/>
                    </a:cubicBezTo>
                    <a:lnTo>
                      <a:pt x="32947" y="3103"/>
                    </a:lnTo>
                    <a:cubicBezTo>
                      <a:pt x="32947" y="1394"/>
                      <a:pt x="31552" y="0"/>
                      <a:pt x="29843" y="0"/>
                    </a:cubicBezTo>
                    <a:lnTo>
                      <a:pt x="3103" y="0"/>
                    </a:lnTo>
                    <a:cubicBezTo>
                      <a:pt x="1394" y="0"/>
                      <a:pt x="0" y="1394"/>
                      <a:pt x="0" y="3103"/>
                    </a:cubicBezTo>
                    <a:lnTo>
                      <a:pt x="0" y="160632"/>
                    </a:lnTo>
                    <a:cubicBezTo>
                      <a:pt x="0" y="162341"/>
                      <a:pt x="1394" y="163735"/>
                      <a:pt x="3103" y="163735"/>
                    </a:cubicBezTo>
                    <a:lnTo>
                      <a:pt x="29843" y="163735"/>
                    </a:lnTo>
                    <a:cubicBezTo>
                      <a:pt x="31552" y="163735"/>
                      <a:pt x="32947" y="162341"/>
                      <a:pt x="32947" y="160632"/>
                    </a:cubicBezTo>
                    <a:lnTo>
                      <a:pt x="32947" y="149025"/>
                    </a:lnTo>
                    <a:cubicBezTo>
                      <a:pt x="40903" y="159839"/>
                      <a:pt x="53535" y="166087"/>
                      <a:pt x="68983" y="166087"/>
                    </a:cubicBezTo>
                    <a:cubicBezTo>
                      <a:pt x="101505" y="166087"/>
                      <a:pt x="123638" y="139852"/>
                      <a:pt x="123638" y="105539"/>
                    </a:cubicBezTo>
                    <a:cubicBezTo>
                      <a:pt x="123638" y="71225"/>
                      <a:pt x="101505" y="44663"/>
                      <a:pt x="68750" y="44663"/>
                    </a:cubicBezTo>
                    <a:close/>
                    <a:moveTo>
                      <a:pt x="62188" y="135163"/>
                    </a:moveTo>
                    <a:cubicBezTo>
                      <a:pt x="45346" y="135163"/>
                      <a:pt x="32947" y="121533"/>
                      <a:pt x="32947" y="105552"/>
                    </a:cubicBezTo>
                    <a:cubicBezTo>
                      <a:pt x="32947" y="89571"/>
                      <a:pt x="45346" y="76174"/>
                      <a:pt x="62188" y="76174"/>
                    </a:cubicBezTo>
                    <a:cubicBezTo>
                      <a:pt x="79031" y="76174"/>
                      <a:pt x="90965" y="89571"/>
                      <a:pt x="90965" y="105552"/>
                    </a:cubicBezTo>
                    <a:cubicBezTo>
                      <a:pt x="90965" y="121533"/>
                      <a:pt x="78798" y="135163"/>
                      <a:pt x="62188" y="13516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2" name="Google Shape;995;g22cb0be31a4_6_52">
                <a:extLst>
                  <a:ext uri="{FF2B5EF4-FFF2-40B4-BE49-F238E27FC236}">
                    <a16:creationId xmlns:a16="http://schemas.microsoft.com/office/drawing/2014/main" id="{6D393623-2CB7-C55C-8D1B-FC6314835DAC}"/>
                  </a:ext>
                </a:extLst>
              </p:cNvPr>
              <p:cNvSpPr/>
              <p:nvPr/>
            </p:nvSpPr>
            <p:spPr>
              <a:xfrm>
                <a:off x="11359421" y="6517136"/>
                <a:ext cx="120412" cy="121437"/>
              </a:xfrm>
              <a:custGeom>
                <a:avLst/>
                <a:gdLst/>
                <a:ahLst/>
                <a:cxnLst/>
                <a:rect l="l" t="t" r="r" b="b"/>
                <a:pathLst>
                  <a:path w="120412" h="121437" extrusionOk="0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3" name="Google Shape;996;g22cb0be31a4_6_52">
                <a:extLst>
                  <a:ext uri="{FF2B5EF4-FFF2-40B4-BE49-F238E27FC236}">
                    <a16:creationId xmlns:a16="http://schemas.microsoft.com/office/drawing/2014/main" id="{094FDF1B-5EB4-048A-72BC-5AD461F6007A}"/>
                  </a:ext>
                </a:extLst>
              </p:cNvPr>
              <p:cNvSpPr/>
              <p:nvPr/>
            </p:nvSpPr>
            <p:spPr>
              <a:xfrm>
                <a:off x="11662542" y="6517136"/>
                <a:ext cx="120412" cy="121437"/>
              </a:xfrm>
              <a:custGeom>
                <a:avLst/>
                <a:gdLst/>
                <a:ahLst/>
                <a:cxnLst/>
                <a:rect l="l" t="t" r="r" b="b"/>
                <a:pathLst>
                  <a:path w="120412" h="121437" extrusionOk="0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4" name="Google Shape;997;g22cb0be31a4_6_52">
                <a:extLst>
                  <a:ext uri="{FF2B5EF4-FFF2-40B4-BE49-F238E27FC236}">
                    <a16:creationId xmlns:a16="http://schemas.microsoft.com/office/drawing/2014/main" id="{C63C090B-3E6D-854E-8428-1FF6A03DBA1B}"/>
                  </a:ext>
                </a:extLst>
              </p:cNvPr>
              <p:cNvSpPr/>
              <p:nvPr/>
            </p:nvSpPr>
            <p:spPr>
              <a:xfrm>
                <a:off x="11122821" y="6519528"/>
                <a:ext cx="32932" cy="116680"/>
              </a:xfrm>
              <a:custGeom>
                <a:avLst/>
                <a:gdLst/>
                <a:ahLst/>
                <a:cxnLst/>
                <a:rect l="l" t="t" r="r" b="b"/>
                <a:pathLst>
                  <a:path w="32932" h="116680" extrusionOk="0">
                    <a:moveTo>
                      <a:pt x="29843" y="116680"/>
                    </a:moveTo>
                    <a:lnTo>
                      <a:pt x="3103" y="116680"/>
                    </a:lnTo>
                    <a:cubicBezTo>
                      <a:pt x="1394" y="116680"/>
                      <a:pt x="0" y="115286"/>
                      <a:pt x="0" y="113577"/>
                    </a:cubicBezTo>
                    <a:lnTo>
                      <a:pt x="0" y="30554"/>
                    </a:lnTo>
                    <a:cubicBezTo>
                      <a:pt x="0" y="28886"/>
                      <a:pt x="670" y="27287"/>
                      <a:pt x="1859" y="26125"/>
                    </a:cubicBezTo>
                    <a:lnTo>
                      <a:pt x="27670" y="888"/>
                    </a:lnTo>
                    <a:cubicBezTo>
                      <a:pt x="29638" y="-1026"/>
                      <a:pt x="32933" y="355"/>
                      <a:pt x="32933" y="3103"/>
                    </a:cubicBezTo>
                    <a:lnTo>
                      <a:pt x="32933" y="113577"/>
                    </a:lnTo>
                    <a:cubicBezTo>
                      <a:pt x="32933" y="115286"/>
                      <a:pt x="31538" y="116680"/>
                      <a:pt x="29830" y="11668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5" name="Google Shape;998;g22cb0be31a4_6_52">
                <a:extLst>
                  <a:ext uri="{FF2B5EF4-FFF2-40B4-BE49-F238E27FC236}">
                    <a16:creationId xmlns:a16="http://schemas.microsoft.com/office/drawing/2014/main" id="{FE6CF04B-B9BD-557A-4F3B-96E527E19D9A}"/>
                  </a:ext>
                </a:extLst>
              </p:cNvPr>
              <p:cNvSpPr/>
              <p:nvPr/>
            </p:nvSpPr>
            <p:spPr>
              <a:xfrm>
                <a:off x="11173074" y="6517105"/>
                <a:ext cx="107493" cy="119116"/>
              </a:xfrm>
              <a:custGeom>
                <a:avLst/>
                <a:gdLst/>
                <a:ahLst/>
                <a:cxnLst/>
                <a:rect l="l" t="t" r="r" b="b"/>
                <a:pathLst>
                  <a:path w="107493" h="119116" extrusionOk="0">
                    <a:moveTo>
                      <a:pt x="107480" y="41877"/>
                    </a:moveTo>
                    <a:cubicBezTo>
                      <a:pt x="107480" y="19252"/>
                      <a:pt x="88792" y="277"/>
                      <a:pt x="65237" y="3"/>
                    </a:cubicBezTo>
                    <a:cubicBezTo>
                      <a:pt x="49912" y="-175"/>
                      <a:pt x="39563" y="7331"/>
                      <a:pt x="32947" y="17474"/>
                    </a:cubicBezTo>
                    <a:lnTo>
                      <a:pt x="32947" y="5581"/>
                    </a:lnTo>
                    <a:cubicBezTo>
                      <a:pt x="32947" y="3872"/>
                      <a:pt x="31552" y="2478"/>
                      <a:pt x="29843" y="2478"/>
                    </a:cubicBezTo>
                    <a:lnTo>
                      <a:pt x="3103" y="2478"/>
                    </a:lnTo>
                    <a:cubicBezTo>
                      <a:pt x="1394" y="2478"/>
                      <a:pt x="0" y="3872"/>
                      <a:pt x="0" y="5581"/>
                    </a:cubicBezTo>
                    <a:lnTo>
                      <a:pt x="0" y="116000"/>
                    </a:lnTo>
                    <a:cubicBezTo>
                      <a:pt x="0" y="117709"/>
                      <a:pt x="1394" y="119103"/>
                      <a:pt x="3103" y="119103"/>
                    </a:cubicBezTo>
                    <a:lnTo>
                      <a:pt x="29843" y="119103"/>
                    </a:lnTo>
                    <a:cubicBezTo>
                      <a:pt x="31552" y="119103"/>
                      <a:pt x="32947" y="117709"/>
                      <a:pt x="32947" y="116000"/>
                    </a:cubicBezTo>
                    <a:lnTo>
                      <a:pt x="32947" y="51788"/>
                    </a:lnTo>
                    <a:cubicBezTo>
                      <a:pt x="33685" y="39430"/>
                      <a:pt x="41518" y="31747"/>
                      <a:pt x="53740" y="31747"/>
                    </a:cubicBezTo>
                    <a:cubicBezTo>
                      <a:pt x="65961" y="31747"/>
                      <a:pt x="74547" y="40373"/>
                      <a:pt x="74547" y="53210"/>
                    </a:cubicBezTo>
                    <a:lnTo>
                      <a:pt x="74547" y="116014"/>
                    </a:lnTo>
                    <a:cubicBezTo>
                      <a:pt x="74547" y="117722"/>
                      <a:pt x="75941" y="119117"/>
                      <a:pt x="77650" y="119117"/>
                    </a:cubicBezTo>
                    <a:lnTo>
                      <a:pt x="104390" y="119117"/>
                    </a:lnTo>
                    <a:cubicBezTo>
                      <a:pt x="106099" y="119117"/>
                      <a:pt x="107493" y="117722"/>
                      <a:pt x="107493" y="116014"/>
                    </a:cubicBezTo>
                    <a:lnTo>
                      <a:pt x="107493" y="4189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08881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imonial - Krosch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F85331F-A355-2F5D-67A9-B948AC7423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2" y="0"/>
            <a:ext cx="12191993" cy="6857996"/>
          </a:xfrm>
          <a:prstGeom prst="rect">
            <a:avLst/>
          </a:prstGeom>
        </p:spPr>
      </p:pic>
      <p:grpSp>
        <p:nvGrpSpPr>
          <p:cNvPr id="4" name="Google Shape;987;g22cb0be31a4_6_52">
            <a:extLst>
              <a:ext uri="{FF2B5EF4-FFF2-40B4-BE49-F238E27FC236}">
                <a16:creationId xmlns:a16="http://schemas.microsoft.com/office/drawing/2014/main" id="{4DE2FA32-4BDF-907B-19AD-7217FA4CE420}"/>
              </a:ext>
            </a:extLst>
          </p:cNvPr>
          <p:cNvGrpSpPr/>
          <p:nvPr userDrawn="1"/>
        </p:nvGrpSpPr>
        <p:grpSpPr>
          <a:xfrm>
            <a:off x="11122821" y="6466206"/>
            <a:ext cx="799629" cy="172367"/>
            <a:chOff x="11122821" y="6466206"/>
            <a:chExt cx="799629" cy="172367"/>
          </a:xfrm>
        </p:grpSpPr>
        <p:sp>
          <p:nvSpPr>
            <p:cNvPr id="5" name="Google Shape;988;g22cb0be31a4_6_52">
              <a:extLst>
                <a:ext uri="{FF2B5EF4-FFF2-40B4-BE49-F238E27FC236}">
                  <a16:creationId xmlns:a16="http://schemas.microsoft.com/office/drawing/2014/main" id="{B2CA3A27-3EF5-9B90-B4F4-41C44D6569FF}"/>
                </a:ext>
              </a:extLst>
            </p:cNvPr>
            <p:cNvSpPr/>
            <p:nvPr/>
          </p:nvSpPr>
          <p:spPr>
            <a:xfrm rot="-2700000">
              <a:off x="11134957" y="6473485"/>
              <a:ext cx="35147" cy="35147"/>
            </a:xfrm>
            <a:custGeom>
              <a:avLst/>
              <a:gdLst/>
              <a:ahLst/>
              <a:cxnLst/>
              <a:rect l="l" t="t" r="r" b="b"/>
              <a:pathLst>
                <a:path w="35147" h="35147" extrusionOk="0">
                  <a:moveTo>
                    <a:pt x="32044" y="0"/>
                  </a:moveTo>
                  <a:cubicBezTo>
                    <a:pt x="33758" y="0"/>
                    <a:pt x="35148" y="1389"/>
                    <a:pt x="35148" y="3103"/>
                  </a:cubicBezTo>
                  <a:lnTo>
                    <a:pt x="35148" y="32044"/>
                  </a:lnTo>
                  <a:cubicBezTo>
                    <a:pt x="35148" y="33758"/>
                    <a:pt x="33758" y="35148"/>
                    <a:pt x="32044" y="35148"/>
                  </a:cubicBezTo>
                  <a:lnTo>
                    <a:pt x="3103" y="35148"/>
                  </a:lnTo>
                  <a:cubicBezTo>
                    <a:pt x="1389" y="35148"/>
                    <a:pt x="0" y="33758"/>
                    <a:pt x="0" y="32044"/>
                  </a:cubicBezTo>
                  <a:lnTo>
                    <a:pt x="0" y="3103"/>
                  </a:lnTo>
                  <a:cubicBezTo>
                    <a:pt x="0" y="1389"/>
                    <a:pt x="1389" y="0"/>
                    <a:pt x="3103" y="0"/>
                  </a:cubicBezTo>
                  <a:close/>
                </a:path>
              </a:pathLst>
            </a:custGeom>
            <a:solidFill>
              <a:srgbClr val="00B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Lato Light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Calibri"/>
              </a:endParaRPr>
            </a:p>
          </p:txBody>
        </p:sp>
        <p:grpSp>
          <p:nvGrpSpPr>
            <p:cNvPr id="6" name="Google Shape;989;g22cb0be31a4_6_52">
              <a:extLst>
                <a:ext uri="{FF2B5EF4-FFF2-40B4-BE49-F238E27FC236}">
                  <a16:creationId xmlns:a16="http://schemas.microsoft.com/office/drawing/2014/main" id="{8DAC5303-7ED7-33A6-0CD6-254E7A6A7961}"/>
                </a:ext>
              </a:extLst>
            </p:cNvPr>
            <p:cNvGrpSpPr/>
            <p:nvPr/>
          </p:nvGrpSpPr>
          <p:grpSpPr>
            <a:xfrm>
              <a:off x="11122821" y="6472473"/>
              <a:ext cx="799629" cy="166100"/>
              <a:chOff x="11122821" y="6472473"/>
              <a:chExt cx="799629" cy="166100"/>
            </a:xfrm>
          </p:grpSpPr>
          <p:sp>
            <p:nvSpPr>
              <p:cNvPr id="7" name="Google Shape;990;g22cb0be31a4_6_52">
                <a:extLst>
                  <a:ext uri="{FF2B5EF4-FFF2-40B4-BE49-F238E27FC236}">
                    <a16:creationId xmlns:a16="http://schemas.microsoft.com/office/drawing/2014/main" id="{16B50947-AA17-A454-AF26-87CBF998C35A}"/>
                  </a:ext>
                </a:extLst>
              </p:cNvPr>
              <p:cNvSpPr/>
              <p:nvPr/>
            </p:nvSpPr>
            <p:spPr>
              <a:xfrm>
                <a:off x="11774281" y="6519597"/>
                <a:ext cx="119385" cy="116611"/>
              </a:xfrm>
              <a:custGeom>
                <a:avLst/>
                <a:gdLst/>
                <a:ahLst/>
                <a:cxnLst/>
                <a:rect l="l" t="t" r="r" b="b"/>
                <a:pathLst>
                  <a:path w="119385" h="116611" extrusionOk="0">
                    <a:moveTo>
                      <a:pt x="82523" y="58306"/>
                    </a:moveTo>
                    <a:lnTo>
                      <a:pt x="118887" y="112265"/>
                    </a:lnTo>
                    <a:cubicBezTo>
                      <a:pt x="120199" y="114124"/>
                      <a:pt x="118764" y="116612"/>
                      <a:pt x="116385" y="116612"/>
                    </a:cubicBezTo>
                    <a:lnTo>
                      <a:pt x="85831" y="116612"/>
                    </a:lnTo>
                    <a:cubicBezTo>
                      <a:pt x="83794" y="116612"/>
                      <a:pt x="81880" y="115600"/>
                      <a:pt x="80718" y="113919"/>
                    </a:cubicBezTo>
                    <a:lnTo>
                      <a:pt x="59693" y="81751"/>
                    </a:lnTo>
                    <a:lnTo>
                      <a:pt x="38667" y="113919"/>
                    </a:lnTo>
                    <a:cubicBezTo>
                      <a:pt x="37505" y="115600"/>
                      <a:pt x="35605" y="116612"/>
                      <a:pt x="33554" y="116612"/>
                    </a:cubicBezTo>
                    <a:lnTo>
                      <a:pt x="3000" y="116612"/>
                    </a:lnTo>
                    <a:cubicBezTo>
                      <a:pt x="621" y="116612"/>
                      <a:pt x="-814" y="114138"/>
                      <a:pt x="498" y="112265"/>
                    </a:cubicBezTo>
                    <a:lnTo>
                      <a:pt x="36753" y="58306"/>
                    </a:lnTo>
                    <a:lnTo>
                      <a:pt x="498" y="4347"/>
                    </a:lnTo>
                    <a:cubicBezTo>
                      <a:pt x="-814" y="2488"/>
                      <a:pt x="621" y="0"/>
                      <a:pt x="3000" y="0"/>
                    </a:cubicBezTo>
                    <a:lnTo>
                      <a:pt x="34853" y="0"/>
                    </a:lnTo>
                    <a:cubicBezTo>
                      <a:pt x="36042" y="0"/>
                      <a:pt x="37149" y="547"/>
                      <a:pt x="37778" y="1449"/>
                    </a:cubicBezTo>
                    <a:lnTo>
                      <a:pt x="59679" y="34806"/>
                    </a:lnTo>
                    <a:lnTo>
                      <a:pt x="80240" y="1463"/>
                    </a:lnTo>
                    <a:cubicBezTo>
                      <a:pt x="80855" y="561"/>
                      <a:pt x="81976" y="0"/>
                      <a:pt x="83165" y="0"/>
                    </a:cubicBezTo>
                    <a:lnTo>
                      <a:pt x="115333" y="0"/>
                    </a:lnTo>
                    <a:cubicBezTo>
                      <a:pt x="117711" y="0"/>
                      <a:pt x="119133" y="2474"/>
                      <a:pt x="117834" y="4334"/>
                    </a:cubicBezTo>
                    <a:lnTo>
                      <a:pt x="82495" y="5830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8" name="Google Shape;991;g22cb0be31a4_6_52">
                <a:extLst>
                  <a:ext uri="{FF2B5EF4-FFF2-40B4-BE49-F238E27FC236}">
                    <a16:creationId xmlns:a16="http://schemas.microsoft.com/office/drawing/2014/main" id="{C16BBA94-DC9E-7F21-1A44-2C9FB85B8EA7}"/>
                  </a:ext>
                </a:extLst>
              </p:cNvPr>
              <p:cNvSpPr/>
              <p:nvPr/>
            </p:nvSpPr>
            <p:spPr>
              <a:xfrm>
                <a:off x="11284928" y="6472473"/>
                <a:ext cx="78825" cy="163762"/>
              </a:xfrm>
              <a:custGeom>
                <a:avLst/>
                <a:gdLst/>
                <a:ahLst/>
                <a:cxnLst/>
                <a:rect l="l" t="t" r="r" b="b"/>
                <a:pathLst>
                  <a:path w="78825" h="163762" extrusionOk="0">
                    <a:moveTo>
                      <a:pt x="75722" y="14"/>
                    </a:moveTo>
                    <a:lnTo>
                      <a:pt x="50377" y="14"/>
                    </a:lnTo>
                    <a:cubicBezTo>
                      <a:pt x="47916" y="14"/>
                      <a:pt x="45551" y="998"/>
                      <a:pt x="43801" y="2734"/>
                    </a:cubicBezTo>
                    <a:lnTo>
                      <a:pt x="19987" y="26549"/>
                    </a:lnTo>
                    <a:cubicBezTo>
                      <a:pt x="18237" y="28299"/>
                      <a:pt x="17266" y="30664"/>
                      <a:pt x="17266" y="33124"/>
                    </a:cubicBezTo>
                    <a:lnTo>
                      <a:pt x="17266" y="51867"/>
                    </a:lnTo>
                    <a:lnTo>
                      <a:pt x="3049" y="51867"/>
                    </a:lnTo>
                    <a:cubicBezTo>
                      <a:pt x="1367" y="51867"/>
                      <a:pt x="0" y="53234"/>
                      <a:pt x="0" y="54916"/>
                    </a:cubicBezTo>
                    <a:lnTo>
                      <a:pt x="0" y="75955"/>
                    </a:lnTo>
                    <a:cubicBezTo>
                      <a:pt x="0" y="77636"/>
                      <a:pt x="1367" y="79004"/>
                      <a:pt x="3049" y="79004"/>
                    </a:cubicBezTo>
                    <a:lnTo>
                      <a:pt x="17266" y="79004"/>
                    </a:lnTo>
                    <a:lnTo>
                      <a:pt x="17266" y="160659"/>
                    </a:lnTo>
                    <a:cubicBezTo>
                      <a:pt x="17266" y="162368"/>
                      <a:pt x="18661" y="163763"/>
                      <a:pt x="20369" y="163763"/>
                    </a:cubicBezTo>
                    <a:lnTo>
                      <a:pt x="47109" y="163763"/>
                    </a:lnTo>
                    <a:cubicBezTo>
                      <a:pt x="48818" y="163763"/>
                      <a:pt x="50213" y="162368"/>
                      <a:pt x="50213" y="160659"/>
                    </a:cubicBezTo>
                    <a:lnTo>
                      <a:pt x="50213" y="78990"/>
                    </a:lnTo>
                    <a:lnTo>
                      <a:pt x="71443" y="78990"/>
                    </a:lnTo>
                    <a:cubicBezTo>
                      <a:pt x="73125" y="78990"/>
                      <a:pt x="74492" y="77623"/>
                      <a:pt x="74492" y="75941"/>
                    </a:cubicBezTo>
                    <a:lnTo>
                      <a:pt x="74492" y="54902"/>
                    </a:lnTo>
                    <a:cubicBezTo>
                      <a:pt x="74492" y="53220"/>
                      <a:pt x="73125" y="51853"/>
                      <a:pt x="71443" y="51853"/>
                    </a:cubicBezTo>
                    <a:lnTo>
                      <a:pt x="50213" y="51853"/>
                    </a:lnTo>
                    <a:lnTo>
                      <a:pt x="50213" y="38565"/>
                    </a:lnTo>
                    <a:cubicBezTo>
                      <a:pt x="50213" y="33425"/>
                      <a:pt x="54382" y="29269"/>
                      <a:pt x="59509" y="29269"/>
                    </a:cubicBezTo>
                    <a:lnTo>
                      <a:pt x="75722" y="29269"/>
                    </a:lnTo>
                    <a:cubicBezTo>
                      <a:pt x="77431" y="29269"/>
                      <a:pt x="78826" y="27875"/>
                      <a:pt x="78826" y="26166"/>
                    </a:cubicBezTo>
                    <a:lnTo>
                      <a:pt x="78826" y="3103"/>
                    </a:lnTo>
                    <a:cubicBezTo>
                      <a:pt x="78826" y="1394"/>
                      <a:pt x="77431" y="0"/>
                      <a:pt x="75722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9" name="Google Shape;992;g22cb0be31a4_6_52">
                <a:extLst>
                  <a:ext uri="{FF2B5EF4-FFF2-40B4-BE49-F238E27FC236}">
                    <a16:creationId xmlns:a16="http://schemas.microsoft.com/office/drawing/2014/main" id="{8941B8E6-F38C-9DC2-10D2-C236132A20A3}"/>
                  </a:ext>
                </a:extLst>
              </p:cNvPr>
              <p:cNvSpPr/>
              <p:nvPr/>
            </p:nvSpPr>
            <p:spPr>
              <a:xfrm>
                <a:off x="11896791" y="6612367"/>
                <a:ext cx="25659" cy="25660"/>
              </a:xfrm>
              <a:custGeom>
                <a:avLst/>
                <a:gdLst/>
                <a:ahLst/>
                <a:cxnLst/>
                <a:rect l="l" t="t" r="r" b="b"/>
                <a:pathLst>
                  <a:path w="25659" h="25660" extrusionOk="0">
                    <a:moveTo>
                      <a:pt x="25660" y="12810"/>
                    </a:moveTo>
                    <a:cubicBezTo>
                      <a:pt x="25660" y="19946"/>
                      <a:pt x="19946" y="25660"/>
                      <a:pt x="12782" y="25660"/>
                    </a:cubicBezTo>
                    <a:cubicBezTo>
                      <a:pt x="5619" y="25660"/>
                      <a:pt x="0" y="19891"/>
                      <a:pt x="0" y="12810"/>
                    </a:cubicBezTo>
                    <a:cubicBezTo>
                      <a:pt x="0" y="5728"/>
                      <a:pt x="5714" y="0"/>
                      <a:pt x="12823" y="0"/>
                    </a:cubicBezTo>
                    <a:cubicBezTo>
                      <a:pt x="19932" y="0"/>
                      <a:pt x="25646" y="5687"/>
                      <a:pt x="25646" y="12810"/>
                    </a:cubicBezTo>
                    <a:close/>
                    <a:moveTo>
                      <a:pt x="23691" y="12864"/>
                    </a:moveTo>
                    <a:cubicBezTo>
                      <a:pt x="23691" y="6712"/>
                      <a:pt x="18838" y="1832"/>
                      <a:pt x="12837" y="1832"/>
                    </a:cubicBezTo>
                    <a:cubicBezTo>
                      <a:pt x="6835" y="1832"/>
                      <a:pt x="1982" y="6658"/>
                      <a:pt x="1982" y="12851"/>
                    </a:cubicBezTo>
                    <a:cubicBezTo>
                      <a:pt x="1982" y="19043"/>
                      <a:pt x="6890" y="23856"/>
                      <a:pt x="12782" y="23856"/>
                    </a:cubicBezTo>
                    <a:cubicBezTo>
                      <a:pt x="18674" y="23856"/>
                      <a:pt x="23691" y="19002"/>
                      <a:pt x="23691" y="12864"/>
                    </a:cubicBezTo>
                    <a:close/>
                    <a:moveTo>
                      <a:pt x="15585" y="14888"/>
                    </a:moveTo>
                    <a:lnTo>
                      <a:pt x="18811" y="19905"/>
                    </a:lnTo>
                    <a:lnTo>
                      <a:pt x="16678" y="19905"/>
                    </a:lnTo>
                    <a:lnTo>
                      <a:pt x="13097" y="14218"/>
                    </a:lnTo>
                    <a:lnTo>
                      <a:pt x="9829" y="14218"/>
                    </a:lnTo>
                    <a:lnTo>
                      <a:pt x="9829" y="19905"/>
                    </a:lnTo>
                    <a:lnTo>
                      <a:pt x="8038" y="19905"/>
                    </a:lnTo>
                    <a:lnTo>
                      <a:pt x="8038" y="5523"/>
                    </a:lnTo>
                    <a:lnTo>
                      <a:pt x="13616" y="5523"/>
                    </a:lnTo>
                    <a:cubicBezTo>
                      <a:pt x="16364" y="5523"/>
                      <a:pt x="18155" y="6999"/>
                      <a:pt x="18155" y="9761"/>
                    </a:cubicBezTo>
                    <a:cubicBezTo>
                      <a:pt x="18155" y="11989"/>
                      <a:pt x="16801" y="13370"/>
                      <a:pt x="14887" y="13917"/>
                    </a:cubicBezTo>
                    <a:cubicBezTo>
                      <a:pt x="15147" y="14204"/>
                      <a:pt x="15407" y="14559"/>
                      <a:pt x="15585" y="14901"/>
                    </a:cubicBezTo>
                    <a:close/>
                    <a:moveTo>
                      <a:pt x="13015" y="12522"/>
                    </a:moveTo>
                    <a:cubicBezTo>
                      <a:pt x="15038" y="12522"/>
                      <a:pt x="16282" y="11565"/>
                      <a:pt x="16282" y="9870"/>
                    </a:cubicBezTo>
                    <a:cubicBezTo>
                      <a:pt x="16282" y="8175"/>
                      <a:pt x="15421" y="7191"/>
                      <a:pt x="13657" y="7191"/>
                    </a:cubicBezTo>
                    <a:lnTo>
                      <a:pt x="9816" y="7191"/>
                    </a:lnTo>
                    <a:lnTo>
                      <a:pt x="9816" y="12509"/>
                    </a:lnTo>
                    <a:lnTo>
                      <a:pt x="13015" y="12509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0" name="Google Shape;993;g22cb0be31a4_6_52">
                <a:extLst>
                  <a:ext uri="{FF2B5EF4-FFF2-40B4-BE49-F238E27FC236}">
                    <a16:creationId xmlns:a16="http://schemas.microsoft.com/office/drawing/2014/main" id="{83307B8F-5A19-3191-B974-315600FC968D}"/>
                  </a:ext>
                </a:extLst>
              </p:cNvPr>
              <p:cNvSpPr/>
              <p:nvPr/>
            </p:nvSpPr>
            <p:spPr>
              <a:xfrm>
                <a:off x="11620956" y="6472487"/>
                <a:ext cx="32932" cy="163721"/>
              </a:xfrm>
              <a:custGeom>
                <a:avLst/>
                <a:gdLst/>
                <a:ahLst/>
                <a:cxnLst/>
                <a:rect l="l" t="t" r="r" b="b"/>
                <a:pathLst>
                  <a:path w="32932" h="163721" extrusionOk="0">
                    <a:moveTo>
                      <a:pt x="29830" y="0"/>
                    </a:moveTo>
                    <a:cubicBezTo>
                      <a:pt x="31544" y="0"/>
                      <a:pt x="32933" y="1389"/>
                      <a:pt x="32933" y="3103"/>
                    </a:cubicBezTo>
                    <a:lnTo>
                      <a:pt x="32933" y="160618"/>
                    </a:lnTo>
                    <a:cubicBezTo>
                      <a:pt x="32933" y="162332"/>
                      <a:pt x="31543" y="163722"/>
                      <a:pt x="29830" y="163722"/>
                    </a:cubicBezTo>
                    <a:lnTo>
                      <a:pt x="3103" y="163722"/>
                    </a:lnTo>
                    <a:cubicBezTo>
                      <a:pt x="1389" y="163722"/>
                      <a:pt x="0" y="162332"/>
                      <a:pt x="0" y="160618"/>
                    </a:cubicBezTo>
                    <a:lnTo>
                      <a:pt x="0" y="3103"/>
                    </a:lnTo>
                    <a:cubicBezTo>
                      <a:pt x="0" y="1389"/>
                      <a:pt x="1389" y="0"/>
                      <a:pt x="3103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1" name="Google Shape;994;g22cb0be31a4_6_52">
                <a:extLst>
                  <a:ext uri="{FF2B5EF4-FFF2-40B4-BE49-F238E27FC236}">
                    <a16:creationId xmlns:a16="http://schemas.microsoft.com/office/drawing/2014/main" id="{130569FA-5D7A-F95B-F65D-704E55D748A0}"/>
                  </a:ext>
                </a:extLst>
              </p:cNvPr>
              <p:cNvSpPr/>
              <p:nvPr/>
            </p:nvSpPr>
            <p:spPr>
              <a:xfrm>
                <a:off x="11488486" y="6472473"/>
                <a:ext cx="123638" cy="166086"/>
              </a:xfrm>
              <a:custGeom>
                <a:avLst/>
                <a:gdLst/>
                <a:ahLst/>
                <a:cxnLst/>
                <a:rect l="l" t="t" r="r" b="b"/>
                <a:pathLst>
                  <a:path w="123638" h="166086" extrusionOk="0">
                    <a:moveTo>
                      <a:pt x="68737" y="44663"/>
                    </a:moveTo>
                    <a:cubicBezTo>
                      <a:pt x="53535" y="44663"/>
                      <a:pt x="40889" y="51252"/>
                      <a:pt x="32947" y="62052"/>
                    </a:cubicBezTo>
                    <a:lnTo>
                      <a:pt x="32947" y="3103"/>
                    </a:lnTo>
                    <a:cubicBezTo>
                      <a:pt x="32947" y="1394"/>
                      <a:pt x="31552" y="0"/>
                      <a:pt x="29843" y="0"/>
                    </a:cubicBezTo>
                    <a:lnTo>
                      <a:pt x="3103" y="0"/>
                    </a:lnTo>
                    <a:cubicBezTo>
                      <a:pt x="1394" y="0"/>
                      <a:pt x="0" y="1394"/>
                      <a:pt x="0" y="3103"/>
                    </a:cubicBezTo>
                    <a:lnTo>
                      <a:pt x="0" y="160632"/>
                    </a:lnTo>
                    <a:cubicBezTo>
                      <a:pt x="0" y="162341"/>
                      <a:pt x="1394" y="163735"/>
                      <a:pt x="3103" y="163735"/>
                    </a:cubicBezTo>
                    <a:lnTo>
                      <a:pt x="29843" y="163735"/>
                    </a:lnTo>
                    <a:cubicBezTo>
                      <a:pt x="31552" y="163735"/>
                      <a:pt x="32947" y="162341"/>
                      <a:pt x="32947" y="160632"/>
                    </a:cubicBezTo>
                    <a:lnTo>
                      <a:pt x="32947" y="149025"/>
                    </a:lnTo>
                    <a:cubicBezTo>
                      <a:pt x="40903" y="159839"/>
                      <a:pt x="53535" y="166087"/>
                      <a:pt x="68983" y="166087"/>
                    </a:cubicBezTo>
                    <a:cubicBezTo>
                      <a:pt x="101505" y="166087"/>
                      <a:pt x="123638" y="139852"/>
                      <a:pt x="123638" y="105539"/>
                    </a:cubicBezTo>
                    <a:cubicBezTo>
                      <a:pt x="123638" y="71225"/>
                      <a:pt x="101505" y="44663"/>
                      <a:pt x="68750" y="44663"/>
                    </a:cubicBezTo>
                    <a:close/>
                    <a:moveTo>
                      <a:pt x="62188" y="135163"/>
                    </a:moveTo>
                    <a:cubicBezTo>
                      <a:pt x="45346" y="135163"/>
                      <a:pt x="32947" y="121533"/>
                      <a:pt x="32947" y="105552"/>
                    </a:cubicBezTo>
                    <a:cubicBezTo>
                      <a:pt x="32947" y="89571"/>
                      <a:pt x="45346" y="76174"/>
                      <a:pt x="62188" y="76174"/>
                    </a:cubicBezTo>
                    <a:cubicBezTo>
                      <a:pt x="79031" y="76174"/>
                      <a:pt x="90965" y="89571"/>
                      <a:pt x="90965" y="105552"/>
                    </a:cubicBezTo>
                    <a:cubicBezTo>
                      <a:pt x="90965" y="121533"/>
                      <a:pt x="78798" y="135163"/>
                      <a:pt x="62188" y="13516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2" name="Google Shape;995;g22cb0be31a4_6_52">
                <a:extLst>
                  <a:ext uri="{FF2B5EF4-FFF2-40B4-BE49-F238E27FC236}">
                    <a16:creationId xmlns:a16="http://schemas.microsoft.com/office/drawing/2014/main" id="{6D393623-2CB7-C55C-8D1B-FC6314835DAC}"/>
                  </a:ext>
                </a:extLst>
              </p:cNvPr>
              <p:cNvSpPr/>
              <p:nvPr/>
            </p:nvSpPr>
            <p:spPr>
              <a:xfrm>
                <a:off x="11359421" y="6517136"/>
                <a:ext cx="120412" cy="121437"/>
              </a:xfrm>
              <a:custGeom>
                <a:avLst/>
                <a:gdLst/>
                <a:ahLst/>
                <a:cxnLst/>
                <a:rect l="l" t="t" r="r" b="b"/>
                <a:pathLst>
                  <a:path w="120412" h="121437" extrusionOk="0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3" name="Google Shape;996;g22cb0be31a4_6_52">
                <a:extLst>
                  <a:ext uri="{FF2B5EF4-FFF2-40B4-BE49-F238E27FC236}">
                    <a16:creationId xmlns:a16="http://schemas.microsoft.com/office/drawing/2014/main" id="{094FDF1B-5EB4-048A-72BC-5AD461F6007A}"/>
                  </a:ext>
                </a:extLst>
              </p:cNvPr>
              <p:cNvSpPr/>
              <p:nvPr/>
            </p:nvSpPr>
            <p:spPr>
              <a:xfrm>
                <a:off x="11662542" y="6517136"/>
                <a:ext cx="120412" cy="121437"/>
              </a:xfrm>
              <a:custGeom>
                <a:avLst/>
                <a:gdLst/>
                <a:ahLst/>
                <a:cxnLst/>
                <a:rect l="l" t="t" r="r" b="b"/>
                <a:pathLst>
                  <a:path w="120412" h="121437" extrusionOk="0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4" name="Google Shape;997;g22cb0be31a4_6_52">
                <a:extLst>
                  <a:ext uri="{FF2B5EF4-FFF2-40B4-BE49-F238E27FC236}">
                    <a16:creationId xmlns:a16="http://schemas.microsoft.com/office/drawing/2014/main" id="{C63C090B-3E6D-854E-8428-1FF6A03DBA1B}"/>
                  </a:ext>
                </a:extLst>
              </p:cNvPr>
              <p:cNvSpPr/>
              <p:nvPr/>
            </p:nvSpPr>
            <p:spPr>
              <a:xfrm>
                <a:off x="11122821" y="6519528"/>
                <a:ext cx="32932" cy="116680"/>
              </a:xfrm>
              <a:custGeom>
                <a:avLst/>
                <a:gdLst/>
                <a:ahLst/>
                <a:cxnLst/>
                <a:rect l="l" t="t" r="r" b="b"/>
                <a:pathLst>
                  <a:path w="32932" h="116680" extrusionOk="0">
                    <a:moveTo>
                      <a:pt x="29843" y="116680"/>
                    </a:moveTo>
                    <a:lnTo>
                      <a:pt x="3103" y="116680"/>
                    </a:lnTo>
                    <a:cubicBezTo>
                      <a:pt x="1394" y="116680"/>
                      <a:pt x="0" y="115286"/>
                      <a:pt x="0" y="113577"/>
                    </a:cubicBezTo>
                    <a:lnTo>
                      <a:pt x="0" y="30554"/>
                    </a:lnTo>
                    <a:cubicBezTo>
                      <a:pt x="0" y="28886"/>
                      <a:pt x="670" y="27287"/>
                      <a:pt x="1859" y="26125"/>
                    </a:cubicBezTo>
                    <a:lnTo>
                      <a:pt x="27670" y="888"/>
                    </a:lnTo>
                    <a:cubicBezTo>
                      <a:pt x="29638" y="-1026"/>
                      <a:pt x="32933" y="355"/>
                      <a:pt x="32933" y="3103"/>
                    </a:cubicBezTo>
                    <a:lnTo>
                      <a:pt x="32933" y="113577"/>
                    </a:lnTo>
                    <a:cubicBezTo>
                      <a:pt x="32933" y="115286"/>
                      <a:pt x="31538" y="116680"/>
                      <a:pt x="29830" y="11668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5" name="Google Shape;998;g22cb0be31a4_6_52">
                <a:extLst>
                  <a:ext uri="{FF2B5EF4-FFF2-40B4-BE49-F238E27FC236}">
                    <a16:creationId xmlns:a16="http://schemas.microsoft.com/office/drawing/2014/main" id="{FE6CF04B-B9BD-557A-4F3B-96E527E19D9A}"/>
                  </a:ext>
                </a:extLst>
              </p:cNvPr>
              <p:cNvSpPr/>
              <p:nvPr/>
            </p:nvSpPr>
            <p:spPr>
              <a:xfrm>
                <a:off x="11173074" y="6517105"/>
                <a:ext cx="107493" cy="119116"/>
              </a:xfrm>
              <a:custGeom>
                <a:avLst/>
                <a:gdLst/>
                <a:ahLst/>
                <a:cxnLst/>
                <a:rect l="l" t="t" r="r" b="b"/>
                <a:pathLst>
                  <a:path w="107493" h="119116" extrusionOk="0">
                    <a:moveTo>
                      <a:pt x="107480" y="41877"/>
                    </a:moveTo>
                    <a:cubicBezTo>
                      <a:pt x="107480" y="19252"/>
                      <a:pt x="88792" y="277"/>
                      <a:pt x="65237" y="3"/>
                    </a:cubicBezTo>
                    <a:cubicBezTo>
                      <a:pt x="49912" y="-175"/>
                      <a:pt x="39563" y="7331"/>
                      <a:pt x="32947" y="17474"/>
                    </a:cubicBezTo>
                    <a:lnTo>
                      <a:pt x="32947" y="5581"/>
                    </a:lnTo>
                    <a:cubicBezTo>
                      <a:pt x="32947" y="3872"/>
                      <a:pt x="31552" y="2478"/>
                      <a:pt x="29843" y="2478"/>
                    </a:cubicBezTo>
                    <a:lnTo>
                      <a:pt x="3103" y="2478"/>
                    </a:lnTo>
                    <a:cubicBezTo>
                      <a:pt x="1394" y="2478"/>
                      <a:pt x="0" y="3872"/>
                      <a:pt x="0" y="5581"/>
                    </a:cubicBezTo>
                    <a:lnTo>
                      <a:pt x="0" y="116000"/>
                    </a:lnTo>
                    <a:cubicBezTo>
                      <a:pt x="0" y="117709"/>
                      <a:pt x="1394" y="119103"/>
                      <a:pt x="3103" y="119103"/>
                    </a:cubicBezTo>
                    <a:lnTo>
                      <a:pt x="29843" y="119103"/>
                    </a:lnTo>
                    <a:cubicBezTo>
                      <a:pt x="31552" y="119103"/>
                      <a:pt x="32947" y="117709"/>
                      <a:pt x="32947" y="116000"/>
                    </a:cubicBezTo>
                    <a:lnTo>
                      <a:pt x="32947" y="51788"/>
                    </a:lnTo>
                    <a:cubicBezTo>
                      <a:pt x="33685" y="39430"/>
                      <a:pt x="41518" y="31747"/>
                      <a:pt x="53740" y="31747"/>
                    </a:cubicBezTo>
                    <a:cubicBezTo>
                      <a:pt x="65961" y="31747"/>
                      <a:pt x="74547" y="40373"/>
                      <a:pt x="74547" y="53210"/>
                    </a:cubicBezTo>
                    <a:lnTo>
                      <a:pt x="74547" y="116014"/>
                    </a:lnTo>
                    <a:cubicBezTo>
                      <a:pt x="74547" y="117722"/>
                      <a:pt x="75941" y="119117"/>
                      <a:pt x="77650" y="119117"/>
                    </a:cubicBezTo>
                    <a:lnTo>
                      <a:pt x="104390" y="119117"/>
                    </a:lnTo>
                    <a:cubicBezTo>
                      <a:pt x="106099" y="119117"/>
                      <a:pt x="107493" y="117722"/>
                      <a:pt x="107493" y="116014"/>
                    </a:cubicBezTo>
                    <a:lnTo>
                      <a:pt x="107493" y="4189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51073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stimonial - Krosch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oogle Shape;987;g22cb0be31a4_6_52">
            <a:extLst>
              <a:ext uri="{FF2B5EF4-FFF2-40B4-BE49-F238E27FC236}">
                <a16:creationId xmlns:a16="http://schemas.microsoft.com/office/drawing/2014/main" id="{4DE2FA32-4BDF-907B-19AD-7217FA4CE420}"/>
              </a:ext>
            </a:extLst>
          </p:cNvPr>
          <p:cNvGrpSpPr/>
          <p:nvPr userDrawn="1"/>
        </p:nvGrpSpPr>
        <p:grpSpPr>
          <a:xfrm>
            <a:off x="11122821" y="6466206"/>
            <a:ext cx="799629" cy="172367"/>
            <a:chOff x="11122821" y="6466206"/>
            <a:chExt cx="799629" cy="172367"/>
          </a:xfrm>
        </p:grpSpPr>
        <p:sp>
          <p:nvSpPr>
            <p:cNvPr id="5" name="Google Shape;988;g22cb0be31a4_6_52">
              <a:extLst>
                <a:ext uri="{FF2B5EF4-FFF2-40B4-BE49-F238E27FC236}">
                  <a16:creationId xmlns:a16="http://schemas.microsoft.com/office/drawing/2014/main" id="{B2CA3A27-3EF5-9B90-B4F4-41C44D6569FF}"/>
                </a:ext>
              </a:extLst>
            </p:cNvPr>
            <p:cNvSpPr/>
            <p:nvPr/>
          </p:nvSpPr>
          <p:spPr>
            <a:xfrm rot="-2700000">
              <a:off x="11134957" y="6473485"/>
              <a:ext cx="35147" cy="35147"/>
            </a:xfrm>
            <a:custGeom>
              <a:avLst/>
              <a:gdLst/>
              <a:ahLst/>
              <a:cxnLst/>
              <a:rect l="l" t="t" r="r" b="b"/>
              <a:pathLst>
                <a:path w="35147" h="35147" extrusionOk="0">
                  <a:moveTo>
                    <a:pt x="32044" y="0"/>
                  </a:moveTo>
                  <a:cubicBezTo>
                    <a:pt x="33758" y="0"/>
                    <a:pt x="35148" y="1389"/>
                    <a:pt x="35148" y="3103"/>
                  </a:cubicBezTo>
                  <a:lnTo>
                    <a:pt x="35148" y="32044"/>
                  </a:lnTo>
                  <a:cubicBezTo>
                    <a:pt x="35148" y="33758"/>
                    <a:pt x="33758" y="35148"/>
                    <a:pt x="32044" y="35148"/>
                  </a:cubicBezTo>
                  <a:lnTo>
                    <a:pt x="3103" y="35148"/>
                  </a:lnTo>
                  <a:cubicBezTo>
                    <a:pt x="1389" y="35148"/>
                    <a:pt x="0" y="33758"/>
                    <a:pt x="0" y="32044"/>
                  </a:cubicBezTo>
                  <a:lnTo>
                    <a:pt x="0" y="3103"/>
                  </a:lnTo>
                  <a:cubicBezTo>
                    <a:pt x="0" y="1389"/>
                    <a:pt x="1389" y="0"/>
                    <a:pt x="3103" y="0"/>
                  </a:cubicBezTo>
                  <a:close/>
                </a:path>
              </a:pathLst>
            </a:custGeom>
            <a:solidFill>
              <a:srgbClr val="00B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Lato Light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Calibri"/>
              </a:endParaRPr>
            </a:p>
          </p:txBody>
        </p:sp>
        <p:grpSp>
          <p:nvGrpSpPr>
            <p:cNvPr id="6" name="Google Shape;989;g22cb0be31a4_6_52">
              <a:extLst>
                <a:ext uri="{FF2B5EF4-FFF2-40B4-BE49-F238E27FC236}">
                  <a16:creationId xmlns:a16="http://schemas.microsoft.com/office/drawing/2014/main" id="{8DAC5303-7ED7-33A6-0CD6-254E7A6A7961}"/>
                </a:ext>
              </a:extLst>
            </p:cNvPr>
            <p:cNvGrpSpPr/>
            <p:nvPr/>
          </p:nvGrpSpPr>
          <p:grpSpPr>
            <a:xfrm>
              <a:off x="11122821" y="6472473"/>
              <a:ext cx="799629" cy="166100"/>
              <a:chOff x="11122821" y="6472473"/>
              <a:chExt cx="799629" cy="166100"/>
            </a:xfrm>
          </p:grpSpPr>
          <p:sp>
            <p:nvSpPr>
              <p:cNvPr id="7" name="Google Shape;990;g22cb0be31a4_6_52">
                <a:extLst>
                  <a:ext uri="{FF2B5EF4-FFF2-40B4-BE49-F238E27FC236}">
                    <a16:creationId xmlns:a16="http://schemas.microsoft.com/office/drawing/2014/main" id="{16B50947-AA17-A454-AF26-87CBF998C35A}"/>
                  </a:ext>
                </a:extLst>
              </p:cNvPr>
              <p:cNvSpPr/>
              <p:nvPr/>
            </p:nvSpPr>
            <p:spPr>
              <a:xfrm>
                <a:off x="11774281" y="6519597"/>
                <a:ext cx="119385" cy="116611"/>
              </a:xfrm>
              <a:custGeom>
                <a:avLst/>
                <a:gdLst/>
                <a:ahLst/>
                <a:cxnLst/>
                <a:rect l="l" t="t" r="r" b="b"/>
                <a:pathLst>
                  <a:path w="119385" h="116611" extrusionOk="0">
                    <a:moveTo>
                      <a:pt x="82523" y="58306"/>
                    </a:moveTo>
                    <a:lnTo>
                      <a:pt x="118887" y="112265"/>
                    </a:lnTo>
                    <a:cubicBezTo>
                      <a:pt x="120199" y="114124"/>
                      <a:pt x="118764" y="116612"/>
                      <a:pt x="116385" y="116612"/>
                    </a:cubicBezTo>
                    <a:lnTo>
                      <a:pt x="85831" y="116612"/>
                    </a:lnTo>
                    <a:cubicBezTo>
                      <a:pt x="83794" y="116612"/>
                      <a:pt x="81880" y="115600"/>
                      <a:pt x="80718" y="113919"/>
                    </a:cubicBezTo>
                    <a:lnTo>
                      <a:pt x="59693" y="81751"/>
                    </a:lnTo>
                    <a:lnTo>
                      <a:pt x="38667" y="113919"/>
                    </a:lnTo>
                    <a:cubicBezTo>
                      <a:pt x="37505" y="115600"/>
                      <a:pt x="35605" y="116612"/>
                      <a:pt x="33554" y="116612"/>
                    </a:cubicBezTo>
                    <a:lnTo>
                      <a:pt x="3000" y="116612"/>
                    </a:lnTo>
                    <a:cubicBezTo>
                      <a:pt x="621" y="116612"/>
                      <a:pt x="-814" y="114138"/>
                      <a:pt x="498" y="112265"/>
                    </a:cubicBezTo>
                    <a:lnTo>
                      <a:pt x="36753" y="58306"/>
                    </a:lnTo>
                    <a:lnTo>
                      <a:pt x="498" y="4347"/>
                    </a:lnTo>
                    <a:cubicBezTo>
                      <a:pt x="-814" y="2488"/>
                      <a:pt x="621" y="0"/>
                      <a:pt x="3000" y="0"/>
                    </a:cubicBezTo>
                    <a:lnTo>
                      <a:pt x="34853" y="0"/>
                    </a:lnTo>
                    <a:cubicBezTo>
                      <a:pt x="36042" y="0"/>
                      <a:pt x="37149" y="547"/>
                      <a:pt x="37778" y="1449"/>
                    </a:cubicBezTo>
                    <a:lnTo>
                      <a:pt x="59679" y="34806"/>
                    </a:lnTo>
                    <a:lnTo>
                      <a:pt x="80240" y="1463"/>
                    </a:lnTo>
                    <a:cubicBezTo>
                      <a:pt x="80855" y="561"/>
                      <a:pt x="81976" y="0"/>
                      <a:pt x="83165" y="0"/>
                    </a:cubicBezTo>
                    <a:lnTo>
                      <a:pt x="115333" y="0"/>
                    </a:lnTo>
                    <a:cubicBezTo>
                      <a:pt x="117711" y="0"/>
                      <a:pt x="119133" y="2474"/>
                      <a:pt x="117834" y="4334"/>
                    </a:cubicBezTo>
                    <a:lnTo>
                      <a:pt x="82495" y="5830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8" name="Google Shape;991;g22cb0be31a4_6_52">
                <a:extLst>
                  <a:ext uri="{FF2B5EF4-FFF2-40B4-BE49-F238E27FC236}">
                    <a16:creationId xmlns:a16="http://schemas.microsoft.com/office/drawing/2014/main" id="{C16BBA94-DC9E-7F21-1A44-2C9FB85B8EA7}"/>
                  </a:ext>
                </a:extLst>
              </p:cNvPr>
              <p:cNvSpPr/>
              <p:nvPr/>
            </p:nvSpPr>
            <p:spPr>
              <a:xfrm>
                <a:off x="11284928" y="6472473"/>
                <a:ext cx="78825" cy="163762"/>
              </a:xfrm>
              <a:custGeom>
                <a:avLst/>
                <a:gdLst/>
                <a:ahLst/>
                <a:cxnLst/>
                <a:rect l="l" t="t" r="r" b="b"/>
                <a:pathLst>
                  <a:path w="78825" h="163762" extrusionOk="0">
                    <a:moveTo>
                      <a:pt x="75722" y="14"/>
                    </a:moveTo>
                    <a:lnTo>
                      <a:pt x="50377" y="14"/>
                    </a:lnTo>
                    <a:cubicBezTo>
                      <a:pt x="47916" y="14"/>
                      <a:pt x="45551" y="998"/>
                      <a:pt x="43801" y="2734"/>
                    </a:cubicBezTo>
                    <a:lnTo>
                      <a:pt x="19987" y="26549"/>
                    </a:lnTo>
                    <a:cubicBezTo>
                      <a:pt x="18237" y="28299"/>
                      <a:pt x="17266" y="30664"/>
                      <a:pt x="17266" y="33124"/>
                    </a:cubicBezTo>
                    <a:lnTo>
                      <a:pt x="17266" y="51867"/>
                    </a:lnTo>
                    <a:lnTo>
                      <a:pt x="3049" y="51867"/>
                    </a:lnTo>
                    <a:cubicBezTo>
                      <a:pt x="1367" y="51867"/>
                      <a:pt x="0" y="53234"/>
                      <a:pt x="0" y="54916"/>
                    </a:cubicBezTo>
                    <a:lnTo>
                      <a:pt x="0" y="75955"/>
                    </a:lnTo>
                    <a:cubicBezTo>
                      <a:pt x="0" y="77636"/>
                      <a:pt x="1367" y="79004"/>
                      <a:pt x="3049" y="79004"/>
                    </a:cubicBezTo>
                    <a:lnTo>
                      <a:pt x="17266" y="79004"/>
                    </a:lnTo>
                    <a:lnTo>
                      <a:pt x="17266" y="160659"/>
                    </a:lnTo>
                    <a:cubicBezTo>
                      <a:pt x="17266" y="162368"/>
                      <a:pt x="18661" y="163763"/>
                      <a:pt x="20369" y="163763"/>
                    </a:cubicBezTo>
                    <a:lnTo>
                      <a:pt x="47109" y="163763"/>
                    </a:lnTo>
                    <a:cubicBezTo>
                      <a:pt x="48818" y="163763"/>
                      <a:pt x="50213" y="162368"/>
                      <a:pt x="50213" y="160659"/>
                    </a:cubicBezTo>
                    <a:lnTo>
                      <a:pt x="50213" y="78990"/>
                    </a:lnTo>
                    <a:lnTo>
                      <a:pt x="71443" y="78990"/>
                    </a:lnTo>
                    <a:cubicBezTo>
                      <a:pt x="73125" y="78990"/>
                      <a:pt x="74492" y="77623"/>
                      <a:pt x="74492" y="75941"/>
                    </a:cubicBezTo>
                    <a:lnTo>
                      <a:pt x="74492" y="54902"/>
                    </a:lnTo>
                    <a:cubicBezTo>
                      <a:pt x="74492" y="53220"/>
                      <a:pt x="73125" y="51853"/>
                      <a:pt x="71443" y="51853"/>
                    </a:cubicBezTo>
                    <a:lnTo>
                      <a:pt x="50213" y="51853"/>
                    </a:lnTo>
                    <a:lnTo>
                      <a:pt x="50213" y="38565"/>
                    </a:lnTo>
                    <a:cubicBezTo>
                      <a:pt x="50213" y="33425"/>
                      <a:pt x="54382" y="29269"/>
                      <a:pt x="59509" y="29269"/>
                    </a:cubicBezTo>
                    <a:lnTo>
                      <a:pt x="75722" y="29269"/>
                    </a:lnTo>
                    <a:cubicBezTo>
                      <a:pt x="77431" y="29269"/>
                      <a:pt x="78826" y="27875"/>
                      <a:pt x="78826" y="26166"/>
                    </a:cubicBezTo>
                    <a:lnTo>
                      <a:pt x="78826" y="3103"/>
                    </a:lnTo>
                    <a:cubicBezTo>
                      <a:pt x="78826" y="1394"/>
                      <a:pt x="77431" y="0"/>
                      <a:pt x="75722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9" name="Google Shape;992;g22cb0be31a4_6_52">
                <a:extLst>
                  <a:ext uri="{FF2B5EF4-FFF2-40B4-BE49-F238E27FC236}">
                    <a16:creationId xmlns:a16="http://schemas.microsoft.com/office/drawing/2014/main" id="{8941B8E6-F38C-9DC2-10D2-C236132A20A3}"/>
                  </a:ext>
                </a:extLst>
              </p:cNvPr>
              <p:cNvSpPr/>
              <p:nvPr/>
            </p:nvSpPr>
            <p:spPr>
              <a:xfrm>
                <a:off x="11896791" y="6612367"/>
                <a:ext cx="25659" cy="25660"/>
              </a:xfrm>
              <a:custGeom>
                <a:avLst/>
                <a:gdLst/>
                <a:ahLst/>
                <a:cxnLst/>
                <a:rect l="l" t="t" r="r" b="b"/>
                <a:pathLst>
                  <a:path w="25659" h="25660" extrusionOk="0">
                    <a:moveTo>
                      <a:pt x="25660" y="12810"/>
                    </a:moveTo>
                    <a:cubicBezTo>
                      <a:pt x="25660" y="19946"/>
                      <a:pt x="19946" y="25660"/>
                      <a:pt x="12782" y="25660"/>
                    </a:cubicBezTo>
                    <a:cubicBezTo>
                      <a:pt x="5619" y="25660"/>
                      <a:pt x="0" y="19891"/>
                      <a:pt x="0" y="12810"/>
                    </a:cubicBezTo>
                    <a:cubicBezTo>
                      <a:pt x="0" y="5728"/>
                      <a:pt x="5714" y="0"/>
                      <a:pt x="12823" y="0"/>
                    </a:cubicBezTo>
                    <a:cubicBezTo>
                      <a:pt x="19932" y="0"/>
                      <a:pt x="25646" y="5687"/>
                      <a:pt x="25646" y="12810"/>
                    </a:cubicBezTo>
                    <a:close/>
                    <a:moveTo>
                      <a:pt x="23691" y="12864"/>
                    </a:moveTo>
                    <a:cubicBezTo>
                      <a:pt x="23691" y="6712"/>
                      <a:pt x="18838" y="1832"/>
                      <a:pt x="12837" y="1832"/>
                    </a:cubicBezTo>
                    <a:cubicBezTo>
                      <a:pt x="6835" y="1832"/>
                      <a:pt x="1982" y="6658"/>
                      <a:pt x="1982" y="12851"/>
                    </a:cubicBezTo>
                    <a:cubicBezTo>
                      <a:pt x="1982" y="19043"/>
                      <a:pt x="6890" y="23856"/>
                      <a:pt x="12782" y="23856"/>
                    </a:cubicBezTo>
                    <a:cubicBezTo>
                      <a:pt x="18674" y="23856"/>
                      <a:pt x="23691" y="19002"/>
                      <a:pt x="23691" y="12864"/>
                    </a:cubicBezTo>
                    <a:close/>
                    <a:moveTo>
                      <a:pt x="15585" y="14888"/>
                    </a:moveTo>
                    <a:lnTo>
                      <a:pt x="18811" y="19905"/>
                    </a:lnTo>
                    <a:lnTo>
                      <a:pt x="16678" y="19905"/>
                    </a:lnTo>
                    <a:lnTo>
                      <a:pt x="13097" y="14218"/>
                    </a:lnTo>
                    <a:lnTo>
                      <a:pt x="9829" y="14218"/>
                    </a:lnTo>
                    <a:lnTo>
                      <a:pt x="9829" y="19905"/>
                    </a:lnTo>
                    <a:lnTo>
                      <a:pt x="8038" y="19905"/>
                    </a:lnTo>
                    <a:lnTo>
                      <a:pt x="8038" y="5523"/>
                    </a:lnTo>
                    <a:lnTo>
                      <a:pt x="13616" y="5523"/>
                    </a:lnTo>
                    <a:cubicBezTo>
                      <a:pt x="16364" y="5523"/>
                      <a:pt x="18155" y="6999"/>
                      <a:pt x="18155" y="9761"/>
                    </a:cubicBezTo>
                    <a:cubicBezTo>
                      <a:pt x="18155" y="11989"/>
                      <a:pt x="16801" y="13370"/>
                      <a:pt x="14887" y="13917"/>
                    </a:cubicBezTo>
                    <a:cubicBezTo>
                      <a:pt x="15147" y="14204"/>
                      <a:pt x="15407" y="14559"/>
                      <a:pt x="15585" y="14901"/>
                    </a:cubicBezTo>
                    <a:close/>
                    <a:moveTo>
                      <a:pt x="13015" y="12522"/>
                    </a:moveTo>
                    <a:cubicBezTo>
                      <a:pt x="15038" y="12522"/>
                      <a:pt x="16282" y="11565"/>
                      <a:pt x="16282" y="9870"/>
                    </a:cubicBezTo>
                    <a:cubicBezTo>
                      <a:pt x="16282" y="8175"/>
                      <a:pt x="15421" y="7191"/>
                      <a:pt x="13657" y="7191"/>
                    </a:cubicBezTo>
                    <a:lnTo>
                      <a:pt x="9816" y="7191"/>
                    </a:lnTo>
                    <a:lnTo>
                      <a:pt x="9816" y="12509"/>
                    </a:lnTo>
                    <a:lnTo>
                      <a:pt x="13015" y="12509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0" name="Google Shape;993;g22cb0be31a4_6_52">
                <a:extLst>
                  <a:ext uri="{FF2B5EF4-FFF2-40B4-BE49-F238E27FC236}">
                    <a16:creationId xmlns:a16="http://schemas.microsoft.com/office/drawing/2014/main" id="{83307B8F-5A19-3191-B974-315600FC968D}"/>
                  </a:ext>
                </a:extLst>
              </p:cNvPr>
              <p:cNvSpPr/>
              <p:nvPr/>
            </p:nvSpPr>
            <p:spPr>
              <a:xfrm>
                <a:off x="11620956" y="6472487"/>
                <a:ext cx="32932" cy="163721"/>
              </a:xfrm>
              <a:custGeom>
                <a:avLst/>
                <a:gdLst/>
                <a:ahLst/>
                <a:cxnLst/>
                <a:rect l="l" t="t" r="r" b="b"/>
                <a:pathLst>
                  <a:path w="32932" h="163721" extrusionOk="0">
                    <a:moveTo>
                      <a:pt x="29830" y="0"/>
                    </a:moveTo>
                    <a:cubicBezTo>
                      <a:pt x="31544" y="0"/>
                      <a:pt x="32933" y="1389"/>
                      <a:pt x="32933" y="3103"/>
                    </a:cubicBezTo>
                    <a:lnTo>
                      <a:pt x="32933" y="160618"/>
                    </a:lnTo>
                    <a:cubicBezTo>
                      <a:pt x="32933" y="162332"/>
                      <a:pt x="31543" y="163722"/>
                      <a:pt x="29830" y="163722"/>
                    </a:cubicBezTo>
                    <a:lnTo>
                      <a:pt x="3103" y="163722"/>
                    </a:lnTo>
                    <a:cubicBezTo>
                      <a:pt x="1389" y="163722"/>
                      <a:pt x="0" y="162332"/>
                      <a:pt x="0" y="160618"/>
                    </a:cubicBezTo>
                    <a:lnTo>
                      <a:pt x="0" y="3103"/>
                    </a:lnTo>
                    <a:cubicBezTo>
                      <a:pt x="0" y="1389"/>
                      <a:pt x="1389" y="0"/>
                      <a:pt x="3103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1" name="Google Shape;994;g22cb0be31a4_6_52">
                <a:extLst>
                  <a:ext uri="{FF2B5EF4-FFF2-40B4-BE49-F238E27FC236}">
                    <a16:creationId xmlns:a16="http://schemas.microsoft.com/office/drawing/2014/main" id="{130569FA-5D7A-F95B-F65D-704E55D748A0}"/>
                  </a:ext>
                </a:extLst>
              </p:cNvPr>
              <p:cNvSpPr/>
              <p:nvPr/>
            </p:nvSpPr>
            <p:spPr>
              <a:xfrm>
                <a:off x="11488486" y="6472473"/>
                <a:ext cx="123638" cy="166086"/>
              </a:xfrm>
              <a:custGeom>
                <a:avLst/>
                <a:gdLst/>
                <a:ahLst/>
                <a:cxnLst/>
                <a:rect l="l" t="t" r="r" b="b"/>
                <a:pathLst>
                  <a:path w="123638" h="166086" extrusionOk="0">
                    <a:moveTo>
                      <a:pt x="68737" y="44663"/>
                    </a:moveTo>
                    <a:cubicBezTo>
                      <a:pt x="53535" y="44663"/>
                      <a:pt x="40889" y="51252"/>
                      <a:pt x="32947" y="62052"/>
                    </a:cubicBezTo>
                    <a:lnTo>
                      <a:pt x="32947" y="3103"/>
                    </a:lnTo>
                    <a:cubicBezTo>
                      <a:pt x="32947" y="1394"/>
                      <a:pt x="31552" y="0"/>
                      <a:pt x="29843" y="0"/>
                    </a:cubicBezTo>
                    <a:lnTo>
                      <a:pt x="3103" y="0"/>
                    </a:lnTo>
                    <a:cubicBezTo>
                      <a:pt x="1394" y="0"/>
                      <a:pt x="0" y="1394"/>
                      <a:pt x="0" y="3103"/>
                    </a:cubicBezTo>
                    <a:lnTo>
                      <a:pt x="0" y="160632"/>
                    </a:lnTo>
                    <a:cubicBezTo>
                      <a:pt x="0" y="162341"/>
                      <a:pt x="1394" y="163735"/>
                      <a:pt x="3103" y="163735"/>
                    </a:cubicBezTo>
                    <a:lnTo>
                      <a:pt x="29843" y="163735"/>
                    </a:lnTo>
                    <a:cubicBezTo>
                      <a:pt x="31552" y="163735"/>
                      <a:pt x="32947" y="162341"/>
                      <a:pt x="32947" y="160632"/>
                    </a:cubicBezTo>
                    <a:lnTo>
                      <a:pt x="32947" y="149025"/>
                    </a:lnTo>
                    <a:cubicBezTo>
                      <a:pt x="40903" y="159839"/>
                      <a:pt x="53535" y="166087"/>
                      <a:pt x="68983" y="166087"/>
                    </a:cubicBezTo>
                    <a:cubicBezTo>
                      <a:pt x="101505" y="166087"/>
                      <a:pt x="123638" y="139852"/>
                      <a:pt x="123638" y="105539"/>
                    </a:cubicBezTo>
                    <a:cubicBezTo>
                      <a:pt x="123638" y="71225"/>
                      <a:pt x="101505" y="44663"/>
                      <a:pt x="68750" y="44663"/>
                    </a:cubicBezTo>
                    <a:close/>
                    <a:moveTo>
                      <a:pt x="62188" y="135163"/>
                    </a:moveTo>
                    <a:cubicBezTo>
                      <a:pt x="45346" y="135163"/>
                      <a:pt x="32947" y="121533"/>
                      <a:pt x="32947" y="105552"/>
                    </a:cubicBezTo>
                    <a:cubicBezTo>
                      <a:pt x="32947" y="89571"/>
                      <a:pt x="45346" y="76174"/>
                      <a:pt x="62188" y="76174"/>
                    </a:cubicBezTo>
                    <a:cubicBezTo>
                      <a:pt x="79031" y="76174"/>
                      <a:pt x="90965" y="89571"/>
                      <a:pt x="90965" y="105552"/>
                    </a:cubicBezTo>
                    <a:cubicBezTo>
                      <a:pt x="90965" y="121533"/>
                      <a:pt x="78798" y="135163"/>
                      <a:pt x="62188" y="13516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2" name="Google Shape;995;g22cb0be31a4_6_52">
                <a:extLst>
                  <a:ext uri="{FF2B5EF4-FFF2-40B4-BE49-F238E27FC236}">
                    <a16:creationId xmlns:a16="http://schemas.microsoft.com/office/drawing/2014/main" id="{6D393623-2CB7-C55C-8D1B-FC6314835DAC}"/>
                  </a:ext>
                </a:extLst>
              </p:cNvPr>
              <p:cNvSpPr/>
              <p:nvPr/>
            </p:nvSpPr>
            <p:spPr>
              <a:xfrm>
                <a:off x="11359421" y="6517136"/>
                <a:ext cx="120412" cy="121437"/>
              </a:xfrm>
              <a:custGeom>
                <a:avLst/>
                <a:gdLst/>
                <a:ahLst/>
                <a:cxnLst/>
                <a:rect l="l" t="t" r="r" b="b"/>
                <a:pathLst>
                  <a:path w="120412" h="121437" extrusionOk="0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3" name="Google Shape;996;g22cb0be31a4_6_52">
                <a:extLst>
                  <a:ext uri="{FF2B5EF4-FFF2-40B4-BE49-F238E27FC236}">
                    <a16:creationId xmlns:a16="http://schemas.microsoft.com/office/drawing/2014/main" id="{094FDF1B-5EB4-048A-72BC-5AD461F6007A}"/>
                  </a:ext>
                </a:extLst>
              </p:cNvPr>
              <p:cNvSpPr/>
              <p:nvPr/>
            </p:nvSpPr>
            <p:spPr>
              <a:xfrm>
                <a:off x="11662542" y="6517136"/>
                <a:ext cx="120412" cy="121437"/>
              </a:xfrm>
              <a:custGeom>
                <a:avLst/>
                <a:gdLst/>
                <a:ahLst/>
                <a:cxnLst/>
                <a:rect l="l" t="t" r="r" b="b"/>
                <a:pathLst>
                  <a:path w="120412" h="121437" extrusionOk="0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4" name="Google Shape;997;g22cb0be31a4_6_52">
                <a:extLst>
                  <a:ext uri="{FF2B5EF4-FFF2-40B4-BE49-F238E27FC236}">
                    <a16:creationId xmlns:a16="http://schemas.microsoft.com/office/drawing/2014/main" id="{C63C090B-3E6D-854E-8428-1FF6A03DBA1B}"/>
                  </a:ext>
                </a:extLst>
              </p:cNvPr>
              <p:cNvSpPr/>
              <p:nvPr/>
            </p:nvSpPr>
            <p:spPr>
              <a:xfrm>
                <a:off x="11122821" y="6519528"/>
                <a:ext cx="32932" cy="116680"/>
              </a:xfrm>
              <a:custGeom>
                <a:avLst/>
                <a:gdLst/>
                <a:ahLst/>
                <a:cxnLst/>
                <a:rect l="l" t="t" r="r" b="b"/>
                <a:pathLst>
                  <a:path w="32932" h="116680" extrusionOk="0">
                    <a:moveTo>
                      <a:pt x="29843" y="116680"/>
                    </a:moveTo>
                    <a:lnTo>
                      <a:pt x="3103" y="116680"/>
                    </a:lnTo>
                    <a:cubicBezTo>
                      <a:pt x="1394" y="116680"/>
                      <a:pt x="0" y="115286"/>
                      <a:pt x="0" y="113577"/>
                    </a:cubicBezTo>
                    <a:lnTo>
                      <a:pt x="0" y="30554"/>
                    </a:lnTo>
                    <a:cubicBezTo>
                      <a:pt x="0" y="28886"/>
                      <a:pt x="670" y="27287"/>
                      <a:pt x="1859" y="26125"/>
                    </a:cubicBezTo>
                    <a:lnTo>
                      <a:pt x="27670" y="888"/>
                    </a:lnTo>
                    <a:cubicBezTo>
                      <a:pt x="29638" y="-1026"/>
                      <a:pt x="32933" y="355"/>
                      <a:pt x="32933" y="3103"/>
                    </a:cubicBezTo>
                    <a:lnTo>
                      <a:pt x="32933" y="113577"/>
                    </a:lnTo>
                    <a:cubicBezTo>
                      <a:pt x="32933" y="115286"/>
                      <a:pt x="31538" y="116680"/>
                      <a:pt x="29830" y="11668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5" name="Google Shape;998;g22cb0be31a4_6_52">
                <a:extLst>
                  <a:ext uri="{FF2B5EF4-FFF2-40B4-BE49-F238E27FC236}">
                    <a16:creationId xmlns:a16="http://schemas.microsoft.com/office/drawing/2014/main" id="{FE6CF04B-B9BD-557A-4F3B-96E527E19D9A}"/>
                  </a:ext>
                </a:extLst>
              </p:cNvPr>
              <p:cNvSpPr/>
              <p:nvPr/>
            </p:nvSpPr>
            <p:spPr>
              <a:xfrm>
                <a:off x="11173074" y="6517105"/>
                <a:ext cx="107493" cy="119116"/>
              </a:xfrm>
              <a:custGeom>
                <a:avLst/>
                <a:gdLst/>
                <a:ahLst/>
                <a:cxnLst/>
                <a:rect l="l" t="t" r="r" b="b"/>
                <a:pathLst>
                  <a:path w="107493" h="119116" extrusionOk="0">
                    <a:moveTo>
                      <a:pt x="107480" y="41877"/>
                    </a:moveTo>
                    <a:cubicBezTo>
                      <a:pt x="107480" y="19252"/>
                      <a:pt x="88792" y="277"/>
                      <a:pt x="65237" y="3"/>
                    </a:cubicBezTo>
                    <a:cubicBezTo>
                      <a:pt x="49912" y="-175"/>
                      <a:pt x="39563" y="7331"/>
                      <a:pt x="32947" y="17474"/>
                    </a:cubicBezTo>
                    <a:lnTo>
                      <a:pt x="32947" y="5581"/>
                    </a:lnTo>
                    <a:cubicBezTo>
                      <a:pt x="32947" y="3872"/>
                      <a:pt x="31552" y="2478"/>
                      <a:pt x="29843" y="2478"/>
                    </a:cubicBezTo>
                    <a:lnTo>
                      <a:pt x="3103" y="2478"/>
                    </a:lnTo>
                    <a:cubicBezTo>
                      <a:pt x="1394" y="2478"/>
                      <a:pt x="0" y="3872"/>
                      <a:pt x="0" y="5581"/>
                    </a:cubicBezTo>
                    <a:lnTo>
                      <a:pt x="0" y="116000"/>
                    </a:lnTo>
                    <a:cubicBezTo>
                      <a:pt x="0" y="117709"/>
                      <a:pt x="1394" y="119103"/>
                      <a:pt x="3103" y="119103"/>
                    </a:cubicBezTo>
                    <a:lnTo>
                      <a:pt x="29843" y="119103"/>
                    </a:lnTo>
                    <a:cubicBezTo>
                      <a:pt x="31552" y="119103"/>
                      <a:pt x="32947" y="117709"/>
                      <a:pt x="32947" y="116000"/>
                    </a:cubicBezTo>
                    <a:lnTo>
                      <a:pt x="32947" y="51788"/>
                    </a:lnTo>
                    <a:cubicBezTo>
                      <a:pt x="33685" y="39430"/>
                      <a:pt x="41518" y="31747"/>
                      <a:pt x="53740" y="31747"/>
                    </a:cubicBezTo>
                    <a:cubicBezTo>
                      <a:pt x="65961" y="31747"/>
                      <a:pt x="74547" y="40373"/>
                      <a:pt x="74547" y="53210"/>
                    </a:cubicBezTo>
                    <a:lnTo>
                      <a:pt x="74547" y="116014"/>
                    </a:lnTo>
                    <a:cubicBezTo>
                      <a:pt x="74547" y="117722"/>
                      <a:pt x="75941" y="119117"/>
                      <a:pt x="77650" y="119117"/>
                    </a:cubicBezTo>
                    <a:lnTo>
                      <a:pt x="104390" y="119117"/>
                    </a:lnTo>
                    <a:cubicBezTo>
                      <a:pt x="106099" y="119117"/>
                      <a:pt x="107493" y="117722"/>
                      <a:pt x="107493" y="116014"/>
                    </a:cubicBezTo>
                    <a:lnTo>
                      <a:pt x="107493" y="4189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</p:grpSp>
      </p:grpSp>
      <p:pic>
        <p:nvPicPr>
          <p:cNvPr id="3" name="Picture 2" descr="A grey square with a black background&#10;&#10;Description automatically generated">
            <a:extLst>
              <a:ext uri="{FF2B5EF4-FFF2-40B4-BE49-F238E27FC236}">
                <a16:creationId xmlns:a16="http://schemas.microsoft.com/office/drawing/2014/main" id="{41F82240-BB74-94C8-CF56-5AE2069471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11000"/>
          </a:blip>
          <a:stretch>
            <a:fillRect/>
          </a:stretch>
        </p:blipFill>
        <p:spPr>
          <a:xfrm>
            <a:off x="-1222743" y="-1063780"/>
            <a:ext cx="3988332" cy="3910407"/>
          </a:xfrm>
          <a:prstGeom prst="rect">
            <a:avLst/>
          </a:prstGeom>
        </p:spPr>
      </p:pic>
      <p:pic>
        <p:nvPicPr>
          <p:cNvPr id="16" name="Picture 15" descr="A bridge with a red bridge in the background&#10;&#10;AI-generated content may be incorrect.">
            <a:extLst>
              <a:ext uri="{FF2B5EF4-FFF2-40B4-BE49-F238E27FC236}">
                <a16:creationId xmlns:a16="http://schemas.microsoft.com/office/drawing/2014/main" id="{7CE3E73E-8913-8C8D-8664-DBB5B8455E8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777" y="622591"/>
            <a:ext cx="5612818" cy="5612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8397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stimonial - Krosch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F85331F-A355-2F5D-67A9-B948AC7423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" y="0"/>
            <a:ext cx="12191991" cy="6857996"/>
          </a:xfrm>
          <a:prstGeom prst="rect">
            <a:avLst/>
          </a:prstGeom>
        </p:spPr>
      </p:pic>
      <p:grpSp>
        <p:nvGrpSpPr>
          <p:cNvPr id="4" name="Google Shape;987;g22cb0be31a4_6_52">
            <a:extLst>
              <a:ext uri="{FF2B5EF4-FFF2-40B4-BE49-F238E27FC236}">
                <a16:creationId xmlns:a16="http://schemas.microsoft.com/office/drawing/2014/main" id="{4DE2FA32-4BDF-907B-19AD-7217FA4CE420}"/>
              </a:ext>
            </a:extLst>
          </p:cNvPr>
          <p:cNvGrpSpPr/>
          <p:nvPr userDrawn="1"/>
        </p:nvGrpSpPr>
        <p:grpSpPr>
          <a:xfrm>
            <a:off x="11122821" y="6466206"/>
            <a:ext cx="799629" cy="172367"/>
            <a:chOff x="11122821" y="6466206"/>
            <a:chExt cx="799629" cy="172367"/>
          </a:xfrm>
        </p:grpSpPr>
        <p:sp>
          <p:nvSpPr>
            <p:cNvPr id="5" name="Google Shape;988;g22cb0be31a4_6_52">
              <a:extLst>
                <a:ext uri="{FF2B5EF4-FFF2-40B4-BE49-F238E27FC236}">
                  <a16:creationId xmlns:a16="http://schemas.microsoft.com/office/drawing/2014/main" id="{B2CA3A27-3EF5-9B90-B4F4-41C44D6569FF}"/>
                </a:ext>
              </a:extLst>
            </p:cNvPr>
            <p:cNvSpPr/>
            <p:nvPr/>
          </p:nvSpPr>
          <p:spPr>
            <a:xfrm rot="-2700000">
              <a:off x="11134957" y="6473485"/>
              <a:ext cx="35147" cy="35147"/>
            </a:xfrm>
            <a:custGeom>
              <a:avLst/>
              <a:gdLst/>
              <a:ahLst/>
              <a:cxnLst/>
              <a:rect l="l" t="t" r="r" b="b"/>
              <a:pathLst>
                <a:path w="35147" h="35147" extrusionOk="0">
                  <a:moveTo>
                    <a:pt x="32044" y="0"/>
                  </a:moveTo>
                  <a:cubicBezTo>
                    <a:pt x="33758" y="0"/>
                    <a:pt x="35148" y="1389"/>
                    <a:pt x="35148" y="3103"/>
                  </a:cubicBezTo>
                  <a:lnTo>
                    <a:pt x="35148" y="32044"/>
                  </a:lnTo>
                  <a:cubicBezTo>
                    <a:pt x="35148" y="33758"/>
                    <a:pt x="33758" y="35148"/>
                    <a:pt x="32044" y="35148"/>
                  </a:cubicBezTo>
                  <a:lnTo>
                    <a:pt x="3103" y="35148"/>
                  </a:lnTo>
                  <a:cubicBezTo>
                    <a:pt x="1389" y="35148"/>
                    <a:pt x="0" y="33758"/>
                    <a:pt x="0" y="32044"/>
                  </a:cubicBezTo>
                  <a:lnTo>
                    <a:pt x="0" y="3103"/>
                  </a:lnTo>
                  <a:cubicBezTo>
                    <a:pt x="0" y="1389"/>
                    <a:pt x="1389" y="0"/>
                    <a:pt x="3103" y="0"/>
                  </a:cubicBezTo>
                  <a:close/>
                </a:path>
              </a:pathLst>
            </a:custGeom>
            <a:solidFill>
              <a:srgbClr val="00B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Lato Light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Calibri"/>
              </a:endParaRPr>
            </a:p>
          </p:txBody>
        </p:sp>
        <p:grpSp>
          <p:nvGrpSpPr>
            <p:cNvPr id="6" name="Google Shape;989;g22cb0be31a4_6_52">
              <a:extLst>
                <a:ext uri="{FF2B5EF4-FFF2-40B4-BE49-F238E27FC236}">
                  <a16:creationId xmlns:a16="http://schemas.microsoft.com/office/drawing/2014/main" id="{8DAC5303-7ED7-33A6-0CD6-254E7A6A7961}"/>
                </a:ext>
              </a:extLst>
            </p:cNvPr>
            <p:cNvGrpSpPr/>
            <p:nvPr/>
          </p:nvGrpSpPr>
          <p:grpSpPr>
            <a:xfrm>
              <a:off x="11122821" y="6472473"/>
              <a:ext cx="799629" cy="166100"/>
              <a:chOff x="11122821" y="6472473"/>
              <a:chExt cx="799629" cy="166100"/>
            </a:xfrm>
          </p:grpSpPr>
          <p:sp>
            <p:nvSpPr>
              <p:cNvPr id="7" name="Google Shape;990;g22cb0be31a4_6_52">
                <a:extLst>
                  <a:ext uri="{FF2B5EF4-FFF2-40B4-BE49-F238E27FC236}">
                    <a16:creationId xmlns:a16="http://schemas.microsoft.com/office/drawing/2014/main" id="{16B50947-AA17-A454-AF26-87CBF998C35A}"/>
                  </a:ext>
                </a:extLst>
              </p:cNvPr>
              <p:cNvSpPr/>
              <p:nvPr/>
            </p:nvSpPr>
            <p:spPr>
              <a:xfrm>
                <a:off x="11774281" y="6519597"/>
                <a:ext cx="119385" cy="116611"/>
              </a:xfrm>
              <a:custGeom>
                <a:avLst/>
                <a:gdLst/>
                <a:ahLst/>
                <a:cxnLst/>
                <a:rect l="l" t="t" r="r" b="b"/>
                <a:pathLst>
                  <a:path w="119385" h="116611" extrusionOk="0">
                    <a:moveTo>
                      <a:pt x="82523" y="58306"/>
                    </a:moveTo>
                    <a:lnTo>
                      <a:pt x="118887" y="112265"/>
                    </a:lnTo>
                    <a:cubicBezTo>
                      <a:pt x="120199" y="114124"/>
                      <a:pt x="118764" y="116612"/>
                      <a:pt x="116385" y="116612"/>
                    </a:cubicBezTo>
                    <a:lnTo>
                      <a:pt x="85831" y="116612"/>
                    </a:lnTo>
                    <a:cubicBezTo>
                      <a:pt x="83794" y="116612"/>
                      <a:pt x="81880" y="115600"/>
                      <a:pt x="80718" y="113919"/>
                    </a:cubicBezTo>
                    <a:lnTo>
                      <a:pt x="59693" y="81751"/>
                    </a:lnTo>
                    <a:lnTo>
                      <a:pt x="38667" y="113919"/>
                    </a:lnTo>
                    <a:cubicBezTo>
                      <a:pt x="37505" y="115600"/>
                      <a:pt x="35605" y="116612"/>
                      <a:pt x="33554" y="116612"/>
                    </a:cubicBezTo>
                    <a:lnTo>
                      <a:pt x="3000" y="116612"/>
                    </a:lnTo>
                    <a:cubicBezTo>
                      <a:pt x="621" y="116612"/>
                      <a:pt x="-814" y="114138"/>
                      <a:pt x="498" y="112265"/>
                    </a:cubicBezTo>
                    <a:lnTo>
                      <a:pt x="36753" y="58306"/>
                    </a:lnTo>
                    <a:lnTo>
                      <a:pt x="498" y="4347"/>
                    </a:lnTo>
                    <a:cubicBezTo>
                      <a:pt x="-814" y="2488"/>
                      <a:pt x="621" y="0"/>
                      <a:pt x="3000" y="0"/>
                    </a:cubicBezTo>
                    <a:lnTo>
                      <a:pt x="34853" y="0"/>
                    </a:lnTo>
                    <a:cubicBezTo>
                      <a:pt x="36042" y="0"/>
                      <a:pt x="37149" y="547"/>
                      <a:pt x="37778" y="1449"/>
                    </a:cubicBezTo>
                    <a:lnTo>
                      <a:pt x="59679" y="34806"/>
                    </a:lnTo>
                    <a:lnTo>
                      <a:pt x="80240" y="1463"/>
                    </a:lnTo>
                    <a:cubicBezTo>
                      <a:pt x="80855" y="561"/>
                      <a:pt x="81976" y="0"/>
                      <a:pt x="83165" y="0"/>
                    </a:cubicBezTo>
                    <a:lnTo>
                      <a:pt x="115333" y="0"/>
                    </a:lnTo>
                    <a:cubicBezTo>
                      <a:pt x="117711" y="0"/>
                      <a:pt x="119133" y="2474"/>
                      <a:pt x="117834" y="4334"/>
                    </a:cubicBezTo>
                    <a:lnTo>
                      <a:pt x="82495" y="5830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8" name="Google Shape;991;g22cb0be31a4_6_52">
                <a:extLst>
                  <a:ext uri="{FF2B5EF4-FFF2-40B4-BE49-F238E27FC236}">
                    <a16:creationId xmlns:a16="http://schemas.microsoft.com/office/drawing/2014/main" id="{C16BBA94-DC9E-7F21-1A44-2C9FB85B8EA7}"/>
                  </a:ext>
                </a:extLst>
              </p:cNvPr>
              <p:cNvSpPr/>
              <p:nvPr/>
            </p:nvSpPr>
            <p:spPr>
              <a:xfrm>
                <a:off x="11284928" y="6472473"/>
                <a:ext cx="78825" cy="163762"/>
              </a:xfrm>
              <a:custGeom>
                <a:avLst/>
                <a:gdLst/>
                <a:ahLst/>
                <a:cxnLst/>
                <a:rect l="l" t="t" r="r" b="b"/>
                <a:pathLst>
                  <a:path w="78825" h="163762" extrusionOk="0">
                    <a:moveTo>
                      <a:pt x="75722" y="14"/>
                    </a:moveTo>
                    <a:lnTo>
                      <a:pt x="50377" y="14"/>
                    </a:lnTo>
                    <a:cubicBezTo>
                      <a:pt x="47916" y="14"/>
                      <a:pt x="45551" y="998"/>
                      <a:pt x="43801" y="2734"/>
                    </a:cubicBezTo>
                    <a:lnTo>
                      <a:pt x="19987" y="26549"/>
                    </a:lnTo>
                    <a:cubicBezTo>
                      <a:pt x="18237" y="28299"/>
                      <a:pt x="17266" y="30664"/>
                      <a:pt x="17266" y="33124"/>
                    </a:cubicBezTo>
                    <a:lnTo>
                      <a:pt x="17266" y="51867"/>
                    </a:lnTo>
                    <a:lnTo>
                      <a:pt x="3049" y="51867"/>
                    </a:lnTo>
                    <a:cubicBezTo>
                      <a:pt x="1367" y="51867"/>
                      <a:pt x="0" y="53234"/>
                      <a:pt x="0" y="54916"/>
                    </a:cubicBezTo>
                    <a:lnTo>
                      <a:pt x="0" y="75955"/>
                    </a:lnTo>
                    <a:cubicBezTo>
                      <a:pt x="0" y="77636"/>
                      <a:pt x="1367" y="79004"/>
                      <a:pt x="3049" y="79004"/>
                    </a:cubicBezTo>
                    <a:lnTo>
                      <a:pt x="17266" y="79004"/>
                    </a:lnTo>
                    <a:lnTo>
                      <a:pt x="17266" y="160659"/>
                    </a:lnTo>
                    <a:cubicBezTo>
                      <a:pt x="17266" y="162368"/>
                      <a:pt x="18661" y="163763"/>
                      <a:pt x="20369" y="163763"/>
                    </a:cubicBezTo>
                    <a:lnTo>
                      <a:pt x="47109" y="163763"/>
                    </a:lnTo>
                    <a:cubicBezTo>
                      <a:pt x="48818" y="163763"/>
                      <a:pt x="50213" y="162368"/>
                      <a:pt x="50213" y="160659"/>
                    </a:cubicBezTo>
                    <a:lnTo>
                      <a:pt x="50213" y="78990"/>
                    </a:lnTo>
                    <a:lnTo>
                      <a:pt x="71443" y="78990"/>
                    </a:lnTo>
                    <a:cubicBezTo>
                      <a:pt x="73125" y="78990"/>
                      <a:pt x="74492" y="77623"/>
                      <a:pt x="74492" y="75941"/>
                    </a:cubicBezTo>
                    <a:lnTo>
                      <a:pt x="74492" y="54902"/>
                    </a:lnTo>
                    <a:cubicBezTo>
                      <a:pt x="74492" y="53220"/>
                      <a:pt x="73125" y="51853"/>
                      <a:pt x="71443" y="51853"/>
                    </a:cubicBezTo>
                    <a:lnTo>
                      <a:pt x="50213" y="51853"/>
                    </a:lnTo>
                    <a:lnTo>
                      <a:pt x="50213" y="38565"/>
                    </a:lnTo>
                    <a:cubicBezTo>
                      <a:pt x="50213" y="33425"/>
                      <a:pt x="54382" y="29269"/>
                      <a:pt x="59509" y="29269"/>
                    </a:cubicBezTo>
                    <a:lnTo>
                      <a:pt x="75722" y="29269"/>
                    </a:lnTo>
                    <a:cubicBezTo>
                      <a:pt x="77431" y="29269"/>
                      <a:pt x="78826" y="27875"/>
                      <a:pt x="78826" y="26166"/>
                    </a:cubicBezTo>
                    <a:lnTo>
                      <a:pt x="78826" y="3103"/>
                    </a:lnTo>
                    <a:cubicBezTo>
                      <a:pt x="78826" y="1394"/>
                      <a:pt x="77431" y="0"/>
                      <a:pt x="75722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9" name="Google Shape;992;g22cb0be31a4_6_52">
                <a:extLst>
                  <a:ext uri="{FF2B5EF4-FFF2-40B4-BE49-F238E27FC236}">
                    <a16:creationId xmlns:a16="http://schemas.microsoft.com/office/drawing/2014/main" id="{8941B8E6-F38C-9DC2-10D2-C236132A20A3}"/>
                  </a:ext>
                </a:extLst>
              </p:cNvPr>
              <p:cNvSpPr/>
              <p:nvPr/>
            </p:nvSpPr>
            <p:spPr>
              <a:xfrm>
                <a:off x="11896791" y="6612367"/>
                <a:ext cx="25659" cy="25660"/>
              </a:xfrm>
              <a:custGeom>
                <a:avLst/>
                <a:gdLst/>
                <a:ahLst/>
                <a:cxnLst/>
                <a:rect l="l" t="t" r="r" b="b"/>
                <a:pathLst>
                  <a:path w="25659" h="25660" extrusionOk="0">
                    <a:moveTo>
                      <a:pt x="25660" y="12810"/>
                    </a:moveTo>
                    <a:cubicBezTo>
                      <a:pt x="25660" y="19946"/>
                      <a:pt x="19946" y="25660"/>
                      <a:pt x="12782" y="25660"/>
                    </a:cubicBezTo>
                    <a:cubicBezTo>
                      <a:pt x="5619" y="25660"/>
                      <a:pt x="0" y="19891"/>
                      <a:pt x="0" y="12810"/>
                    </a:cubicBezTo>
                    <a:cubicBezTo>
                      <a:pt x="0" y="5728"/>
                      <a:pt x="5714" y="0"/>
                      <a:pt x="12823" y="0"/>
                    </a:cubicBezTo>
                    <a:cubicBezTo>
                      <a:pt x="19932" y="0"/>
                      <a:pt x="25646" y="5687"/>
                      <a:pt x="25646" y="12810"/>
                    </a:cubicBezTo>
                    <a:close/>
                    <a:moveTo>
                      <a:pt x="23691" y="12864"/>
                    </a:moveTo>
                    <a:cubicBezTo>
                      <a:pt x="23691" y="6712"/>
                      <a:pt x="18838" y="1832"/>
                      <a:pt x="12837" y="1832"/>
                    </a:cubicBezTo>
                    <a:cubicBezTo>
                      <a:pt x="6835" y="1832"/>
                      <a:pt x="1982" y="6658"/>
                      <a:pt x="1982" y="12851"/>
                    </a:cubicBezTo>
                    <a:cubicBezTo>
                      <a:pt x="1982" y="19043"/>
                      <a:pt x="6890" y="23856"/>
                      <a:pt x="12782" y="23856"/>
                    </a:cubicBezTo>
                    <a:cubicBezTo>
                      <a:pt x="18674" y="23856"/>
                      <a:pt x="23691" y="19002"/>
                      <a:pt x="23691" y="12864"/>
                    </a:cubicBezTo>
                    <a:close/>
                    <a:moveTo>
                      <a:pt x="15585" y="14888"/>
                    </a:moveTo>
                    <a:lnTo>
                      <a:pt x="18811" y="19905"/>
                    </a:lnTo>
                    <a:lnTo>
                      <a:pt x="16678" y="19905"/>
                    </a:lnTo>
                    <a:lnTo>
                      <a:pt x="13097" y="14218"/>
                    </a:lnTo>
                    <a:lnTo>
                      <a:pt x="9829" y="14218"/>
                    </a:lnTo>
                    <a:lnTo>
                      <a:pt x="9829" y="19905"/>
                    </a:lnTo>
                    <a:lnTo>
                      <a:pt x="8038" y="19905"/>
                    </a:lnTo>
                    <a:lnTo>
                      <a:pt x="8038" y="5523"/>
                    </a:lnTo>
                    <a:lnTo>
                      <a:pt x="13616" y="5523"/>
                    </a:lnTo>
                    <a:cubicBezTo>
                      <a:pt x="16364" y="5523"/>
                      <a:pt x="18155" y="6999"/>
                      <a:pt x="18155" y="9761"/>
                    </a:cubicBezTo>
                    <a:cubicBezTo>
                      <a:pt x="18155" y="11989"/>
                      <a:pt x="16801" y="13370"/>
                      <a:pt x="14887" y="13917"/>
                    </a:cubicBezTo>
                    <a:cubicBezTo>
                      <a:pt x="15147" y="14204"/>
                      <a:pt x="15407" y="14559"/>
                      <a:pt x="15585" y="14901"/>
                    </a:cubicBezTo>
                    <a:close/>
                    <a:moveTo>
                      <a:pt x="13015" y="12522"/>
                    </a:moveTo>
                    <a:cubicBezTo>
                      <a:pt x="15038" y="12522"/>
                      <a:pt x="16282" y="11565"/>
                      <a:pt x="16282" y="9870"/>
                    </a:cubicBezTo>
                    <a:cubicBezTo>
                      <a:pt x="16282" y="8175"/>
                      <a:pt x="15421" y="7191"/>
                      <a:pt x="13657" y="7191"/>
                    </a:cubicBezTo>
                    <a:lnTo>
                      <a:pt x="9816" y="7191"/>
                    </a:lnTo>
                    <a:lnTo>
                      <a:pt x="9816" y="12509"/>
                    </a:lnTo>
                    <a:lnTo>
                      <a:pt x="13015" y="12509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0" name="Google Shape;993;g22cb0be31a4_6_52">
                <a:extLst>
                  <a:ext uri="{FF2B5EF4-FFF2-40B4-BE49-F238E27FC236}">
                    <a16:creationId xmlns:a16="http://schemas.microsoft.com/office/drawing/2014/main" id="{83307B8F-5A19-3191-B974-315600FC968D}"/>
                  </a:ext>
                </a:extLst>
              </p:cNvPr>
              <p:cNvSpPr/>
              <p:nvPr/>
            </p:nvSpPr>
            <p:spPr>
              <a:xfrm>
                <a:off x="11620956" y="6472487"/>
                <a:ext cx="32932" cy="163721"/>
              </a:xfrm>
              <a:custGeom>
                <a:avLst/>
                <a:gdLst/>
                <a:ahLst/>
                <a:cxnLst/>
                <a:rect l="l" t="t" r="r" b="b"/>
                <a:pathLst>
                  <a:path w="32932" h="163721" extrusionOk="0">
                    <a:moveTo>
                      <a:pt x="29830" y="0"/>
                    </a:moveTo>
                    <a:cubicBezTo>
                      <a:pt x="31544" y="0"/>
                      <a:pt x="32933" y="1389"/>
                      <a:pt x="32933" y="3103"/>
                    </a:cubicBezTo>
                    <a:lnTo>
                      <a:pt x="32933" y="160618"/>
                    </a:lnTo>
                    <a:cubicBezTo>
                      <a:pt x="32933" y="162332"/>
                      <a:pt x="31543" y="163722"/>
                      <a:pt x="29830" y="163722"/>
                    </a:cubicBezTo>
                    <a:lnTo>
                      <a:pt x="3103" y="163722"/>
                    </a:lnTo>
                    <a:cubicBezTo>
                      <a:pt x="1389" y="163722"/>
                      <a:pt x="0" y="162332"/>
                      <a:pt x="0" y="160618"/>
                    </a:cubicBezTo>
                    <a:lnTo>
                      <a:pt x="0" y="3103"/>
                    </a:lnTo>
                    <a:cubicBezTo>
                      <a:pt x="0" y="1389"/>
                      <a:pt x="1389" y="0"/>
                      <a:pt x="3103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1" name="Google Shape;994;g22cb0be31a4_6_52">
                <a:extLst>
                  <a:ext uri="{FF2B5EF4-FFF2-40B4-BE49-F238E27FC236}">
                    <a16:creationId xmlns:a16="http://schemas.microsoft.com/office/drawing/2014/main" id="{130569FA-5D7A-F95B-F65D-704E55D748A0}"/>
                  </a:ext>
                </a:extLst>
              </p:cNvPr>
              <p:cNvSpPr/>
              <p:nvPr/>
            </p:nvSpPr>
            <p:spPr>
              <a:xfrm>
                <a:off x="11488486" y="6472473"/>
                <a:ext cx="123638" cy="166086"/>
              </a:xfrm>
              <a:custGeom>
                <a:avLst/>
                <a:gdLst/>
                <a:ahLst/>
                <a:cxnLst/>
                <a:rect l="l" t="t" r="r" b="b"/>
                <a:pathLst>
                  <a:path w="123638" h="166086" extrusionOk="0">
                    <a:moveTo>
                      <a:pt x="68737" y="44663"/>
                    </a:moveTo>
                    <a:cubicBezTo>
                      <a:pt x="53535" y="44663"/>
                      <a:pt x="40889" y="51252"/>
                      <a:pt x="32947" y="62052"/>
                    </a:cubicBezTo>
                    <a:lnTo>
                      <a:pt x="32947" y="3103"/>
                    </a:lnTo>
                    <a:cubicBezTo>
                      <a:pt x="32947" y="1394"/>
                      <a:pt x="31552" y="0"/>
                      <a:pt x="29843" y="0"/>
                    </a:cubicBezTo>
                    <a:lnTo>
                      <a:pt x="3103" y="0"/>
                    </a:lnTo>
                    <a:cubicBezTo>
                      <a:pt x="1394" y="0"/>
                      <a:pt x="0" y="1394"/>
                      <a:pt x="0" y="3103"/>
                    </a:cubicBezTo>
                    <a:lnTo>
                      <a:pt x="0" y="160632"/>
                    </a:lnTo>
                    <a:cubicBezTo>
                      <a:pt x="0" y="162341"/>
                      <a:pt x="1394" y="163735"/>
                      <a:pt x="3103" y="163735"/>
                    </a:cubicBezTo>
                    <a:lnTo>
                      <a:pt x="29843" y="163735"/>
                    </a:lnTo>
                    <a:cubicBezTo>
                      <a:pt x="31552" y="163735"/>
                      <a:pt x="32947" y="162341"/>
                      <a:pt x="32947" y="160632"/>
                    </a:cubicBezTo>
                    <a:lnTo>
                      <a:pt x="32947" y="149025"/>
                    </a:lnTo>
                    <a:cubicBezTo>
                      <a:pt x="40903" y="159839"/>
                      <a:pt x="53535" y="166087"/>
                      <a:pt x="68983" y="166087"/>
                    </a:cubicBezTo>
                    <a:cubicBezTo>
                      <a:pt x="101505" y="166087"/>
                      <a:pt x="123638" y="139852"/>
                      <a:pt x="123638" y="105539"/>
                    </a:cubicBezTo>
                    <a:cubicBezTo>
                      <a:pt x="123638" y="71225"/>
                      <a:pt x="101505" y="44663"/>
                      <a:pt x="68750" y="44663"/>
                    </a:cubicBezTo>
                    <a:close/>
                    <a:moveTo>
                      <a:pt x="62188" y="135163"/>
                    </a:moveTo>
                    <a:cubicBezTo>
                      <a:pt x="45346" y="135163"/>
                      <a:pt x="32947" y="121533"/>
                      <a:pt x="32947" y="105552"/>
                    </a:cubicBezTo>
                    <a:cubicBezTo>
                      <a:pt x="32947" y="89571"/>
                      <a:pt x="45346" y="76174"/>
                      <a:pt x="62188" y="76174"/>
                    </a:cubicBezTo>
                    <a:cubicBezTo>
                      <a:pt x="79031" y="76174"/>
                      <a:pt x="90965" y="89571"/>
                      <a:pt x="90965" y="105552"/>
                    </a:cubicBezTo>
                    <a:cubicBezTo>
                      <a:pt x="90965" y="121533"/>
                      <a:pt x="78798" y="135163"/>
                      <a:pt x="62188" y="13516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2" name="Google Shape;995;g22cb0be31a4_6_52">
                <a:extLst>
                  <a:ext uri="{FF2B5EF4-FFF2-40B4-BE49-F238E27FC236}">
                    <a16:creationId xmlns:a16="http://schemas.microsoft.com/office/drawing/2014/main" id="{6D393623-2CB7-C55C-8D1B-FC6314835DAC}"/>
                  </a:ext>
                </a:extLst>
              </p:cNvPr>
              <p:cNvSpPr/>
              <p:nvPr/>
            </p:nvSpPr>
            <p:spPr>
              <a:xfrm>
                <a:off x="11359421" y="6517136"/>
                <a:ext cx="120412" cy="121437"/>
              </a:xfrm>
              <a:custGeom>
                <a:avLst/>
                <a:gdLst/>
                <a:ahLst/>
                <a:cxnLst/>
                <a:rect l="l" t="t" r="r" b="b"/>
                <a:pathLst>
                  <a:path w="120412" h="121437" extrusionOk="0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3" name="Google Shape;996;g22cb0be31a4_6_52">
                <a:extLst>
                  <a:ext uri="{FF2B5EF4-FFF2-40B4-BE49-F238E27FC236}">
                    <a16:creationId xmlns:a16="http://schemas.microsoft.com/office/drawing/2014/main" id="{094FDF1B-5EB4-048A-72BC-5AD461F6007A}"/>
                  </a:ext>
                </a:extLst>
              </p:cNvPr>
              <p:cNvSpPr/>
              <p:nvPr/>
            </p:nvSpPr>
            <p:spPr>
              <a:xfrm>
                <a:off x="11662542" y="6517136"/>
                <a:ext cx="120412" cy="121437"/>
              </a:xfrm>
              <a:custGeom>
                <a:avLst/>
                <a:gdLst/>
                <a:ahLst/>
                <a:cxnLst/>
                <a:rect l="l" t="t" r="r" b="b"/>
                <a:pathLst>
                  <a:path w="120412" h="121437" extrusionOk="0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4" name="Google Shape;997;g22cb0be31a4_6_52">
                <a:extLst>
                  <a:ext uri="{FF2B5EF4-FFF2-40B4-BE49-F238E27FC236}">
                    <a16:creationId xmlns:a16="http://schemas.microsoft.com/office/drawing/2014/main" id="{C63C090B-3E6D-854E-8428-1FF6A03DBA1B}"/>
                  </a:ext>
                </a:extLst>
              </p:cNvPr>
              <p:cNvSpPr/>
              <p:nvPr/>
            </p:nvSpPr>
            <p:spPr>
              <a:xfrm>
                <a:off x="11122821" y="6519528"/>
                <a:ext cx="32932" cy="116680"/>
              </a:xfrm>
              <a:custGeom>
                <a:avLst/>
                <a:gdLst/>
                <a:ahLst/>
                <a:cxnLst/>
                <a:rect l="l" t="t" r="r" b="b"/>
                <a:pathLst>
                  <a:path w="32932" h="116680" extrusionOk="0">
                    <a:moveTo>
                      <a:pt x="29843" y="116680"/>
                    </a:moveTo>
                    <a:lnTo>
                      <a:pt x="3103" y="116680"/>
                    </a:lnTo>
                    <a:cubicBezTo>
                      <a:pt x="1394" y="116680"/>
                      <a:pt x="0" y="115286"/>
                      <a:pt x="0" y="113577"/>
                    </a:cubicBezTo>
                    <a:lnTo>
                      <a:pt x="0" y="30554"/>
                    </a:lnTo>
                    <a:cubicBezTo>
                      <a:pt x="0" y="28886"/>
                      <a:pt x="670" y="27287"/>
                      <a:pt x="1859" y="26125"/>
                    </a:cubicBezTo>
                    <a:lnTo>
                      <a:pt x="27670" y="888"/>
                    </a:lnTo>
                    <a:cubicBezTo>
                      <a:pt x="29638" y="-1026"/>
                      <a:pt x="32933" y="355"/>
                      <a:pt x="32933" y="3103"/>
                    </a:cubicBezTo>
                    <a:lnTo>
                      <a:pt x="32933" y="113577"/>
                    </a:lnTo>
                    <a:cubicBezTo>
                      <a:pt x="32933" y="115286"/>
                      <a:pt x="31538" y="116680"/>
                      <a:pt x="29830" y="11668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  <p:sp>
            <p:nvSpPr>
              <p:cNvPr id="15" name="Google Shape;998;g22cb0be31a4_6_52">
                <a:extLst>
                  <a:ext uri="{FF2B5EF4-FFF2-40B4-BE49-F238E27FC236}">
                    <a16:creationId xmlns:a16="http://schemas.microsoft.com/office/drawing/2014/main" id="{FE6CF04B-B9BD-557A-4F3B-96E527E19D9A}"/>
                  </a:ext>
                </a:extLst>
              </p:cNvPr>
              <p:cNvSpPr/>
              <p:nvPr/>
            </p:nvSpPr>
            <p:spPr>
              <a:xfrm>
                <a:off x="11173074" y="6517105"/>
                <a:ext cx="107493" cy="119116"/>
              </a:xfrm>
              <a:custGeom>
                <a:avLst/>
                <a:gdLst/>
                <a:ahLst/>
                <a:cxnLst/>
                <a:rect l="l" t="t" r="r" b="b"/>
                <a:pathLst>
                  <a:path w="107493" h="119116" extrusionOk="0">
                    <a:moveTo>
                      <a:pt x="107480" y="41877"/>
                    </a:moveTo>
                    <a:cubicBezTo>
                      <a:pt x="107480" y="19252"/>
                      <a:pt x="88792" y="277"/>
                      <a:pt x="65237" y="3"/>
                    </a:cubicBezTo>
                    <a:cubicBezTo>
                      <a:pt x="49912" y="-175"/>
                      <a:pt x="39563" y="7331"/>
                      <a:pt x="32947" y="17474"/>
                    </a:cubicBezTo>
                    <a:lnTo>
                      <a:pt x="32947" y="5581"/>
                    </a:lnTo>
                    <a:cubicBezTo>
                      <a:pt x="32947" y="3872"/>
                      <a:pt x="31552" y="2478"/>
                      <a:pt x="29843" y="2478"/>
                    </a:cubicBezTo>
                    <a:lnTo>
                      <a:pt x="3103" y="2478"/>
                    </a:lnTo>
                    <a:cubicBezTo>
                      <a:pt x="1394" y="2478"/>
                      <a:pt x="0" y="3872"/>
                      <a:pt x="0" y="5581"/>
                    </a:cubicBezTo>
                    <a:lnTo>
                      <a:pt x="0" y="116000"/>
                    </a:lnTo>
                    <a:cubicBezTo>
                      <a:pt x="0" y="117709"/>
                      <a:pt x="1394" y="119103"/>
                      <a:pt x="3103" y="119103"/>
                    </a:cubicBezTo>
                    <a:lnTo>
                      <a:pt x="29843" y="119103"/>
                    </a:lnTo>
                    <a:cubicBezTo>
                      <a:pt x="31552" y="119103"/>
                      <a:pt x="32947" y="117709"/>
                      <a:pt x="32947" y="116000"/>
                    </a:cubicBezTo>
                    <a:lnTo>
                      <a:pt x="32947" y="51788"/>
                    </a:lnTo>
                    <a:cubicBezTo>
                      <a:pt x="33685" y="39430"/>
                      <a:pt x="41518" y="31747"/>
                      <a:pt x="53740" y="31747"/>
                    </a:cubicBezTo>
                    <a:cubicBezTo>
                      <a:pt x="65961" y="31747"/>
                      <a:pt x="74547" y="40373"/>
                      <a:pt x="74547" y="53210"/>
                    </a:cubicBezTo>
                    <a:lnTo>
                      <a:pt x="74547" y="116014"/>
                    </a:lnTo>
                    <a:cubicBezTo>
                      <a:pt x="74547" y="117722"/>
                      <a:pt x="75941" y="119117"/>
                      <a:pt x="77650" y="119117"/>
                    </a:cubicBezTo>
                    <a:lnTo>
                      <a:pt x="104390" y="119117"/>
                    </a:lnTo>
                    <a:cubicBezTo>
                      <a:pt x="106099" y="119117"/>
                      <a:pt x="107493" y="117722"/>
                      <a:pt x="107493" y="116014"/>
                    </a:cubicBezTo>
                    <a:lnTo>
                      <a:pt x="107493" y="4189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Lato Light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02995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lank" preserve="1">
  <p:cSld name="1_Blank">
    <p:spTree>
      <p:nvGrpSpPr>
        <p:cNvPr id="1" name="Shape 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oogle Shape;7;p36"/>
          <p:cNvGrpSpPr/>
          <p:nvPr/>
        </p:nvGrpSpPr>
        <p:grpSpPr>
          <a:xfrm>
            <a:off x="11122822" y="6466192"/>
            <a:ext cx="799629" cy="172381"/>
            <a:chOff x="11122821" y="6466192"/>
            <a:chExt cx="799629" cy="172381"/>
          </a:xfrm>
        </p:grpSpPr>
        <p:sp>
          <p:nvSpPr>
            <p:cNvPr id="8" name="Google Shape;8;p36"/>
            <p:cNvSpPr/>
            <p:nvPr/>
          </p:nvSpPr>
          <p:spPr>
            <a:xfrm rot="-2700000">
              <a:off x="11134961" y="6473475"/>
              <a:ext cx="35167" cy="35167"/>
            </a:xfrm>
            <a:custGeom>
              <a:avLst/>
              <a:gdLst/>
              <a:ahLst/>
              <a:cxnLst/>
              <a:rect l="l" t="t" r="r" b="b"/>
              <a:pathLst>
                <a:path w="35147" h="35147" extrusionOk="0">
                  <a:moveTo>
                    <a:pt x="32044" y="0"/>
                  </a:moveTo>
                  <a:cubicBezTo>
                    <a:pt x="33758" y="0"/>
                    <a:pt x="35148" y="1389"/>
                    <a:pt x="35148" y="3103"/>
                  </a:cubicBezTo>
                  <a:lnTo>
                    <a:pt x="35148" y="32044"/>
                  </a:lnTo>
                  <a:cubicBezTo>
                    <a:pt x="35148" y="33758"/>
                    <a:pt x="33758" y="35148"/>
                    <a:pt x="32044" y="35148"/>
                  </a:cubicBezTo>
                  <a:lnTo>
                    <a:pt x="3103" y="35148"/>
                  </a:lnTo>
                  <a:cubicBezTo>
                    <a:pt x="1389" y="35148"/>
                    <a:pt x="0" y="33758"/>
                    <a:pt x="0" y="32044"/>
                  </a:cubicBezTo>
                  <a:lnTo>
                    <a:pt x="0" y="3103"/>
                  </a:lnTo>
                  <a:cubicBezTo>
                    <a:pt x="0" y="1389"/>
                    <a:pt x="1389" y="0"/>
                    <a:pt x="3103" y="0"/>
                  </a:cubicBezTo>
                  <a:close/>
                </a:path>
              </a:pathLst>
            </a:custGeom>
            <a:solidFill>
              <a:srgbClr val="00BD4D"/>
            </a:solidFill>
            <a:ln>
              <a:noFill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Lato Light"/>
                <a:buNone/>
              </a:pPr>
              <a:endParaRPr sz="1867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9" name="Google Shape;9;p36"/>
            <p:cNvGrpSpPr/>
            <p:nvPr/>
          </p:nvGrpSpPr>
          <p:grpSpPr>
            <a:xfrm>
              <a:off x="11122821" y="6472473"/>
              <a:ext cx="799629" cy="166100"/>
              <a:chOff x="11122821" y="6472473"/>
              <a:chExt cx="799629" cy="166100"/>
            </a:xfrm>
          </p:grpSpPr>
          <p:sp>
            <p:nvSpPr>
              <p:cNvPr id="10" name="Google Shape;10;p36"/>
              <p:cNvSpPr/>
              <p:nvPr/>
            </p:nvSpPr>
            <p:spPr>
              <a:xfrm>
                <a:off x="11774281" y="6519597"/>
                <a:ext cx="119385" cy="116611"/>
              </a:xfrm>
              <a:custGeom>
                <a:avLst/>
                <a:gdLst/>
                <a:ahLst/>
                <a:cxnLst/>
                <a:rect l="l" t="t" r="r" b="b"/>
                <a:pathLst>
                  <a:path w="119385" h="116611" extrusionOk="0">
                    <a:moveTo>
                      <a:pt x="82523" y="58306"/>
                    </a:moveTo>
                    <a:lnTo>
                      <a:pt x="118887" y="112265"/>
                    </a:lnTo>
                    <a:cubicBezTo>
                      <a:pt x="120199" y="114124"/>
                      <a:pt x="118764" y="116612"/>
                      <a:pt x="116385" y="116612"/>
                    </a:cubicBezTo>
                    <a:lnTo>
                      <a:pt x="85831" y="116612"/>
                    </a:lnTo>
                    <a:cubicBezTo>
                      <a:pt x="83794" y="116612"/>
                      <a:pt x="81880" y="115600"/>
                      <a:pt x="80718" y="113919"/>
                    </a:cubicBezTo>
                    <a:lnTo>
                      <a:pt x="59693" y="81751"/>
                    </a:lnTo>
                    <a:lnTo>
                      <a:pt x="38667" y="113919"/>
                    </a:lnTo>
                    <a:cubicBezTo>
                      <a:pt x="37505" y="115600"/>
                      <a:pt x="35605" y="116612"/>
                      <a:pt x="33554" y="116612"/>
                    </a:cubicBezTo>
                    <a:lnTo>
                      <a:pt x="3000" y="116612"/>
                    </a:lnTo>
                    <a:cubicBezTo>
                      <a:pt x="621" y="116612"/>
                      <a:pt x="-814" y="114138"/>
                      <a:pt x="498" y="112265"/>
                    </a:cubicBezTo>
                    <a:lnTo>
                      <a:pt x="36753" y="58306"/>
                    </a:lnTo>
                    <a:lnTo>
                      <a:pt x="498" y="4347"/>
                    </a:lnTo>
                    <a:cubicBezTo>
                      <a:pt x="-814" y="2488"/>
                      <a:pt x="621" y="0"/>
                      <a:pt x="3000" y="0"/>
                    </a:cubicBezTo>
                    <a:lnTo>
                      <a:pt x="34853" y="0"/>
                    </a:lnTo>
                    <a:cubicBezTo>
                      <a:pt x="36042" y="0"/>
                      <a:pt x="37149" y="547"/>
                      <a:pt x="37778" y="1449"/>
                    </a:cubicBezTo>
                    <a:lnTo>
                      <a:pt x="59679" y="34806"/>
                    </a:lnTo>
                    <a:lnTo>
                      <a:pt x="80240" y="1463"/>
                    </a:lnTo>
                    <a:cubicBezTo>
                      <a:pt x="80855" y="561"/>
                      <a:pt x="81976" y="0"/>
                      <a:pt x="83165" y="0"/>
                    </a:cubicBezTo>
                    <a:lnTo>
                      <a:pt x="115333" y="0"/>
                    </a:lnTo>
                    <a:cubicBezTo>
                      <a:pt x="117711" y="0"/>
                      <a:pt x="119133" y="2474"/>
                      <a:pt x="117834" y="4334"/>
                    </a:cubicBezTo>
                    <a:lnTo>
                      <a:pt x="82495" y="5830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" name="Google Shape;11;p36"/>
              <p:cNvSpPr/>
              <p:nvPr/>
            </p:nvSpPr>
            <p:spPr>
              <a:xfrm>
                <a:off x="11284928" y="6472473"/>
                <a:ext cx="78825" cy="163762"/>
              </a:xfrm>
              <a:custGeom>
                <a:avLst/>
                <a:gdLst/>
                <a:ahLst/>
                <a:cxnLst/>
                <a:rect l="l" t="t" r="r" b="b"/>
                <a:pathLst>
                  <a:path w="78825" h="163762" extrusionOk="0">
                    <a:moveTo>
                      <a:pt x="75722" y="14"/>
                    </a:moveTo>
                    <a:lnTo>
                      <a:pt x="50377" y="14"/>
                    </a:lnTo>
                    <a:cubicBezTo>
                      <a:pt x="47916" y="14"/>
                      <a:pt x="45551" y="998"/>
                      <a:pt x="43801" y="2734"/>
                    </a:cubicBezTo>
                    <a:lnTo>
                      <a:pt x="19987" y="26549"/>
                    </a:lnTo>
                    <a:cubicBezTo>
                      <a:pt x="18237" y="28299"/>
                      <a:pt x="17266" y="30664"/>
                      <a:pt x="17266" y="33124"/>
                    </a:cubicBezTo>
                    <a:lnTo>
                      <a:pt x="17266" y="51867"/>
                    </a:lnTo>
                    <a:lnTo>
                      <a:pt x="3049" y="51867"/>
                    </a:lnTo>
                    <a:cubicBezTo>
                      <a:pt x="1367" y="51867"/>
                      <a:pt x="0" y="53234"/>
                      <a:pt x="0" y="54916"/>
                    </a:cubicBezTo>
                    <a:lnTo>
                      <a:pt x="0" y="75955"/>
                    </a:lnTo>
                    <a:cubicBezTo>
                      <a:pt x="0" y="77636"/>
                      <a:pt x="1367" y="79004"/>
                      <a:pt x="3049" y="79004"/>
                    </a:cubicBezTo>
                    <a:lnTo>
                      <a:pt x="17266" y="79004"/>
                    </a:lnTo>
                    <a:lnTo>
                      <a:pt x="17266" y="160659"/>
                    </a:lnTo>
                    <a:cubicBezTo>
                      <a:pt x="17266" y="162368"/>
                      <a:pt x="18661" y="163763"/>
                      <a:pt x="20369" y="163763"/>
                    </a:cubicBezTo>
                    <a:lnTo>
                      <a:pt x="47109" y="163763"/>
                    </a:lnTo>
                    <a:cubicBezTo>
                      <a:pt x="48818" y="163763"/>
                      <a:pt x="50213" y="162368"/>
                      <a:pt x="50213" y="160659"/>
                    </a:cubicBezTo>
                    <a:lnTo>
                      <a:pt x="50213" y="78990"/>
                    </a:lnTo>
                    <a:lnTo>
                      <a:pt x="71443" y="78990"/>
                    </a:lnTo>
                    <a:cubicBezTo>
                      <a:pt x="73125" y="78990"/>
                      <a:pt x="74492" y="77623"/>
                      <a:pt x="74492" y="75941"/>
                    </a:cubicBezTo>
                    <a:lnTo>
                      <a:pt x="74492" y="54902"/>
                    </a:lnTo>
                    <a:cubicBezTo>
                      <a:pt x="74492" y="53220"/>
                      <a:pt x="73125" y="51853"/>
                      <a:pt x="71443" y="51853"/>
                    </a:cubicBezTo>
                    <a:lnTo>
                      <a:pt x="50213" y="51853"/>
                    </a:lnTo>
                    <a:lnTo>
                      <a:pt x="50213" y="38565"/>
                    </a:lnTo>
                    <a:cubicBezTo>
                      <a:pt x="50213" y="33425"/>
                      <a:pt x="54382" y="29269"/>
                      <a:pt x="59509" y="29269"/>
                    </a:cubicBezTo>
                    <a:lnTo>
                      <a:pt x="75722" y="29269"/>
                    </a:lnTo>
                    <a:cubicBezTo>
                      <a:pt x="77431" y="29269"/>
                      <a:pt x="78826" y="27875"/>
                      <a:pt x="78826" y="26166"/>
                    </a:cubicBezTo>
                    <a:lnTo>
                      <a:pt x="78826" y="3103"/>
                    </a:lnTo>
                    <a:cubicBezTo>
                      <a:pt x="78826" y="1394"/>
                      <a:pt x="77431" y="0"/>
                      <a:pt x="75722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" name="Google Shape;12;p36"/>
              <p:cNvSpPr/>
              <p:nvPr/>
            </p:nvSpPr>
            <p:spPr>
              <a:xfrm>
                <a:off x="11896791" y="6612367"/>
                <a:ext cx="25659" cy="25660"/>
              </a:xfrm>
              <a:custGeom>
                <a:avLst/>
                <a:gdLst/>
                <a:ahLst/>
                <a:cxnLst/>
                <a:rect l="l" t="t" r="r" b="b"/>
                <a:pathLst>
                  <a:path w="25659" h="25660" extrusionOk="0">
                    <a:moveTo>
                      <a:pt x="25660" y="12810"/>
                    </a:moveTo>
                    <a:cubicBezTo>
                      <a:pt x="25660" y="19946"/>
                      <a:pt x="19946" y="25660"/>
                      <a:pt x="12782" y="25660"/>
                    </a:cubicBezTo>
                    <a:cubicBezTo>
                      <a:pt x="5619" y="25660"/>
                      <a:pt x="0" y="19891"/>
                      <a:pt x="0" y="12810"/>
                    </a:cubicBezTo>
                    <a:cubicBezTo>
                      <a:pt x="0" y="5728"/>
                      <a:pt x="5714" y="0"/>
                      <a:pt x="12823" y="0"/>
                    </a:cubicBezTo>
                    <a:cubicBezTo>
                      <a:pt x="19932" y="0"/>
                      <a:pt x="25646" y="5687"/>
                      <a:pt x="25646" y="12810"/>
                    </a:cubicBezTo>
                    <a:close/>
                    <a:moveTo>
                      <a:pt x="23691" y="12864"/>
                    </a:moveTo>
                    <a:cubicBezTo>
                      <a:pt x="23691" y="6712"/>
                      <a:pt x="18838" y="1832"/>
                      <a:pt x="12837" y="1832"/>
                    </a:cubicBezTo>
                    <a:cubicBezTo>
                      <a:pt x="6835" y="1832"/>
                      <a:pt x="1982" y="6658"/>
                      <a:pt x="1982" y="12851"/>
                    </a:cubicBezTo>
                    <a:cubicBezTo>
                      <a:pt x="1982" y="19043"/>
                      <a:pt x="6890" y="23856"/>
                      <a:pt x="12782" y="23856"/>
                    </a:cubicBezTo>
                    <a:cubicBezTo>
                      <a:pt x="18674" y="23856"/>
                      <a:pt x="23691" y="19002"/>
                      <a:pt x="23691" y="12864"/>
                    </a:cubicBezTo>
                    <a:close/>
                    <a:moveTo>
                      <a:pt x="15585" y="14888"/>
                    </a:moveTo>
                    <a:lnTo>
                      <a:pt x="18811" y="19905"/>
                    </a:lnTo>
                    <a:lnTo>
                      <a:pt x="16678" y="19905"/>
                    </a:lnTo>
                    <a:lnTo>
                      <a:pt x="13097" y="14218"/>
                    </a:lnTo>
                    <a:lnTo>
                      <a:pt x="9829" y="14218"/>
                    </a:lnTo>
                    <a:lnTo>
                      <a:pt x="9829" y="19905"/>
                    </a:lnTo>
                    <a:lnTo>
                      <a:pt x="8038" y="19905"/>
                    </a:lnTo>
                    <a:lnTo>
                      <a:pt x="8038" y="5523"/>
                    </a:lnTo>
                    <a:lnTo>
                      <a:pt x="13616" y="5523"/>
                    </a:lnTo>
                    <a:cubicBezTo>
                      <a:pt x="16364" y="5523"/>
                      <a:pt x="18155" y="6999"/>
                      <a:pt x="18155" y="9761"/>
                    </a:cubicBezTo>
                    <a:cubicBezTo>
                      <a:pt x="18155" y="11989"/>
                      <a:pt x="16801" y="13370"/>
                      <a:pt x="14887" y="13917"/>
                    </a:cubicBezTo>
                    <a:cubicBezTo>
                      <a:pt x="15147" y="14204"/>
                      <a:pt x="15407" y="14559"/>
                      <a:pt x="15585" y="14901"/>
                    </a:cubicBezTo>
                    <a:close/>
                    <a:moveTo>
                      <a:pt x="13015" y="12522"/>
                    </a:moveTo>
                    <a:cubicBezTo>
                      <a:pt x="15038" y="12522"/>
                      <a:pt x="16282" y="11565"/>
                      <a:pt x="16282" y="9870"/>
                    </a:cubicBezTo>
                    <a:cubicBezTo>
                      <a:pt x="16282" y="8175"/>
                      <a:pt x="15421" y="7191"/>
                      <a:pt x="13657" y="7191"/>
                    </a:cubicBezTo>
                    <a:lnTo>
                      <a:pt x="9816" y="7191"/>
                    </a:lnTo>
                    <a:lnTo>
                      <a:pt x="9816" y="12509"/>
                    </a:lnTo>
                    <a:lnTo>
                      <a:pt x="13015" y="12509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" name="Google Shape;13;p36"/>
              <p:cNvSpPr/>
              <p:nvPr/>
            </p:nvSpPr>
            <p:spPr>
              <a:xfrm>
                <a:off x="11620956" y="6472487"/>
                <a:ext cx="32932" cy="163721"/>
              </a:xfrm>
              <a:custGeom>
                <a:avLst/>
                <a:gdLst/>
                <a:ahLst/>
                <a:cxnLst/>
                <a:rect l="l" t="t" r="r" b="b"/>
                <a:pathLst>
                  <a:path w="32932" h="163721" extrusionOk="0">
                    <a:moveTo>
                      <a:pt x="29830" y="0"/>
                    </a:moveTo>
                    <a:cubicBezTo>
                      <a:pt x="31544" y="0"/>
                      <a:pt x="32933" y="1389"/>
                      <a:pt x="32933" y="3103"/>
                    </a:cubicBezTo>
                    <a:lnTo>
                      <a:pt x="32933" y="160618"/>
                    </a:lnTo>
                    <a:cubicBezTo>
                      <a:pt x="32933" y="162332"/>
                      <a:pt x="31543" y="163722"/>
                      <a:pt x="29830" y="163722"/>
                    </a:cubicBezTo>
                    <a:lnTo>
                      <a:pt x="3103" y="163722"/>
                    </a:lnTo>
                    <a:cubicBezTo>
                      <a:pt x="1389" y="163722"/>
                      <a:pt x="0" y="162332"/>
                      <a:pt x="0" y="160618"/>
                    </a:cubicBezTo>
                    <a:lnTo>
                      <a:pt x="0" y="3103"/>
                    </a:lnTo>
                    <a:cubicBezTo>
                      <a:pt x="0" y="1389"/>
                      <a:pt x="1389" y="0"/>
                      <a:pt x="3103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" name="Google Shape;14;p36"/>
              <p:cNvSpPr/>
              <p:nvPr/>
            </p:nvSpPr>
            <p:spPr>
              <a:xfrm>
                <a:off x="11488486" y="6472473"/>
                <a:ext cx="123638" cy="166086"/>
              </a:xfrm>
              <a:custGeom>
                <a:avLst/>
                <a:gdLst/>
                <a:ahLst/>
                <a:cxnLst/>
                <a:rect l="l" t="t" r="r" b="b"/>
                <a:pathLst>
                  <a:path w="123638" h="166086" extrusionOk="0">
                    <a:moveTo>
                      <a:pt x="68737" y="44663"/>
                    </a:moveTo>
                    <a:cubicBezTo>
                      <a:pt x="53535" y="44663"/>
                      <a:pt x="40889" y="51252"/>
                      <a:pt x="32947" y="62052"/>
                    </a:cubicBezTo>
                    <a:lnTo>
                      <a:pt x="32947" y="3103"/>
                    </a:lnTo>
                    <a:cubicBezTo>
                      <a:pt x="32947" y="1394"/>
                      <a:pt x="31552" y="0"/>
                      <a:pt x="29843" y="0"/>
                    </a:cubicBezTo>
                    <a:lnTo>
                      <a:pt x="3103" y="0"/>
                    </a:lnTo>
                    <a:cubicBezTo>
                      <a:pt x="1394" y="0"/>
                      <a:pt x="0" y="1394"/>
                      <a:pt x="0" y="3103"/>
                    </a:cubicBezTo>
                    <a:lnTo>
                      <a:pt x="0" y="160632"/>
                    </a:lnTo>
                    <a:cubicBezTo>
                      <a:pt x="0" y="162341"/>
                      <a:pt x="1394" y="163735"/>
                      <a:pt x="3103" y="163735"/>
                    </a:cubicBezTo>
                    <a:lnTo>
                      <a:pt x="29843" y="163735"/>
                    </a:lnTo>
                    <a:cubicBezTo>
                      <a:pt x="31552" y="163735"/>
                      <a:pt x="32947" y="162341"/>
                      <a:pt x="32947" y="160632"/>
                    </a:cubicBezTo>
                    <a:lnTo>
                      <a:pt x="32947" y="149025"/>
                    </a:lnTo>
                    <a:cubicBezTo>
                      <a:pt x="40903" y="159839"/>
                      <a:pt x="53535" y="166087"/>
                      <a:pt x="68983" y="166087"/>
                    </a:cubicBezTo>
                    <a:cubicBezTo>
                      <a:pt x="101505" y="166087"/>
                      <a:pt x="123638" y="139852"/>
                      <a:pt x="123638" y="105539"/>
                    </a:cubicBezTo>
                    <a:cubicBezTo>
                      <a:pt x="123638" y="71225"/>
                      <a:pt x="101505" y="44663"/>
                      <a:pt x="68750" y="44663"/>
                    </a:cubicBezTo>
                    <a:close/>
                    <a:moveTo>
                      <a:pt x="62188" y="135163"/>
                    </a:moveTo>
                    <a:cubicBezTo>
                      <a:pt x="45346" y="135163"/>
                      <a:pt x="32947" y="121533"/>
                      <a:pt x="32947" y="105552"/>
                    </a:cubicBezTo>
                    <a:cubicBezTo>
                      <a:pt x="32947" y="89571"/>
                      <a:pt x="45346" y="76174"/>
                      <a:pt x="62188" y="76174"/>
                    </a:cubicBezTo>
                    <a:cubicBezTo>
                      <a:pt x="79031" y="76174"/>
                      <a:pt x="90965" y="89571"/>
                      <a:pt x="90965" y="105552"/>
                    </a:cubicBezTo>
                    <a:cubicBezTo>
                      <a:pt x="90965" y="121533"/>
                      <a:pt x="78798" y="135163"/>
                      <a:pt x="62188" y="13516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" name="Google Shape;15;p36"/>
              <p:cNvSpPr/>
              <p:nvPr/>
            </p:nvSpPr>
            <p:spPr>
              <a:xfrm>
                <a:off x="11359421" y="6517136"/>
                <a:ext cx="120412" cy="121437"/>
              </a:xfrm>
              <a:custGeom>
                <a:avLst/>
                <a:gdLst/>
                <a:ahLst/>
                <a:cxnLst/>
                <a:rect l="l" t="t" r="r" b="b"/>
                <a:pathLst>
                  <a:path w="120412" h="121437" extrusionOk="0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" name="Google Shape;16;p36"/>
              <p:cNvSpPr/>
              <p:nvPr/>
            </p:nvSpPr>
            <p:spPr>
              <a:xfrm>
                <a:off x="11662542" y="6517136"/>
                <a:ext cx="120412" cy="121437"/>
              </a:xfrm>
              <a:custGeom>
                <a:avLst/>
                <a:gdLst/>
                <a:ahLst/>
                <a:cxnLst/>
                <a:rect l="l" t="t" r="r" b="b"/>
                <a:pathLst>
                  <a:path w="120412" h="121437" extrusionOk="0">
                    <a:moveTo>
                      <a:pt x="60206" y="0"/>
                    </a:moveTo>
                    <a:cubicBezTo>
                      <a:pt x="26275" y="0"/>
                      <a:pt x="0" y="26439"/>
                      <a:pt x="0" y="60603"/>
                    </a:cubicBezTo>
                    <a:cubicBezTo>
                      <a:pt x="0" y="94766"/>
                      <a:pt x="26262" y="121438"/>
                      <a:pt x="60206" y="121438"/>
                    </a:cubicBezTo>
                    <a:cubicBezTo>
                      <a:pt x="94151" y="121438"/>
                      <a:pt x="120412" y="94766"/>
                      <a:pt x="120412" y="60603"/>
                    </a:cubicBezTo>
                    <a:cubicBezTo>
                      <a:pt x="120412" y="26439"/>
                      <a:pt x="94151" y="0"/>
                      <a:pt x="60206" y="0"/>
                    </a:cubicBezTo>
                    <a:close/>
                    <a:moveTo>
                      <a:pt x="60329" y="90173"/>
                    </a:moveTo>
                    <a:cubicBezTo>
                      <a:pt x="43760" y="90173"/>
                      <a:pt x="31265" y="76666"/>
                      <a:pt x="31265" y="60603"/>
                    </a:cubicBezTo>
                    <a:cubicBezTo>
                      <a:pt x="31265" y="44539"/>
                      <a:pt x="43760" y="31265"/>
                      <a:pt x="60329" y="31265"/>
                    </a:cubicBezTo>
                    <a:cubicBezTo>
                      <a:pt x="76898" y="31265"/>
                      <a:pt x="89161" y="44539"/>
                      <a:pt x="89161" y="60603"/>
                    </a:cubicBezTo>
                    <a:cubicBezTo>
                      <a:pt x="89161" y="76666"/>
                      <a:pt x="77144" y="90173"/>
                      <a:pt x="60329" y="9017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" name="Google Shape;17;p36"/>
              <p:cNvSpPr/>
              <p:nvPr/>
            </p:nvSpPr>
            <p:spPr>
              <a:xfrm>
                <a:off x="11122821" y="6519528"/>
                <a:ext cx="32932" cy="116680"/>
              </a:xfrm>
              <a:custGeom>
                <a:avLst/>
                <a:gdLst/>
                <a:ahLst/>
                <a:cxnLst/>
                <a:rect l="l" t="t" r="r" b="b"/>
                <a:pathLst>
                  <a:path w="32932" h="116680" extrusionOk="0">
                    <a:moveTo>
                      <a:pt x="29843" y="116680"/>
                    </a:moveTo>
                    <a:lnTo>
                      <a:pt x="3103" y="116680"/>
                    </a:lnTo>
                    <a:cubicBezTo>
                      <a:pt x="1394" y="116680"/>
                      <a:pt x="0" y="115286"/>
                      <a:pt x="0" y="113577"/>
                    </a:cubicBezTo>
                    <a:lnTo>
                      <a:pt x="0" y="30554"/>
                    </a:lnTo>
                    <a:cubicBezTo>
                      <a:pt x="0" y="28886"/>
                      <a:pt x="670" y="27287"/>
                      <a:pt x="1859" y="26125"/>
                    </a:cubicBezTo>
                    <a:lnTo>
                      <a:pt x="27670" y="888"/>
                    </a:lnTo>
                    <a:cubicBezTo>
                      <a:pt x="29638" y="-1026"/>
                      <a:pt x="32933" y="355"/>
                      <a:pt x="32933" y="3103"/>
                    </a:cubicBezTo>
                    <a:lnTo>
                      <a:pt x="32933" y="113577"/>
                    </a:lnTo>
                    <a:cubicBezTo>
                      <a:pt x="32933" y="115286"/>
                      <a:pt x="31538" y="116680"/>
                      <a:pt x="29830" y="11668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" name="Google Shape;18;p36"/>
              <p:cNvSpPr/>
              <p:nvPr/>
            </p:nvSpPr>
            <p:spPr>
              <a:xfrm>
                <a:off x="11173074" y="6517105"/>
                <a:ext cx="107493" cy="119116"/>
              </a:xfrm>
              <a:custGeom>
                <a:avLst/>
                <a:gdLst/>
                <a:ahLst/>
                <a:cxnLst/>
                <a:rect l="l" t="t" r="r" b="b"/>
                <a:pathLst>
                  <a:path w="107493" h="119116" extrusionOk="0">
                    <a:moveTo>
                      <a:pt x="107480" y="41877"/>
                    </a:moveTo>
                    <a:cubicBezTo>
                      <a:pt x="107480" y="19252"/>
                      <a:pt x="88792" y="277"/>
                      <a:pt x="65237" y="3"/>
                    </a:cubicBezTo>
                    <a:cubicBezTo>
                      <a:pt x="49912" y="-175"/>
                      <a:pt x="39563" y="7331"/>
                      <a:pt x="32947" y="17474"/>
                    </a:cubicBezTo>
                    <a:lnTo>
                      <a:pt x="32947" y="5581"/>
                    </a:lnTo>
                    <a:cubicBezTo>
                      <a:pt x="32947" y="3872"/>
                      <a:pt x="31552" y="2478"/>
                      <a:pt x="29843" y="2478"/>
                    </a:cubicBezTo>
                    <a:lnTo>
                      <a:pt x="3103" y="2478"/>
                    </a:lnTo>
                    <a:cubicBezTo>
                      <a:pt x="1394" y="2478"/>
                      <a:pt x="0" y="3872"/>
                      <a:pt x="0" y="5581"/>
                    </a:cubicBezTo>
                    <a:lnTo>
                      <a:pt x="0" y="116000"/>
                    </a:lnTo>
                    <a:cubicBezTo>
                      <a:pt x="0" y="117709"/>
                      <a:pt x="1394" y="119103"/>
                      <a:pt x="3103" y="119103"/>
                    </a:cubicBezTo>
                    <a:lnTo>
                      <a:pt x="29843" y="119103"/>
                    </a:lnTo>
                    <a:cubicBezTo>
                      <a:pt x="31552" y="119103"/>
                      <a:pt x="32947" y="117709"/>
                      <a:pt x="32947" y="116000"/>
                    </a:cubicBezTo>
                    <a:lnTo>
                      <a:pt x="32947" y="51788"/>
                    </a:lnTo>
                    <a:cubicBezTo>
                      <a:pt x="33685" y="39430"/>
                      <a:pt x="41518" y="31747"/>
                      <a:pt x="53740" y="31747"/>
                    </a:cubicBezTo>
                    <a:cubicBezTo>
                      <a:pt x="65961" y="31747"/>
                      <a:pt x="74547" y="40373"/>
                      <a:pt x="74547" y="53210"/>
                    </a:cubicBezTo>
                    <a:lnTo>
                      <a:pt x="74547" y="116014"/>
                    </a:lnTo>
                    <a:cubicBezTo>
                      <a:pt x="74547" y="117722"/>
                      <a:pt x="75941" y="119117"/>
                      <a:pt x="77650" y="119117"/>
                    </a:cubicBezTo>
                    <a:lnTo>
                      <a:pt x="104390" y="119117"/>
                    </a:lnTo>
                    <a:cubicBezTo>
                      <a:pt x="106099" y="119117"/>
                      <a:pt x="107493" y="117722"/>
                      <a:pt x="107493" y="116014"/>
                    </a:cubicBezTo>
                    <a:lnTo>
                      <a:pt x="107493" y="4189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Lato Light"/>
                  <a:buNone/>
                </a:pPr>
                <a:endParaRPr sz="1867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" name="Picture 1" descr="A green light on a hexagon&#10;&#10;AI-generated content may be incorrect.">
            <a:extLst>
              <a:ext uri="{FF2B5EF4-FFF2-40B4-BE49-F238E27FC236}">
                <a16:creationId xmlns:a16="http://schemas.microsoft.com/office/drawing/2014/main" id="{9F829D0B-7061-8E46-EBB0-F3269D6899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3" descr="A green and black hexagon with a black background&#10;&#10;AI-generated content may be incorrect.">
            <a:extLst>
              <a:ext uri="{FF2B5EF4-FFF2-40B4-BE49-F238E27FC236}">
                <a16:creationId xmlns:a16="http://schemas.microsoft.com/office/drawing/2014/main" id="{A61C760E-E4CE-3328-F3B5-9788D3DFE0D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 descr="A green and black hexagon with a black background&#10;&#10;AI-generated content may be incorrect.">
            <a:extLst>
              <a:ext uri="{FF2B5EF4-FFF2-40B4-BE49-F238E27FC236}">
                <a16:creationId xmlns:a16="http://schemas.microsoft.com/office/drawing/2014/main" id="{316F0475-3012-8C65-7A7C-E16D186A164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0" name="Picture 19" descr="A green and black hexagon with a black background&#10;&#10;AI-generated content may be incorrect.">
            <a:extLst>
              <a:ext uri="{FF2B5EF4-FFF2-40B4-BE49-F238E27FC236}">
                <a16:creationId xmlns:a16="http://schemas.microsoft.com/office/drawing/2014/main" id="{C1C7A961-4B8E-DDEC-9E6D-6B191ED78A6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" y="0"/>
            <a:ext cx="12191999" cy="6857999"/>
          </a:xfrm>
          <a:prstGeom prst="rect">
            <a:avLst/>
          </a:prstGeom>
        </p:spPr>
      </p:pic>
      <p:pic>
        <p:nvPicPr>
          <p:cNvPr id="5" name="Picture 4" descr="A green hexagon shaped object&#10;&#10;AI-generated content may be incorrect.">
            <a:extLst>
              <a:ext uri="{FF2B5EF4-FFF2-40B4-BE49-F238E27FC236}">
                <a16:creationId xmlns:a16="http://schemas.microsoft.com/office/drawing/2014/main" id="{FEDC7F92-1394-1698-3C6F-DFED8193268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1998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4310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slideLayout" Target="../slideLayouts/slideLayout74.xml"/><Relationship Id="rId3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69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slideLayout" Target="../slideLayouts/slideLayout73.xml"/><Relationship Id="rId33" Type="http://schemas.openxmlformats.org/officeDocument/2006/relationships/theme" Target="../theme/theme2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29" Type="http://schemas.openxmlformats.org/officeDocument/2006/relationships/slideLayout" Target="../slideLayouts/slideLayout77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32" Type="http://schemas.openxmlformats.org/officeDocument/2006/relationships/slideLayout" Target="../slideLayouts/slideLayout80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31" Type="http://schemas.openxmlformats.org/officeDocument/2006/relationships/slideLayout" Target="../slideLayouts/slideLayout79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slideLayout" Target="../slideLayouts/slideLayout75.xml"/><Relationship Id="rId30" Type="http://schemas.openxmlformats.org/officeDocument/2006/relationships/slideLayout" Target="../slideLayouts/slideLayout78.xml"/><Relationship Id="rId8" Type="http://schemas.openxmlformats.org/officeDocument/2006/relationships/slideLayout" Target="../slideLayouts/slideLayout56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3.xml"/><Relationship Id="rId18" Type="http://schemas.openxmlformats.org/officeDocument/2006/relationships/slideLayout" Target="../slideLayouts/slideLayout98.xml"/><Relationship Id="rId26" Type="http://schemas.openxmlformats.org/officeDocument/2006/relationships/slideLayout" Target="../slideLayouts/slideLayout106.xml"/><Relationship Id="rId3" Type="http://schemas.openxmlformats.org/officeDocument/2006/relationships/slideLayout" Target="../slideLayouts/slideLayout83.xml"/><Relationship Id="rId21" Type="http://schemas.openxmlformats.org/officeDocument/2006/relationships/slideLayout" Target="../slideLayouts/slideLayout101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slideLayout" Target="../slideLayouts/slideLayout97.xml"/><Relationship Id="rId25" Type="http://schemas.openxmlformats.org/officeDocument/2006/relationships/slideLayout" Target="../slideLayouts/slideLayout105.xml"/><Relationship Id="rId33" Type="http://schemas.openxmlformats.org/officeDocument/2006/relationships/theme" Target="../theme/theme3.xml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20" Type="http://schemas.openxmlformats.org/officeDocument/2006/relationships/slideLayout" Target="../slideLayouts/slideLayout100.xml"/><Relationship Id="rId29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24" Type="http://schemas.openxmlformats.org/officeDocument/2006/relationships/slideLayout" Target="../slideLayouts/slideLayout104.xml"/><Relationship Id="rId32" Type="http://schemas.openxmlformats.org/officeDocument/2006/relationships/slideLayout" Target="../slideLayouts/slideLayout112.xml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23" Type="http://schemas.openxmlformats.org/officeDocument/2006/relationships/slideLayout" Target="../slideLayouts/slideLayout103.xml"/><Relationship Id="rId28" Type="http://schemas.openxmlformats.org/officeDocument/2006/relationships/slideLayout" Target="../slideLayouts/slideLayout108.xml"/><Relationship Id="rId10" Type="http://schemas.openxmlformats.org/officeDocument/2006/relationships/slideLayout" Target="../slideLayouts/slideLayout90.xml"/><Relationship Id="rId19" Type="http://schemas.openxmlformats.org/officeDocument/2006/relationships/slideLayout" Target="../slideLayouts/slideLayout99.xml"/><Relationship Id="rId31" Type="http://schemas.openxmlformats.org/officeDocument/2006/relationships/slideLayout" Target="../slideLayouts/slideLayout111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Relationship Id="rId22" Type="http://schemas.openxmlformats.org/officeDocument/2006/relationships/slideLayout" Target="../slideLayouts/slideLayout102.xml"/><Relationship Id="rId27" Type="http://schemas.openxmlformats.org/officeDocument/2006/relationships/slideLayout" Target="../slideLayouts/slideLayout107.xml"/><Relationship Id="rId30" Type="http://schemas.openxmlformats.org/officeDocument/2006/relationships/slideLayout" Target="../slideLayouts/slideLayout110.xml"/><Relationship Id="rId8" Type="http://schemas.openxmlformats.org/officeDocument/2006/relationships/slideLayout" Target="../slideLayouts/slideLayout8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59DC03-1EC0-FBAD-ADF2-352EEA0D629A}"/>
              </a:ext>
            </a:extLst>
          </p:cNvPr>
          <p:cNvSpPr txBox="1">
            <a:spLocks/>
          </p:cNvSpPr>
          <p:nvPr userDrawn="1"/>
        </p:nvSpPr>
        <p:spPr>
          <a:xfrm>
            <a:off x="0" y="6415053"/>
            <a:ext cx="55609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BR"/>
            </a:defPPr>
            <a:lvl1pPr marL="0" algn="r" defTabSz="914400" rtl="0" eaLnBrk="1" latinLnBrk="0" hangingPunct="1">
              <a:defRPr sz="1100" kern="1200">
                <a:solidFill>
                  <a:schemeClr val="tx1">
                    <a:tint val="75000"/>
                  </a:schemeClr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65CC9D-A1F0-6C4D-9ECC-C913CA8E2052}" type="slidenum">
              <a:rPr lang="en-US" sz="1000" smtClean="0"/>
              <a:pPr/>
              <a:t>‹#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9489912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42" r:id="rId4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Lato" panose="020F0502020204030203" pitchFamily="34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Lato" panose="020F0502020204030203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Lato" panose="020F0502020204030203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Lato" panose="020F0502020204030203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Lato" panose="020F0502020204030203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">
              <a:schemeClr val="tx1"/>
            </a:gs>
            <a:gs pos="100000">
              <a:srgbClr val="353C42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AEBBAC3C-B36F-3994-C706-E2DD97D80AD4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714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Aptos" panose="020B000402020202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1643443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0" r:id="rId12"/>
    <p:sldLayoutId id="2147483721" r:id="rId13"/>
    <p:sldLayoutId id="2147483722" r:id="rId14"/>
    <p:sldLayoutId id="2147483723" r:id="rId15"/>
    <p:sldLayoutId id="2147483724" r:id="rId16"/>
    <p:sldLayoutId id="2147483725" r:id="rId17"/>
    <p:sldLayoutId id="2147483726" r:id="rId18"/>
    <p:sldLayoutId id="2147483727" r:id="rId19"/>
    <p:sldLayoutId id="2147483728" r:id="rId20"/>
    <p:sldLayoutId id="2147483729" r:id="rId21"/>
    <p:sldLayoutId id="2147483730" r:id="rId22"/>
    <p:sldLayoutId id="2147483731" r:id="rId23"/>
    <p:sldLayoutId id="2147483732" r:id="rId24"/>
    <p:sldLayoutId id="2147483733" r:id="rId25"/>
    <p:sldLayoutId id="2147483734" r:id="rId26"/>
    <p:sldLayoutId id="2147483735" r:id="rId27"/>
    <p:sldLayoutId id="2147483736" r:id="rId28"/>
    <p:sldLayoutId id="2147483737" r:id="rId29"/>
    <p:sldLayoutId id="2147483738" r:id="rId30"/>
    <p:sldLayoutId id="2147483739" r:id="rId31"/>
    <p:sldLayoutId id="2147483740" r:id="rId3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dk1"/>
            </a:gs>
            <a:gs pos="10000">
              <a:schemeClr val="dk1"/>
            </a:gs>
            <a:gs pos="100000">
              <a:srgbClr val="353C42"/>
            </a:gs>
          </a:gsLst>
          <a:lin ang="2700000" scaled="0"/>
        </a:gra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557DBF49-EB4E-7D47-8B43-8324E1C44EC2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45085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Aptos" panose="020B00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4066129113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  <p:sldLayoutId id="2147483752" r:id="rId9"/>
    <p:sldLayoutId id="2147483753" r:id="rId10"/>
    <p:sldLayoutId id="2147483754" r:id="rId11"/>
    <p:sldLayoutId id="2147483755" r:id="rId12"/>
    <p:sldLayoutId id="2147483756" r:id="rId13"/>
    <p:sldLayoutId id="2147483757" r:id="rId14"/>
    <p:sldLayoutId id="2147483758" r:id="rId15"/>
    <p:sldLayoutId id="2147483759" r:id="rId16"/>
    <p:sldLayoutId id="2147483760" r:id="rId17"/>
    <p:sldLayoutId id="2147483761" r:id="rId18"/>
    <p:sldLayoutId id="2147483762" r:id="rId19"/>
    <p:sldLayoutId id="2147483763" r:id="rId20"/>
    <p:sldLayoutId id="2147483764" r:id="rId21"/>
    <p:sldLayoutId id="2147483765" r:id="rId22"/>
    <p:sldLayoutId id="2147483766" r:id="rId23"/>
    <p:sldLayoutId id="2147483767" r:id="rId24"/>
    <p:sldLayoutId id="2147483768" r:id="rId25"/>
    <p:sldLayoutId id="2147483769" r:id="rId26"/>
    <p:sldLayoutId id="2147483770" r:id="rId27"/>
    <p:sldLayoutId id="2147483771" r:id="rId28"/>
    <p:sldLayoutId id="2147483772" r:id="rId29"/>
    <p:sldLayoutId id="2147483773" r:id="rId30"/>
    <p:sldLayoutId id="2147483774" r:id="rId31"/>
    <p:sldLayoutId id="2147483775" r:id="rId3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emf"/><Relationship Id="rId1" Type="http://schemas.openxmlformats.org/officeDocument/2006/relationships/slideLayout" Target="../slideLayouts/slideLayout4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jpeg"/><Relationship Id="rId13" Type="http://schemas.openxmlformats.org/officeDocument/2006/relationships/image" Target="../media/image80.png"/><Relationship Id="rId3" Type="http://schemas.openxmlformats.org/officeDocument/2006/relationships/image" Target="../media/image70.svg"/><Relationship Id="rId7" Type="http://schemas.openxmlformats.org/officeDocument/2006/relationships/image" Target="../media/image74.svg"/><Relationship Id="rId12" Type="http://schemas.openxmlformats.org/officeDocument/2006/relationships/image" Target="../media/image7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1.xml"/><Relationship Id="rId6" Type="http://schemas.openxmlformats.org/officeDocument/2006/relationships/image" Target="../media/image73.svg"/><Relationship Id="rId11" Type="http://schemas.openxmlformats.org/officeDocument/2006/relationships/image" Target="../media/image78.svg"/><Relationship Id="rId5" Type="http://schemas.openxmlformats.org/officeDocument/2006/relationships/image" Target="../media/image72.svg"/><Relationship Id="rId10" Type="http://schemas.openxmlformats.org/officeDocument/2006/relationships/image" Target="../media/image77.emf"/><Relationship Id="rId4" Type="http://schemas.openxmlformats.org/officeDocument/2006/relationships/image" Target="../media/image71.svg"/><Relationship Id="rId9" Type="http://schemas.openxmlformats.org/officeDocument/2006/relationships/image" Target="../media/image76.svg"/><Relationship Id="rId14" Type="http://schemas.openxmlformats.org/officeDocument/2006/relationships/image" Target="../media/image8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svg"/><Relationship Id="rId3" Type="http://schemas.openxmlformats.org/officeDocument/2006/relationships/image" Target="../media/image82.png"/><Relationship Id="rId7" Type="http://schemas.openxmlformats.org/officeDocument/2006/relationships/image" Target="../media/image86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9.xml"/><Relationship Id="rId6" Type="http://schemas.openxmlformats.org/officeDocument/2006/relationships/image" Target="../media/image85.png"/><Relationship Id="rId11" Type="http://schemas.openxmlformats.org/officeDocument/2006/relationships/image" Target="../media/image90.svg"/><Relationship Id="rId5" Type="http://schemas.openxmlformats.org/officeDocument/2006/relationships/image" Target="../media/image84.png"/><Relationship Id="rId10" Type="http://schemas.openxmlformats.org/officeDocument/2006/relationships/image" Target="../media/image89.svg"/><Relationship Id="rId4" Type="http://schemas.openxmlformats.org/officeDocument/2006/relationships/image" Target="../media/image83.png"/><Relationship Id="rId9" Type="http://schemas.openxmlformats.org/officeDocument/2006/relationships/image" Target="../media/image88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0.xml"/><Relationship Id="rId5" Type="http://schemas.openxmlformats.org/officeDocument/2006/relationships/image" Target="../media/image93.svg"/><Relationship Id="rId4" Type="http://schemas.openxmlformats.org/officeDocument/2006/relationships/image" Target="../media/image92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png"/><Relationship Id="rId3" Type="http://schemas.openxmlformats.org/officeDocument/2006/relationships/image" Target="../media/image95.png"/><Relationship Id="rId7" Type="http://schemas.openxmlformats.org/officeDocument/2006/relationships/image" Target="../media/image99.png"/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98.png"/><Relationship Id="rId5" Type="http://schemas.openxmlformats.org/officeDocument/2006/relationships/image" Target="../media/image97.png"/><Relationship Id="rId4" Type="http://schemas.openxmlformats.org/officeDocument/2006/relationships/image" Target="../media/image96.png"/><Relationship Id="rId9" Type="http://schemas.openxmlformats.org/officeDocument/2006/relationships/image" Target="../media/image101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24;p61">
            <a:extLst>
              <a:ext uri="{FF2B5EF4-FFF2-40B4-BE49-F238E27FC236}">
                <a16:creationId xmlns:a16="http://schemas.microsoft.com/office/drawing/2014/main" id="{B99A15A6-E3DE-3873-F78F-AD01ED17A381}"/>
              </a:ext>
            </a:extLst>
          </p:cNvPr>
          <p:cNvSpPr txBox="1">
            <a:spLocks/>
          </p:cNvSpPr>
          <p:nvPr/>
        </p:nvSpPr>
        <p:spPr>
          <a:xfrm>
            <a:off x="603247" y="2559298"/>
            <a:ext cx="5683253" cy="23542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800"/>
              <a:buFont typeface="Lato"/>
              <a:buNone/>
              <a:defRPr sz="4800" b="1" i="0" u="none" strike="noStrike" cap="none">
                <a:solidFill>
                  <a:schemeClr val="lt1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  <a:sym typeface="Lat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  <a:tabLst/>
              <a:defRPr/>
            </a:pPr>
            <a:r>
              <a:rPr kumimoji="0" lang="en-US" sz="3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Light"/>
                <a:ea typeface="Lato Light"/>
                <a:cs typeface="Lato Light"/>
                <a:sym typeface="Arial"/>
              </a:rPr>
              <a:t>Infoblox </a:t>
            </a:r>
            <a:r>
              <a:rPr kumimoji="0" lang="en-US" sz="3400" b="1" i="0" u="none" strike="noStrike" kern="0" cap="none" spc="0" normalizeH="0" baseline="0" noProof="0">
                <a:ln>
                  <a:noFill/>
                </a:ln>
                <a:solidFill>
                  <a:srgbClr val="00BD4D"/>
                </a:solidFill>
                <a:effectLst/>
                <a:uLnTx/>
                <a:uFillTx/>
                <a:latin typeface="Lato Light"/>
                <a:ea typeface="Lato Light"/>
                <a:cs typeface="Lato Light"/>
                <a:sym typeface="Arial"/>
              </a:rPr>
              <a:t>unites networking, security and cloud </a:t>
            </a:r>
            <a:r>
              <a:rPr kumimoji="0" lang="en-US" sz="3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Light"/>
                <a:ea typeface="Lato Light"/>
                <a:cs typeface="Lato Light"/>
                <a:sym typeface="Arial"/>
              </a:rPr>
              <a:t>with a </a:t>
            </a:r>
            <a:r>
              <a:rPr kumimoji="0" lang="en-US" sz="3400" b="1" i="0" u="none" strike="noStrike" kern="0" cap="none" spc="0" normalizeH="0" baseline="0" noProof="0">
                <a:ln>
                  <a:noFill/>
                </a:ln>
                <a:solidFill>
                  <a:srgbClr val="00BD4D"/>
                </a:solidFill>
                <a:effectLst/>
                <a:uLnTx/>
                <a:uFillTx/>
                <a:latin typeface="Lato Light"/>
                <a:ea typeface="Lato Light"/>
                <a:cs typeface="Lato Light"/>
                <a:sym typeface="Arial"/>
              </a:rPr>
              <a:t>protective DDI platform</a:t>
            </a:r>
            <a:r>
              <a:rPr kumimoji="0" lang="en-US" sz="3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Light"/>
                <a:ea typeface="Lato Light"/>
                <a:cs typeface="Lato Light"/>
                <a:sym typeface="Arial"/>
              </a:rPr>
              <a:t> </a:t>
            </a:r>
            <a:r>
              <a:rPr kumimoji="0" lang="en-US" sz="3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Light"/>
                <a:ea typeface="Lato Light"/>
                <a:cs typeface="Lato Light"/>
                <a:sym typeface="Arial"/>
              </a:rPr>
              <a:t>that delivers enterprise </a:t>
            </a:r>
            <a:r>
              <a:rPr kumimoji="0" lang="en-US" sz="3400" b="1" i="0" u="none" strike="noStrike" kern="0" cap="none" spc="0" normalizeH="0" baseline="0" noProof="0">
                <a:ln>
                  <a:noFill/>
                </a:ln>
                <a:solidFill>
                  <a:srgbClr val="00BD4D"/>
                </a:solidFill>
                <a:effectLst/>
                <a:uLnTx/>
                <a:uFillTx/>
                <a:latin typeface="Lato Light"/>
                <a:ea typeface="Lato Light"/>
                <a:cs typeface="Lato Light"/>
                <a:sym typeface="Arial"/>
              </a:rPr>
              <a:t>resilience and agility</a:t>
            </a:r>
            <a:r>
              <a:rPr kumimoji="0" lang="en-US" sz="3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Light"/>
                <a:ea typeface="Lato Light"/>
                <a:cs typeface="Lato Light"/>
                <a:sym typeface="Arial"/>
              </a:rPr>
              <a:t>.</a:t>
            </a:r>
            <a:endParaRPr kumimoji="0" lang="en-US" sz="3400" b="1" i="0" u="none" strike="noStrike" kern="0" cap="none" spc="0" normalizeH="0" baseline="0" noProof="0">
              <a:ln>
                <a:noFill/>
              </a:ln>
              <a:solidFill>
                <a:srgbClr val="00BD4D"/>
              </a:solidFill>
              <a:effectLst/>
              <a:uLnTx/>
              <a:uFillTx/>
              <a:latin typeface="Lato"/>
              <a:ea typeface="Lato"/>
              <a:cs typeface="Lato"/>
              <a:sym typeface="Arial"/>
            </a:endParaRPr>
          </a:p>
        </p:txBody>
      </p:sp>
      <p:grpSp>
        <p:nvGrpSpPr>
          <p:cNvPr id="7" name="Google Shape;12;p61">
            <a:extLst>
              <a:ext uri="{FF2B5EF4-FFF2-40B4-BE49-F238E27FC236}">
                <a16:creationId xmlns:a16="http://schemas.microsoft.com/office/drawing/2014/main" id="{F146F7EF-E1F0-7142-9422-47A72FC53F92}"/>
              </a:ext>
            </a:extLst>
          </p:cNvPr>
          <p:cNvGrpSpPr/>
          <p:nvPr/>
        </p:nvGrpSpPr>
        <p:grpSpPr>
          <a:xfrm>
            <a:off x="736598" y="1701130"/>
            <a:ext cx="2366906" cy="510205"/>
            <a:chOff x="9242171" y="2998589"/>
            <a:chExt cx="1672097" cy="360434"/>
          </a:xfrm>
        </p:grpSpPr>
        <p:sp>
          <p:nvSpPr>
            <p:cNvPr id="9" name="Google Shape;13;p61">
              <a:extLst>
                <a:ext uri="{FF2B5EF4-FFF2-40B4-BE49-F238E27FC236}">
                  <a16:creationId xmlns:a16="http://schemas.microsoft.com/office/drawing/2014/main" id="{45CFAE08-A792-9FD6-D055-069D595422ED}"/>
                </a:ext>
              </a:extLst>
            </p:cNvPr>
            <p:cNvSpPr/>
            <p:nvPr/>
          </p:nvSpPr>
          <p:spPr>
            <a:xfrm rot="-2700000">
              <a:off x="9267550" y="3013811"/>
              <a:ext cx="73496" cy="73496"/>
            </a:xfrm>
            <a:custGeom>
              <a:avLst/>
              <a:gdLst/>
              <a:ahLst/>
              <a:cxnLst/>
              <a:rect l="l" t="t" r="r" b="b"/>
              <a:pathLst>
                <a:path w="73496" h="73496" extrusionOk="0">
                  <a:moveTo>
                    <a:pt x="67007" y="0"/>
                  </a:moveTo>
                  <a:cubicBezTo>
                    <a:pt x="70591" y="0"/>
                    <a:pt x="73497" y="2905"/>
                    <a:pt x="73497" y="6489"/>
                  </a:cubicBezTo>
                  <a:lnTo>
                    <a:pt x="73497" y="67007"/>
                  </a:lnTo>
                  <a:cubicBezTo>
                    <a:pt x="73497" y="70591"/>
                    <a:pt x="70591" y="73496"/>
                    <a:pt x="67007" y="73496"/>
                  </a:cubicBezTo>
                  <a:lnTo>
                    <a:pt x="6489" y="73496"/>
                  </a:lnTo>
                  <a:cubicBezTo>
                    <a:pt x="2905" y="73496"/>
                    <a:pt x="0" y="70591"/>
                    <a:pt x="0" y="67007"/>
                  </a:cubicBezTo>
                  <a:lnTo>
                    <a:pt x="0" y="6489"/>
                  </a:lnTo>
                  <a:cubicBezTo>
                    <a:pt x="0" y="2905"/>
                    <a:pt x="2905" y="0"/>
                    <a:pt x="6489" y="0"/>
                  </a:cubicBezTo>
                  <a:close/>
                </a:path>
              </a:pathLst>
            </a:custGeom>
            <a:solidFill>
              <a:srgbClr val="00B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Lato Light"/>
                <a:ea typeface="Lato Light"/>
                <a:cs typeface="Lato Light"/>
                <a:sym typeface="Lato Light"/>
              </a:endParaRPr>
            </a:p>
          </p:txBody>
        </p:sp>
        <p:grpSp>
          <p:nvGrpSpPr>
            <p:cNvPr id="10" name="Google Shape;14;p61">
              <a:extLst>
                <a:ext uri="{FF2B5EF4-FFF2-40B4-BE49-F238E27FC236}">
                  <a16:creationId xmlns:a16="http://schemas.microsoft.com/office/drawing/2014/main" id="{32F08394-759D-765A-E4E7-684BADBB4064}"/>
                </a:ext>
              </a:extLst>
            </p:cNvPr>
            <p:cNvGrpSpPr/>
            <p:nvPr/>
          </p:nvGrpSpPr>
          <p:grpSpPr>
            <a:xfrm>
              <a:off x="9242171" y="3011696"/>
              <a:ext cx="1672097" cy="347327"/>
              <a:chOff x="9242171" y="3011696"/>
              <a:chExt cx="1672097" cy="347327"/>
            </a:xfrm>
          </p:grpSpPr>
          <p:sp>
            <p:nvSpPr>
              <p:cNvPr id="11" name="Google Shape;15;p61">
                <a:extLst>
                  <a:ext uri="{FF2B5EF4-FFF2-40B4-BE49-F238E27FC236}">
                    <a16:creationId xmlns:a16="http://schemas.microsoft.com/office/drawing/2014/main" id="{FDF06A6A-92EE-6B81-CCCE-19833867C02B}"/>
                  </a:ext>
                </a:extLst>
              </p:cNvPr>
              <p:cNvSpPr/>
              <p:nvPr/>
            </p:nvSpPr>
            <p:spPr>
              <a:xfrm>
                <a:off x="10604432" y="3110234"/>
                <a:ext cx="249644" cy="243844"/>
              </a:xfrm>
              <a:custGeom>
                <a:avLst/>
                <a:gdLst/>
                <a:ahLst/>
                <a:cxnLst/>
                <a:rect l="l" t="t" r="r" b="b"/>
                <a:pathLst>
                  <a:path w="249644" h="243844" extrusionOk="0">
                    <a:moveTo>
                      <a:pt x="172562" y="121922"/>
                    </a:moveTo>
                    <a:lnTo>
                      <a:pt x="248603" y="234754"/>
                    </a:lnTo>
                    <a:cubicBezTo>
                      <a:pt x="251347" y="238642"/>
                      <a:pt x="248346" y="243845"/>
                      <a:pt x="243372" y="243845"/>
                    </a:cubicBezTo>
                    <a:lnTo>
                      <a:pt x="179480" y="243845"/>
                    </a:lnTo>
                    <a:cubicBezTo>
                      <a:pt x="175221" y="243845"/>
                      <a:pt x="171219" y="241729"/>
                      <a:pt x="168789" y="238213"/>
                    </a:cubicBezTo>
                    <a:lnTo>
                      <a:pt x="124822" y="170949"/>
                    </a:lnTo>
                    <a:lnTo>
                      <a:pt x="80856" y="238213"/>
                    </a:lnTo>
                    <a:cubicBezTo>
                      <a:pt x="78426" y="241729"/>
                      <a:pt x="74452" y="243845"/>
                      <a:pt x="70164" y="243845"/>
                    </a:cubicBezTo>
                    <a:lnTo>
                      <a:pt x="6273" y="243845"/>
                    </a:lnTo>
                    <a:cubicBezTo>
                      <a:pt x="1299" y="243845"/>
                      <a:pt x="-1703" y="238671"/>
                      <a:pt x="1042" y="234754"/>
                    </a:cubicBezTo>
                    <a:lnTo>
                      <a:pt x="76854" y="121922"/>
                    </a:lnTo>
                    <a:lnTo>
                      <a:pt x="1042" y="9091"/>
                    </a:lnTo>
                    <a:cubicBezTo>
                      <a:pt x="-1703" y="5203"/>
                      <a:pt x="1299" y="0"/>
                      <a:pt x="6273" y="0"/>
                    </a:cubicBezTo>
                    <a:lnTo>
                      <a:pt x="72880" y="0"/>
                    </a:lnTo>
                    <a:cubicBezTo>
                      <a:pt x="75367" y="0"/>
                      <a:pt x="77683" y="1143"/>
                      <a:pt x="78998" y="3030"/>
                    </a:cubicBezTo>
                    <a:lnTo>
                      <a:pt x="124794" y="72782"/>
                    </a:lnTo>
                    <a:lnTo>
                      <a:pt x="167788" y="3059"/>
                    </a:lnTo>
                    <a:cubicBezTo>
                      <a:pt x="169075" y="1172"/>
                      <a:pt x="171419" y="0"/>
                      <a:pt x="173906" y="0"/>
                    </a:cubicBezTo>
                    <a:lnTo>
                      <a:pt x="241171" y="0"/>
                    </a:lnTo>
                    <a:cubicBezTo>
                      <a:pt x="246145" y="0"/>
                      <a:pt x="249118" y="5174"/>
                      <a:pt x="246402" y="9062"/>
                    </a:cubicBezTo>
                    <a:lnTo>
                      <a:pt x="172505" y="121922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101820"/>
                  </a:solidFill>
                  <a:effectLst/>
                  <a:uLnTx/>
                  <a:uFillTx/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  <p:sp>
            <p:nvSpPr>
              <p:cNvPr id="12" name="Google Shape;16;p61">
                <a:extLst>
                  <a:ext uri="{FF2B5EF4-FFF2-40B4-BE49-F238E27FC236}">
                    <a16:creationId xmlns:a16="http://schemas.microsoft.com/office/drawing/2014/main" id="{A8B2E56D-A8D6-326D-DF80-AB5E8A60CD8F}"/>
                  </a:ext>
                </a:extLst>
              </p:cNvPr>
              <p:cNvSpPr/>
              <p:nvPr/>
            </p:nvSpPr>
            <p:spPr>
              <a:xfrm>
                <a:off x="9581152" y="3011696"/>
                <a:ext cx="164831" cy="342440"/>
              </a:xfrm>
              <a:custGeom>
                <a:avLst/>
                <a:gdLst/>
                <a:ahLst/>
                <a:cxnLst/>
                <a:rect l="l" t="t" r="r" b="b"/>
                <a:pathLst>
                  <a:path w="164831" h="342440" extrusionOk="0">
                    <a:moveTo>
                      <a:pt x="158342" y="29"/>
                    </a:moveTo>
                    <a:lnTo>
                      <a:pt x="105342" y="29"/>
                    </a:lnTo>
                    <a:cubicBezTo>
                      <a:pt x="100197" y="29"/>
                      <a:pt x="95251" y="2087"/>
                      <a:pt x="91592" y="5717"/>
                    </a:cubicBezTo>
                    <a:lnTo>
                      <a:pt x="41794" y="55515"/>
                    </a:lnTo>
                    <a:cubicBezTo>
                      <a:pt x="38135" y="59175"/>
                      <a:pt x="36105" y="64120"/>
                      <a:pt x="36105" y="69266"/>
                    </a:cubicBezTo>
                    <a:lnTo>
                      <a:pt x="36105" y="108458"/>
                    </a:lnTo>
                    <a:lnTo>
                      <a:pt x="6375" y="108458"/>
                    </a:lnTo>
                    <a:cubicBezTo>
                      <a:pt x="2859" y="108458"/>
                      <a:pt x="0" y="111317"/>
                      <a:pt x="0" y="114833"/>
                    </a:cubicBezTo>
                    <a:lnTo>
                      <a:pt x="0" y="158828"/>
                    </a:lnTo>
                    <a:cubicBezTo>
                      <a:pt x="0" y="162344"/>
                      <a:pt x="2859" y="165203"/>
                      <a:pt x="6375" y="165203"/>
                    </a:cubicBezTo>
                    <a:lnTo>
                      <a:pt x="36105" y="165203"/>
                    </a:lnTo>
                    <a:lnTo>
                      <a:pt x="36105" y="335951"/>
                    </a:lnTo>
                    <a:cubicBezTo>
                      <a:pt x="36105" y="339524"/>
                      <a:pt x="39021" y="342440"/>
                      <a:pt x="42594" y="342440"/>
                    </a:cubicBezTo>
                    <a:lnTo>
                      <a:pt x="98510" y="342440"/>
                    </a:lnTo>
                    <a:cubicBezTo>
                      <a:pt x="102083" y="342440"/>
                      <a:pt x="104999" y="339524"/>
                      <a:pt x="104999" y="335951"/>
                    </a:cubicBezTo>
                    <a:lnTo>
                      <a:pt x="104999" y="165174"/>
                    </a:lnTo>
                    <a:lnTo>
                      <a:pt x="149394" y="165174"/>
                    </a:lnTo>
                    <a:cubicBezTo>
                      <a:pt x="152911" y="165174"/>
                      <a:pt x="155769" y="162315"/>
                      <a:pt x="155769" y="158799"/>
                    </a:cubicBezTo>
                    <a:lnTo>
                      <a:pt x="155769" y="114804"/>
                    </a:lnTo>
                    <a:cubicBezTo>
                      <a:pt x="155769" y="111288"/>
                      <a:pt x="152911" y="108429"/>
                      <a:pt x="149394" y="108429"/>
                    </a:cubicBezTo>
                    <a:lnTo>
                      <a:pt x="104999" y="108429"/>
                    </a:lnTo>
                    <a:lnTo>
                      <a:pt x="104999" y="80643"/>
                    </a:lnTo>
                    <a:cubicBezTo>
                      <a:pt x="104999" y="69895"/>
                      <a:pt x="113718" y="61204"/>
                      <a:pt x="124438" y="61204"/>
                    </a:cubicBezTo>
                    <a:lnTo>
                      <a:pt x="158342" y="61204"/>
                    </a:lnTo>
                    <a:cubicBezTo>
                      <a:pt x="161915" y="61204"/>
                      <a:pt x="164831" y="58288"/>
                      <a:pt x="164831" y="54715"/>
                    </a:cubicBezTo>
                    <a:lnTo>
                      <a:pt x="164831" y="6489"/>
                    </a:lnTo>
                    <a:cubicBezTo>
                      <a:pt x="164831" y="2916"/>
                      <a:pt x="161915" y="0"/>
                      <a:pt x="158342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101820"/>
                  </a:solidFill>
                  <a:effectLst/>
                  <a:uLnTx/>
                  <a:uFillTx/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  <p:sp>
            <p:nvSpPr>
              <p:cNvPr id="13" name="Google Shape;17;p61">
                <a:extLst>
                  <a:ext uri="{FF2B5EF4-FFF2-40B4-BE49-F238E27FC236}">
                    <a16:creationId xmlns:a16="http://schemas.microsoft.com/office/drawing/2014/main" id="{41ABBF75-8BFB-4851-1DD3-4C4A5B34C9AE}"/>
                  </a:ext>
                </a:extLst>
              </p:cNvPr>
              <p:cNvSpPr/>
              <p:nvPr/>
            </p:nvSpPr>
            <p:spPr>
              <a:xfrm>
                <a:off x="10860611" y="3304224"/>
                <a:ext cx="53657" cy="53657"/>
              </a:xfrm>
              <a:custGeom>
                <a:avLst/>
                <a:gdLst/>
                <a:ahLst/>
                <a:cxnLst/>
                <a:rect l="l" t="t" r="r" b="b"/>
                <a:pathLst>
                  <a:path w="53657" h="53657" extrusionOk="0">
                    <a:moveTo>
                      <a:pt x="53657" y="26786"/>
                    </a:moveTo>
                    <a:cubicBezTo>
                      <a:pt x="53657" y="41708"/>
                      <a:pt x="41708" y="53657"/>
                      <a:pt x="26729" y="53657"/>
                    </a:cubicBezTo>
                    <a:cubicBezTo>
                      <a:pt x="11749" y="53657"/>
                      <a:pt x="0" y="41594"/>
                      <a:pt x="0" y="26786"/>
                    </a:cubicBezTo>
                    <a:cubicBezTo>
                      <a:pt x="0" y="11978"/>
                      <a:pt x="11949" y="0"/>
                      <a:pt x="26814" y="0"/>
                    </a:cubicBezTo>
                    <a:cubicBezTo>
                      <a:pt x="41679" y="0"/>
                      <a:pt x="53629" y="11892"/>
                      <a:pt x="53629" y="26786"/>
                    </a:cubicBezTo>
                    <a:close/>
                    <a:moveTo>
                      <a:pt x="49541" y="26900"/>
                    </a:moveTo>
                    <a:cubicBezTo>
                      <a:pt x="49541" y="14036"/>
                      <a:pt x="39392" y="3831"/>
                      <a:pt x="26843" y="3831"/>
                    </a:cubicBezTo>
                    <a:cubicBezTo>
                      <a:pt x="14293" y="3831"/>
                      <a:pt x="4145" y="13922"/>
                      <a:pt x="4145" y="26872"/>
                    </a:cubicBezTo>
                    <a:cubicBezTo>
                      <a:pt x="4145" y="39821"/>
                      <a:pt x="14408" y="49884"/>
                      <a:pt x="26729" y="49884"/>
                    </a:cubicBezTo>
                    <a:cubicBezTo>
                      <a:pt x="39049" y="49884"/>
                      <a:pt x="49541" y="39736"/>
                      <a:pt x="49541" y="26900"/>
                    </a:cubicBezTo>
                    <a:close/>
                    <a:moveTo>
                      <a:pt x="32589" y="31131"/>
                    </a:moveTo>
                    <a:lnTo>
                      <a:pt x="39335" y="41622"/>
                    </a:lnTo>
                    <a:lnTo>
                      <a:pt x="34876" y="41622"/>
                    </a:lnTo>
                    <a:lnTo>
                      <a:pt x="27386" y="29730"/>
                    </a:lnTo>
                    <a:lnTo>
                      <a:pt x="20554" y="29730"/>
                    </a:lnTo>
                    <a:lnTo>
                      <a:pt x="20554" y="41622"/>
                    </a:lnTo>
                    <a:lnTo>
                      <a:pt x="16809" y="41622"/>
                    </a:lnTo>
                    <a:lnTo>
                      <a:pt x="16809" y="11549"/>
                    </a:lnTo>
                    <a:lnTo>
                      <a:pt x="28472" y="11549"/>
                    </a:lnTo>
                    <a:cubicBezTo>
                      <a:pt x="34218" y="11549"/>
                      <a:pt x="37963" y="14636"/>
                      <a:pt x="37963" y="20411"/>
                    </a:cubicBezTo>
                    <a:cubicBezTo>
                      <a:pt x="37963" y="25071"/>
                      <a:pt x="35133" y="27958"/>
                      <a:pt x="31131" y="29101"/>
                    </a:cubicBezTo>
                    <a:cubicBezTo>
                      <a:pt x="31674" y="29702"/>
                      <a:pt x="32217" y="30445"/>
                      <a:pt x="32589" y="31160"/>
                    </a:cubicBezTo>
                    <a:close/>
                    <a:moveTo>
                      <a:pt x="27214" y="26185"/>
                    </a:moveTo>
                    <a:cubicBezTo>
                      <a:pt x="31445" y="26185"/>
                      <a:pt x="34047" y="24184"/>
                      <a:pt x="34047" y="20640"/>
                    </a:cubicBezTo>
                    <a:cubicBezTo>
                      <a:pt x="34047" y="17095"/>
                      <a:pt x="32246" y="15037"/>
                      <a:pt x="28558" y="15037"/>
                    </a:cubicBezTo>
                    <a:lnTo>
                      <a:pt x="20525" y="15037"/>
                    </a:lnTo>
                    <a:lnTo>
                      <a:pt x="20525" y="26157"/>
                    </a:lnTo>
                    <a:lnTo>
                      <a:pt x="27214" y="26157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101820"/>
                  </a:solidFill>
                  <a:effectLst/>
                  <a:uLnTx/>
                  <a:uFillTx/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  <p:sp>
            <p:nvSpPr>
              <p:cNvPr id="14" name="Google Shape;18;p61">
                <a:extLst>
                  <a:ext uri="{FF2B5EF4-FFF2-40B4-BE49-F238E27FC236}">
                    <a16:creationId xmlns:a16="http://schemas.microsoft.com/office/drawing/2014/main" id="{B0543D11-30CE-FCC5-27EF-EA0B2207933E}"/>
                  </a:ext>
                </a:extLst>
              </p:cNvPr>
              <p:cNvSpPr/>
              <p:nvPr/>
            </p:nvSpPr>
            <p:spPr>
              <a:xfrm>
                <a:off x="10283815" y="3011724"/>
                <a:ext cx="68865" cy="342354"/>
              </a:xfrm>
              <a:custGeom>
                <a:avLst/>
                <a:gdLst/>
                <a:ahLst/>
                <a:cxnLst/>
                <a:rect l="l" t="t" r="r" b="b"/>
                <a:pathLst>
                  <a:path w="68865" h="342354" extrusionOk="0">
                    <a:moveTo>
                      <a:pt x="62376" y="0"/>
                    </a:moveTo>
                    <a:cubicBezTo>
                      <a:pt x="65960" y="0"/>
                      <a:pt x="68866" y="2905"/>
                      <a:pt x="68866" y="6489"/>
                    </a:cubicBezTo>
                    <a:lnTo>
                      <a:pt x="68866" y="335865"/>
                    </a:lnTo>
                    <a:cubicBezTo>
                      <a:pt x="68866" y="339449"/>
                      <a:pt x="65960" y="342355"/>
                      <a:pt x="62376" y="342355"/>
                    </a:cubicBezTo>
                    <a:lnTo>
                      <a:pt x="6489" y="342355"/>
                    </a:lnTo>
                    <a:cubicBezTo>
                      <a:pt x="2905" y="342355"/>
                      <a:pt x="0" y="339449"/>
                      <a:pt x="0" y="335865"/>
                    </a:cubicBezTo>
                    <a:lnTo>
                      <a:pt x="0" y="6489"/>
                    </a:lnTo>
                    <a:cubicBezTo>
                      <a:pt x="0" y="2905"/>
                      <a:pt x="2905" y="0"/>
                      <a:pt x="6489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101820"/>
                  </a:solidFill>
                  <a:effectLst/>
                  <a:uLnTx/>
                  <a:uFillTx/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  <p:sp>
            <p:nvSpPr>
              <p:cNvPr id="15" name="Google Shape;19;p61">
                <a:extLst>
                  <a:ext uri="{FF2B5EF4-FFF2-40B4-BE49-F238E27FC236}">
                    <a16:creationId xmlns:a16="http://schemas.microsoft.com/office/drawing/2014/main" id="{B43DC561-9BF2-66E1-F0AC-70973F9B90B9}"/>
                  </a:ext>
                </a:extLst>
              </p:cNvPr>
              <p:cNvSpPr/>
              <p:nvPr/>
            </p:nvSpPr>
            <p:spPr>
              <a:xfrm>
                <a:off x="10006809" y="3011696"/>
                <a:ext cx="258538" cy="347300"/>
              </a:xfrm>
              <a:custGeom>
                <a:avLst/>
                <a:gdLst/>
                <a:ahLst/>
                <a:cxnLst/>
                <a:rect l="l" t="t" r="r" b="b"/>
                <a:pathLst>
                  <a:path w="258538" h="347300" extrusionOk="0">
                    <a:moveTo>
                      <a:pt x="143734" y="93393"/>
                    </a:moveTo>
                    <a:cubicBezTo>
                      <a:pt x="111946" y="93393"/>
                      <a:pt x="85503" y="107172"/>
                      <a:pt x="68894" y="129755"/>
                    </a:cubicBezTo>
                    <a:lnTo>
                      <a:pt x="68894" y="6489"/>
                    </a:lnTo>
                    <a:cubicBezTo>
                      <a:pt x="68894" y="2916"/>
                      <a:pt x="65978" y="0"/>
                      <a:pt x="62405" y="0"/>
                    </a:cubicBezTo>
                    <a:lnTo>
                      <a:pt x="6489" y="0"/>
                    </a:lnTo>
                    <a:cubicBezTo>
                      <a:pt x="2916" y="0"/>
                      <a:pt x="0" y="2916"/>
                      <a:pt x="0" y="6489"/>
                    </a:cubicBezTo>
                    <a:lnTo>
                      <a:pt x="0" y="335894"/>
                    </a:lnTo>
                    <a:cubicBezTo>
                      <a:pt x="0" y="339467"/>
                      <a:pt x="2916" y="342383"/>
                      <a:pt x="6489" y="342383"/>
                    </a:cubicBezTo>
                    <a:lnTo>
                      <a:pt x="62405" y="342383"/>
                    </a:lnTo>
                    <a:cubicBezTo>
                      <a:pt x="65978" y="342383"/>
                      <a:pt x="68894" y="339467"/>
                      <a:pt x="68894" y="335894"/>
                    </a:cubicBezTo>
                    <a:lnTo>
                      <a:pt x="68894" y="311624"/>
                    </a:lnTo>
                    <a:cubicBezTo>
                      <a:pt x="85532" y="334236"/>
                      <a:pt x="111946" y="347300"/>
                      <a:pt x="144249" y="347300"/>
                    </a:cubicBezTo>
                    <a:cubicBezTo>
                      <a:pt x="212257" y="347300"/>
                      <a:pt x="258539" y="292442"/>
                      <a:pt x="258539" y="220689"/>
                    </a:cubicBezTo>
                    <a:cubicBezTo>
                      <a:pt x="258539" y="148937"/>
                      <a:pt x="212257" y="93393"/>
                      <a:pt x="143763" y="93393"/>
                    </a:cubicBezTo>
                    <a:close/>
                    <a:moveTo>
                      <a:pt x="130041" y="282637"/>
                    </a:moveTo>
                    <a:cubicBezTo>
                      <a:pt x="94822" y="282637"/>
                      <a:pt x="68894" y="254136"/>
                      <a:pt x="68894" y="220718"/>
                    </a:cubicBezTo>
                    <a:cubicBezTo>
                      <a:pt x="68894" y="187300"/>
                      <a:pt x="94822" y="159285"/>
                      <a:pt x="130041" y="159285"/>
                    </a:cubicBezTo>
                    <a:cubicBezTo>
                      <a:pt x="165260" y="159285"/>
                      <a:pt x="190216" y="187300"/>
                      <a:pt x="190216" y="220718"/>
                    </a:cubicBezTo>
                    <a:cubicBezTo>
                      <a:pt x="190216" y="254136"/>
                      <a:pt x="164774" y="282637"/>
                      <a:pt x="130041" y="282637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101820"/>
                  </a:solidFill>
                  <a:effectLst/>
                  <a:uLnTx/>
                  <a:uFillTx/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  <p:sp>
            <p:nvSpPr>
              <p:cNvPr id="16" name="Google Shape;20;p61">
                <a:extLst>
                  <a:ext uri="{FF2B5EF4-FFF2-40B4-BE49-F238E27FC236}">
                    <a16:creationId xmlns:a16="http://schemas.microsoft.com/office/drawing/2014/main" id="{E0115B26-761C-57C7-7ADC-D4D84E8216C4}"/>
                  </a:ext>
                </a:extLst>
              </p:cNvPr>
              <p:cNvSpPr/>
              <p:nvPr/>
            </p:nvSpPr>
            <p:spPr>
              <a:xfrm>
                <a:off x="9736922" y="3105088"/>
                <a:ext cx="251792" cy="253935"/>
              </a:xfrm>
              <a:custGeom>
                <a:avLst/>
                <a:gdLst/>
                <a:ahLst/>
                <a:cxnLst/>
                <a:rect l="l" t="t" r="r" b="b"/>
                <a:pathLst>
                  <a:path w="251792" h="253935" extrusionOk="0">
                    <a:moveTo>
                      <a:pt x="125896" y="0"/>
                    </a:moveTo>
                    <a:cubicBezTo>
                      <a:pt x="54944" y="0"/>
                      <a:pt x="0" y="55287"/>
                      <a:pt x="0" y="126725"/>
                    </a:cubicBezTo>
                    <a:cubicBezTo>
                      <a:pt x="0" y="198163"/>
                      <a:pt x="54915" y="253936"/>
                      <a:pt x="125896" y="253936"/>
                    </a:cubicBezTo>
                    <a:cubicBezTo>
                      <a:pt x="196877" y="253936"/>
                      <a:pt x="251792" y="198163"/>
                      <a:pt x="251792" y="126725"/>
                    </a:cubicBezTo>
                    <a:cubicBezTo>
                      <a:pt x="251792" y="55287"/>
                      <a:pt x="196877" y="0"/>
                      <a:pt x="125896" y="0"/>
                    </a:cubicBezTo>
                    <a:close/>
                    <a:moveTo>
                      <a:pt x="126153" y="188558"/>
                    </a:moveTo>
                    <a:cubicBezTo>
                      <a:pt x="91506" y="188558"/>
                      <a:pt x="65378" y="160314"/>
                      <a:pt x="65378" y="126725"/>
                    </a:cubicBezTo>
                    <a:cubicBezTo>
                      <a:pt x="65378" y="93136"/>
                      <a:pt x="91506" y="65378"/>
                      <a:pt x="126153" y="65378"/>
                    </a:cubicBezTo>
                    <a:cubicBezTo>
                      <a:pt x="160801" y="65378"/>
                      <a:pt x="186443" y="93136"/>
                      <a:pt x="186443" y="126725"/>
                    </a:cubicBezTo>
                    <a:cubicBezTo>
                      <a:pt x="186443" y="160314"/>
                      <a:pt x="161315" y="188558"/>
                      <a:pt x="126153" y="188558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101820"/>
                  </a:solidFill>
                  <a:effectLst/>
                  <a:uLnTx/>
                  <a:uFillTx/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  <p:sp>
            <p:nvSpPr>
              <p:cNvPr id="17" name="Google Shape;21;p61">
                <a:extLst>
                  <a:ext uri="{FF2B5EF4-FFF2-40B4-BE49-F238E27FC236}">
                    <a16:creationId xmlns:a16="http://schemas.microsoft.com/office/drawing/2014/main" id="{57D75432-9728-8ABD-3B01-3B57192D52C5}"/>
                  </a:ext>
                </a:extLst>
              </p:cNvPr>
              <p:cNvSpPr/>
              <p:nvPr/>
            </p:nvSpPr>
            <p:spPr>
              <a:xfrm>
                <a:off x="10370776" y="3105088"/>
                <a:ext cx="251792" cy="253935"/>
              </a:xfrm>
              <a:custGeom>
                <a:avLst/>
                <a:gdLst/>
                <a:ahLst/>
                <a:cxnLst/>
                <a:rect l="l" t="t" r="r" b="b"/>
                <a:pathLst>
                  <a:path w="251792" h="253935" extrusionOk="0">
                    <a:moveTo>
                      <a:pt x="125896" y="0"/>
                    </a:moveTo>
                    <a:cubicBezTo>
                      <a:pt x="54944" y="0"/>
                      <a:pt x="0" y="55287"/>
                      <a:pt x="0" y="126725"/>
                    </a:cubicBezTo>
                    <a:cubicBezTo>
                      <a:pt x="0" y="198163"/>
                      <a:pt x="54915" y="253936"/>
                      <a:pt x="125896" y="253936"/>
                    </a:cubicBezTo>
                    <a:cubicBezTo>
                      <a:pt x="196877" y="253936"/>
                      <a:pt x="251792" y="198163"/>
                      <a:pt x="251792" y="126725"/>
                    </a:cubicBezTo>
                    <a:cubicBezTo>
                      <a:pt x="251792" y="55287"/>
                      <a:pt x="196877" y="0"/>
                      <a:pt x="125896" y="0"/>
                    </a:cubicBezTo>
                    <a:close/>
                    <a:moveTo>
                      <a:pt x="126153" y="188558"/>
                    </a:moveTo>
                    <a:cubicBezTo>
                      <a:pt x="91506" y="188558"/>
                      <a:pt x="65378" y="160314"/>
                      <a:pt x="65378" y="126725"/>
                    </a:cubicBezTo>
                    <a:cubicBezTo>
                      <a:pt x="65378" y="93136"/>
                      <a:pt x="91506" y="65378"/>
                      <a:pt x="126153" y="65378"/>
                    </a:cubicBezTo>
                    <a:cubicBezTo>
                      <a:pt x="160801" y="65378"/>
                      <a:pt x="186443" y="93136"/>
                      <a:pt x="186443" y="126725"/>
                    </a:cubicBezTo>
                    <a:cubicBezTo>
                      <a:pt x="186443" y="160314"/>
                      <a:pt x="161315" y="188558"/>
                      <a:pt x="126153" y="188558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101820"/>
                  </a:solidFill>
                  <a:effectLst/>
                  <a:uLnTx/>
                  <a:uFillTx/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  <p:sp>
            <p:nvSpPr>
              <p:cNvPr id="18" name="Google Shape;22;p61">
                <a:extLst>
                  <a:ext uri="{FF2B5EF4-FFF2-40B4-BE49-F238E27FC236}">
                    <a16:creationId xmlns:a16="http://schemas.microsoft.com/office/drawing/2014/main" id="{B0656310-7935-952D-C509-77C8F89E7B22}"/>
                  </a:ext>
                </a:extLst>
              </p:cNvPr>
              <p:cNvSpPr/>
              <p:nvPr/>
            </p:nvSpPr>
            <p:spPr>
              <a:xfrm>
                <a:off x="9242171" y="3110092"/>
                <a:ext cx="68865" cy="243987"/>
              </a:xfrm>
              <a:custGeom>
                <a:avLst/>
                <a:gdLst/>
                <a:ahLst/>
                <a:cxnLst/>
                <a:rect l="l" t="t" r="r" b="b"/>
                <a:pathLst>
                  <a:path w="68865" h="243987" extrusionOk="0">
                    <a:moveTo>
                      <a:pt x="62405" y="243987"/>
                    </a:moveTo>
                    <a:lnTo>
                      <a:pt x="6489" y="243987"/>
                    </a:lnTo>
                    <a:cubicBezTo>
                      <a:pt x="2916" y="243987"/>
                      <a:pt x="0" y="241071"/>
                      <a:pt x="0" y="237498"/>
                    </a:cubicBezTo>
                    <a:lnTo>
                      <a:pt x="0" y="63891"/>
                    </a:lnTo>
                    <a:cubicBezTo>
                      <a:pt x="0" y="60403"/>
                      <a:pt x="1401" y="57059"/>
                      <a:pt x="3888" y="54629"/>
                    </a:cubicBezTo>
                    <a:lnTo>
                      <a:pt x="57860" y="1858"/>
                    </a:lnTo>
                    <a:cubicBezTo>
                      <a:pt x="61976" y="-2144"/>
                      <a:pt x="68866" y="743"/>
                      <a:pt x="68866" y="6489"/>
                    </a:cubicBezTo>
                    <a:lnTo>
                      <a:pt x="68866" y="237498"/>
                    </a:lnTo>
                    <a:cubicBezTo>
                      <a:pt x="68866" y="241071"/>
                      <a:pt x="65950" y="243987"/>
                      <a:pt x="62376" y="243987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101820"/>
                  </a:solidFill>
                  <a:effectLst/>
                  <a:uLnTx/>
                  <a:uFillTx/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  <p:sp>
            <p:nvSpPr>
              <p:cNvPr id="20" name="Google Shape;23;p61">
                <a:extLst>
                  <a:ext uri="{FF2B5EF4-FFF2-40B4-BE49-F238E27FC236}">
                    <a16:creationId xmlns:a16="http://schemas.microsoft.com/office/drawing/2014/main" id="{64786E3A-1D57-1EF3-C955-D870045AE5E3}"/>
                  </a:ext>
                </a:extLst>
              </p:cNvPr>
              <p:cNvSpPr/>
              <p:nvPr/>
            </p:nvSpPr>
            <p:spPr>
              <a:xfrm>
                <a:off x="9347255" y="3105025"/>
                <a:ext cx="224777" cy="249082"/>
              </a:xfrm>
              <a:custGeom>
                <a:avLst/>
                <a:gdLst/>
                <a:ahLst/>
                <a:cxnLst/>
                <a:rect l="l" t="t" r="r" b="b"/>
                <a:pathLst>
                  <a:path w="224777" h="249082" extrusionOk="0">
                    <a:moveTo>
                      <a:pt x="224749" y="87568"/>
                    </a:moveTo>
                    <a:cubicBezTo>
                      <a:pt x="224749" y="40257"/>
                      <a:pt x="185671" y="578"/>
                      <a:pt x="136416" y="6"/>
                    </a:cubicBezTo>
                    <a:cubicBezTo>
                      <a:pt x="104370" y="-365"/>
                      <a:pt x="82730" y="15329"/>
                      <a:pt x="68894" y="36540"/>
                    </a:cubicBezTo>
                    <a:lnTo>
                      <a:pt x="68894" y="11670"/>
                    </a:lnTo>
                    <a:cubicBezTo>
                      <a:pt x="68894" y="8097"/>
                      <a:pt x="65978" y="5181"/>
                      <a:pt x="62405" y="5181"/>
                    </a:cubicBezTo>
                    <a:lnTo>
                      <a:pt x="6489" y="5181"/>
                    </a:lnTo>
                    <a:cubicBezTo>
                      <a:pt x="2916" y="5181"/>
                      <a:pt x="0" y="8097"/>
                      <a:pt x="0" y="11670"/>
                    </a:cubicBezTo>
                    <a:lnTo>
                      <a:pt x="0" y="242565"/>
                    </a:lnTo>
                    <a:cubicBezTo>
                      <a:pt x="0" y="246138"/>
                      <a:pt x="2916" y="249054"/>
                      <a:pt x="6489" y="249054"/>
                    </a:cubicBezTo>
                    <a:lnTo>
                      <a:pt x="62405" y="249054"/>
                    </a:lnTo>
                    <a:cubicBezTo>
                      <a:pt x="65978" y="249054"/>
                      <a:pt x="68894" y="246138"/>
                      <a:pt x="68894" y="242565"/>
                    </a:cubicBezTo>
                    <a:lnTo>
                      <a:pt x="68894" y="108293"/>
                    </a:lnTo>
                    <a:cubicBezTo>
                      <a:pt x="70438" y="82451"/>
                      <a:pt x="86818" y="66385"/>
                      <a:pt x="112375" y="66385"/>
                    </a:cubicBezTo>
                    <a:cubicBezTo>
                      <a:pt x="137931" y="66385"/>
                      <a:pt x="155884" y="84423"/>
                      <a:pt x="155884" y="111266"/>
                    </a:cubicBezTo>
                    <a:lnTo>
                      <a:pt x="155884" y="242593"/>
                    </a:lnTo>
                    <a:cubicBezTo>
                      <a:pt x="155884" y="246167"/>
                      <a:pt x="158800" y="249083"/>
                      <a:pt x="162373" y="249083"/>
                    </a:cubicBezTo>
                    <a:lnTo>
                      <a:pt x="218289" y="249083"/>
                    </a:lnTo>
                    <a:cubicBezTo>
                      <a:pt x="221862" y="249083"/>
                      <a:pt x="224778" y="246167"/>
                      <a:pt x="224778" y="242593"/>
                    </a:cubicBezTo>
                    <a:lnTo>
                      <a:pt x="224778" y="8759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101820"/>
                  </a:solidFill>
                  <a:effectLst/>
                  <a:uLnTx/>
                  <a:uFillTx/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</p:grp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8EE0A3F7-2757-5A58-6CF3-FC450074CFD1}"/>
              </a:ext>
            </a:extLst>
          </p:cNvPr>
          <p:cNvSpPr/>
          <p:nvPr/>
        </p:nvSpPr>
        <p:spPr>
          <a:xfrm flipV="1">
            <a:off x="717546" y="5261489"/>
            <a:ext cx="5120640" cy="45719"/>
          </a:xfrm>
          <a:prstGeom prst="rect">
            <a:avLst/>
          </a:prstGeom>
          <a:gradFill>
            <a:gsLst>
              <a:gs pos="0">
                <a:srgbClr val="FFDE00"/>
              </a:gs>
              <a:gs pos="45000">
                <a:srgbClr val="00C02F"/>
              </a:gs>
              <a:gs pos="65000">
                <a:srgbClr val="00C02F"/>
              </a:gs>
              <a:gs pos="100000">
                <a:srgbClr val="00E3ED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gradFill>
                <a:gsLst>
                  <a:gs pos="65000">
                    <a:srgbClr val="00BD4D"/>
                  </a:gs>
                  <a:gs pos="0">
                    <a:srgbClr val="FEDD00"/>
                  </a:gs>
                  <a:gs pos="35000">
                    <a:srgbClr val="00BD4D"/>
                  </a:gs>
                  <a:gs pos="100000">
                    <a:srgbClr val="00E2EC"/>
                  </a:gs>
                </a:gsLst>
                <a:lin ang="2700000" scaled="0"/>
              </a:gradFill>
              <a:effectLst/>
              <a:uLnTx/>
              <a:uFillTx/>
              <a:latin typeface="Lato Light"/>
              <a:ea typeface="Lato Light"/>
              <a:cs typeface="Lato Light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69194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5A785F-B99A-2EB6-1CD6-CFAE251C98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lnut-sourced NETUK3 version demo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C58A687-AEBB-2A2F-F850-238900A2AAC6}"/>
              </a:ext>
            </a:extLst>
          </p:cNvPr>
          <p:cNvSpPr txBox="1"/>
          <p:nvPr/>
        </p:nvSpPr>
        <p:spPr>
          <a:xfrm>
            <a:off x="3491346" y="2598003"/>
            <a:ext cx="3911648" cy="830997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algn="l"/>
            <a:r>
              <a:rPr lang="en-US" sz="4800" dirty="0">
                <a:latin typeface="Lato" panose="020F0502020204030203" pitchFamily="34" charset="77"/>
              </a:rPr>
              <a:t>Click to play…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6323D0D-5BD5-037A-5F77-09E1D7320FC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/>
          <a:srcRect l="30346" t="40649" r="30311" b="39833"/>
          <a:stretch>
            <a:fillRect/>
          </a:stretch>
        </p:blipFill>
        <p:spPr bwMode="auto">
          <a:xfrm>
            <a:off x="10182152" y="6467484"/>
            <a:ext cx="816948" cy="212925"/>
          </a:xfrm>
          <a:prstGeom prst="rect">
            <a:avLst/>
          </a:prstGeom>
          <a:noFill/>
          <a:effectLst>
            <a:outerShdw blurRad="50800" dist="38100" dir="2700000" algn="tl" rotWithShape="0">
              <a:schemeClr val="accent1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340649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>
            <a:extLst>
              <a:ext uri="{FF2B5EF4-FFF2-40B4-BE49-F238E27FC236}">
                <a16:creationId xmlns:a16="http://schemas.microsoft.com/office/drawing/2014/main" id="{D3567A90-3543-9565-A0D0-9B64B5A29A5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/>
          <a:srcRect l="30346" t="40649" r="30311" b="39833"/>
          <a:stretch>
            <a:fillRect/>
          </a:stretch>
        </p:blipFill>
        <p:spPr bwMode="auto">
          <a:xfrm>
            <a:off x="7007902" y="432012"/>
            <a:ext cx="2334974" cy="608575"/>
          </a:xfrm>
          <a:prstGeom prst="rect">
            <a:avLst/>
          </a:prstGeom>
          <a:noFill/>
          <a:effectLst>
            <a:outerShdw blurRad="50800" dist="38100" dir="2700000" algn="tl" rotWithShape="0">
              <a:schemeClr val="accent1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itle 19">
            <a:extLst>
              <a:ext uri="{FF2B5EF4-FFF2-40B4-BE49-F238E27FC236}">
                <a16:creationId xmlns:a16="http://schemas.microsoft.com/office/drawing/2014/main" id="{FC91C923-D172-F5C0-6590-3EF0B2DD3B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68435" y="3007519"/>
            <a:ext cx="2608816" cy="1325563"/>
          </a:xfrm>
          <a:noFill/>
          <a:effectLst>
            <a:softEdge rad="317500"/>
          </a:effectLst>
        </p:spPr>
        <p:txBody>
          <a:bodyPr/>
          <a:lstStyle/>
          <a:p>
            <a:r>
              <a:rPr lang="en-US" sz="9600" dirty="0"/>
              <a:t>Q</a:t>
            </a:r>
            <a:r>
              <a:rPr lang="en-US" sz="4800" dirty="0"/>
              <a:t>&amp;</a:t>
            </a:r>
            <a:r>
              <a:rPr lang="en-US" sz="9600" dirty="0"/>
              <a:t>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7116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E69CEBC-B1CC-F4E3-1087-BF1F97FFAB0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/>
          <a:srcRect l="30346" t="40649" r="30311" b="39833"/>
          <a:stretch>
            <a:fillRect/>
          </a:stretch>
        </p:blipFill>
        <p:spPr bwMode="auto">
          <a:xfrm>
            <a:off x="10182152" y="6467484"/>
            <a:ext cx="816948" cy="212925"/>
          </a:xfrm>
          <a:prstGeom prst="rect">
            <a:avLst/>
          </a:prstGeom>
          <a:noFill/>
          <a:effectLst>
            <a:outerShdw blurRad="50800" dist="38100" dir="2700000" algn="tl" rotWithShape="0">
              <a:schemeClr val="accent1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75629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F0972D8-1909-059E-827E-7DA7DB4BCC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1219199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836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4;p61">
            <a:extLst>
              <a:ext uri="{FF2B5EF4-FFF2-40B4-BE49-F238E27FC236}">
                <a16:creationId xmlns:a16="http://schemas.microsoft.com/office/drawing/2014/main" id="{4E40AEFE-7A00-2749-9956-852798BBEA16}"/>
              </a:ext>
            </a:extLst>
          </p:cNvPr>
          <p:cNvSpPr txBox="1">
            <a:spLocks/>
          </p:cNvSpPr>
          <p:nvPr/>
        </p:nvSpPr>
        <p:spPr>
          <a:xfrm>
            <a:off x="576974" y="701171"/>
            <a:ext cx="6905133" cy="9169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800"/>
              <a:buFont typeface="Lato"/>
              <a:buNone/>
              <a:defRPr sz="4800" b="1" i="0" u="none" strike="noStrike" cap="none">
                <a:solidFill>
                  <a:schemeClr val="lt1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  <a:sym typeface="Lat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800"/>
              <a:buFont typeface="Lato"/>
              <a:buNone/>
              <a:tabLst/>
              <a:defRPr/>
            </a:pPr>
            <a:r>
              <a:rPr kumimoji="0" lang="en-US" sz="3400" b="1" i="0" u="none" strike="noStrike" kern="0" cap="none" spc="3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FORGED THROUGH CONSTANT</a:t>
            </a:r>
            <a:br>
              <a:rPr kumimoji="0" lang="en-US" sz="3400" b="1" i="0" u="none" strike="noStrike" kern="0" cap="none" spc="3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</a:br>
            <a:r>
              <a:rPr kumimoji="0" lang="en-US" sz="3400" b="1" i="0" u="none" strike="noStrike" kern="0" cap="all" spc="-30" normalizeH="0" baseline="0" noProof="0">
                <a:ln>
                  <a:noFill/>
                </a:ln>
                <a:gradFill>
                  <a:gsLst>
                    <a:gs pos="65000">
                      <a:srgbClr val="00BD4D"/>
                    </a:gs>
                    <a:gs pos="0">
                      <a:srgbClr val="FEDD00"/>
                    </a:gs>
                    <a:gs pos="35000">
                      <a:srgbClr val="00BD4D"/>
                    </a:gs>
                    <a:gs pos="100000">
                      <a:srgbClr val="00E2EC"/>
                    </a:gs>
                  </a:gsLst>
                  <a:lin ang="0" scaled="0"/>
                </a:gra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GROWTH AND INNOVATION</a:t>
            </a:r>
            <a:endParaRPr kumimoji="0" lang="en-US" sz="3400" b="1" i="0" u="none" strike="noStrike" kern="0" cap="all" spc="3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/>
            </a:endParaRPr>
          </a:p>
        </p:txBody>
      </p:sp>
      <p:grpSp>
        <p:nvGrpSpPr>
          <p:cNvPr id="2201" name="Group 2200">
            <a:extLst>
              <a:ext uri="{FF2B5EF4-FFF2-40B4-BE49-F238E27FC236}">
                <a16:creationId xmlns:a16="http://schemas.microsoft.com/office/drawing/2014/main" id="{872B9C17-9C79-47F0-E6B6-9F3919EDC2BC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4633" y="2425"/>
            <a:ext cx="12187367" cy="5667424"/>
            <a:chOff x="738197" y="2425"/>
            <a:chExt cx="11473763" cy="5667424"/>
          </a:xfrm>
        </p:grpSpPr>
        <p:sp>
          <p:nvSpPr>
            <p:cNvPr id="2127" name="Freeform: Shape 2126">
              <a:extLst>
                <a:ext uri="{FF2B5EF4-FFF2-40B4-BE49-F238E27FC236}">
                  <a16:creationId xmlns:a16="http://schemas.microsoft.com/office/drawing/2014/main" id="{7B2C7583-3785-92FB-8506-783D9B2DF8F1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738197" y="2425"/>
              <a:ext cx="11473763" cy="5667424"/>
            </a:xfrm>
            <a:custGeom>
              <a:avLst/>
              <a:gdLst>
                <a:gd name="connsiteX0" fmla="*/ 0 w 11499850"/>
                <a:gd name="connsiteY0" fmla="*/ 5118100 h 5118100"/>
                <a:gd name="connsiteX1" fmla="*/ 11499850 w 11499850"/>
                <a:gd name="connsiteY1" fmla="*/ 5118100 h 5118100"/>
                <a:gd name="connsiteX2" fmla="*/ 11499850 w 11499850"/>
                <a:gd name="connsiteY2" fmla="*/ 0 h 5118100"/>
                <a:gd name="connsiteX3" fmla="*/ 10902950 w 11499850"/>
                <a:gd name="connsiteY3" fmla="*/ 558800 h 5118100"/>
                <a:gd name="connsiteX4" fmla="*/ 10109200 w 11499850"/>
                <a:gd name="connsiteY4" fmla="*/ 1104900 h 5118100"/>
                <a:gd name="connsiteX5" fmla="*/ 9372600 w 11499850"/>
                <a:gd name="connsiteY5" fmla="*/ 1752600 h 5118100"/>
                <a:gd name="connsiteX6" fmla="*/ 8616950 w 11499850"/>
                <a:gd name="connsiteY6" fmla="*/ 2152650 h 5118100"/>
                <a:gd name="connsiteX7" fmla="*/ 7899400 w 11499850"/>
                <a:gd name="connsiteY7" fmla="*/ 2489200 h 5118100"/>
                <a:gd name="connsiteX8" fmla="*/ 7004050 w 11499850"/>
                <a:gd name="connsiteY8" fmla="*/ 3016250 h 5118100"/>
                <a:gd name="connsiteX9" fmla="*/ 6051550 w 11499850"/>
                <a:gd name="connsiteY9" fmla="*/ 3314700 h 5118100"/>
                <a:gd name="connsiteX10" fmla="*/ 5340350 w 11499850"/>
                <a:gd name="connsiteY10" fmla="*/ 3683000 h 5118100"/>
                <a:gd name="connsiteX11" fmla="*/ 4483100 w 11499850"/>
                <a:gd name="connsiteY11" fmla="*/ 3810000 h 5118100"/>
                <a:gd name="connsiteX12" fmla="*/ 3746500 w 11499850"/>
                <a:gd name="connsiteY12" fmla="*/ 4108450 h 5118100"/>
                <a:gd name="connsiteX13" fmla="*/ 3067050 w 11499850"/>
                <a:gd name="connsiteY13" fmla="*/ 4222750 h 5118100"/>
                <a:gd name="connsiteX14" fmla="*/ 2178050 w 11499850"/>
                <a:gd name="connsiteY14" fmla="*/ 4241800 h 5118100"/>
                <a:gd name="connsiteX15" fmla="*/ 1371600 w 11499850"/>
                <a:gd name="connsiteY15" fmla="*/ 4711700 h 5118100"/>
                <a:gd name="connsiteX16" fmla="*/ 298450 w 11499850"/>
                <a:gd name="connsiteY16" fmla="*/ 4832350 h 5118100"/>
                <a:gd name="connsiteX17" fmla="*/ 0 w 11499850"/>
                <a:gd name="connsiteY17" fmla="*/ 5118100 h 5118100"/>
                <a:gd name="connsiteX0" fmla="*/ 0 w 11499850"/>
                <a:gd name="connsiteY0" fmla="*/ 5118100 h 5118100"/>
                <a:gd name="connsiteX1" fmla="*/ 11487150 w 11499850"/>
                <a:gd name="connsiteY1" fmla="*/ 5118100 h 5118100"/>
                <a:gd name="connsiteX2" fmla="*/ 11499850 w 11499850"/>
                <a:gd name="connsiteY2" fmla="*/ 0 h 5118100"/>
                <a:gd name="connsiteX3" fmla="*/ 10902950 w 11499850"/>
                <a:gd name="connsiteY3" fmla="*/ 558800 h 5118100"/>
                <a:gd name="connsiteX4" fmla="*/ 10109200 w 11499850"/>
                <a:gd name="connsiteY4" fmla="*/ 1104900 h 5118100"/>
                <a:gd name="connsiteX5" fmla="*/ 9372600 w 11499850"/>
                <a:gd name="connsiteY5" fmla="*/ 1752600 h 5118100"/>
                <a:gd name="connsiteX6" fmla="*/ 8616950 w 11499850"/>
                <a:gd name="connsiteY6" fmla="*/ 2152650 h 5118100"/>
                <a:gd name="connsiteX7" fmla="*/ 7899400 w 11499850"/>
                <a:gd name="connsiteY7" fmla="*/ 2489200 h 5118100"/>
                <a:gd name="connsiteX8" fmla="*/ 7004050 w 11499850"/>
                <a:gd name="connsiteY8" fmla="*/ 3016250 h 5118100"/>
                <a:gd name="connsiteX9" fmla="*/ 6051550 w 11499850"/>
                <a:gd name="connsiteY9" fmla="*/ 3314700 h 5118100"/>
                <a:gd name="connsiteX10" fmla="*/ 5340350 w 11499850"/>
                <a:gd name="connsiteY10" fmla="*/ 3683000 h 5118100"/>
                <a:gd name="connsiteX11" fmla="*/ 4483100 w 11499850"/>
                <a:gd name="connsiteY11" fmla="*/ 3810000 h 5118100"/>
                <a:gd name="connsiteX12" fmla="*/ 3746500 w 11499850"/>
                <a:gd name="connsiteY12" fmla="*/ 4108450 h 5118100"/>
                <a:gd name="connsiteX13" fmla="*/ 3067050 w 11499850"/>
                <a:gd name="connsiteY13" fmla="*/ 4222750 h 5118100"/>
                <a:gd name="connsiteX14" fmla="*/ 2178050 w 11499850"/>
                <a:gd name="connsiteY14" fmla="*/ 4241800 h 5118100"/>
                <a:gd name="connsiteX15" fmla="*/ 1371600 w 11499850"/>
                <a:gd name="connsiteY15" fmla="*/ 4711700 h 5118100"/>
                <a:gd name="connsiteX16" fmla="*/ 298450 w 11499850"/>
                <a:gd name="connsiteY16" fmla="*/ 4832350 h 5118100"/>
                <a:gd name="connsiteX17" fmla="*/ 0 w 11499850"/>
                <a:gd name="connsiteY17" fmla="*/ 5118100 h 5118100"/>
                <a:gd name="connsiteX0" fmla="*/ 0 w 11488371"/>
                <a:gd name="connsiteY0" fmla="*/ 5111750 h 5111750"/>
                <a:gd name="connsiteX1" fmla="*/ 11487150 w 11488371"/>
                <a:gd name="connsiteY1" fmla="*/ 5111750 h 5111750"/>
                <a:gd name="connsiteX2" fmla="*/ 11487150 w 11488371"/>
                <a:gd name="connsiteY2" fmla="*/ 0 h 5111750"/>
                <a:gd name="connsiteX3" fmla="*/ 10902950 w 11488371"/>
                <a:gd name="connsiteY3" fmla="*/ 552450 h 5111750"/>
                <a:gd name="connsiteX4" fmla="*/ 10109200 w 11488371"/>
                <a:gd name="connsiteY4" fmla="*/ 1098550 h 5111750"/>
                <a:gd name="connsiteX5" fmla="*/ 9372600 w 11488371"/>
                <a:gd name="connsiteY5" fmla="*/ 1746250 h 5111750"/>
                <a:gd name="connsiteX6" fmla="*/ 8616950 w 11488371"/>
                <a:gd name="connsiteY6" fmla="*/ 2146300 h 5111750"/>
                <a:gd name="connsiteX7" fmla="*/ 7899400 w 11488371"/>
                <a:gd name="connsiteY7" fmla="*/ 2482850 h 5111750"/>
                <a:gd name="connsiteX8" fmla="*/ 7004050 w 11488371"/>
                <a:gd name="connsiteY8" fmla="*/ 3009900 h 5111750"/>
                <a:gd name="connsiteX9" fmla="*/ 6051550 w 11488371"/>
                <a:gd name="connsiteY9" fmla="*/ 3308350 h 5111750"/>
                <a:gd name="connsiteX10" fmla="*/ 5340350 w 11488371"/>
                <a:gd name="connsiteY10" fmla="*/ 3676650 h 5111750"/>
                <a:gd name="connsiteX11" fmla="*/ 4483100 w 11488371"/>
                <a:gd name="connsiteY11" fmla="*/ 3803650 h 5111750"/>
                <a:gd name="connsiteX12" fmla="*/ 3746500 w 11488371"/>
                <a:gd name="connsiteY12" fmla="*/ 4102100 h 5111750"/>
                <a:gd name="connsiteX13" fmla="*/ 3067050 w 11488371"/>
                <a:gd name="connsiteY13" fmla="*/ 4216400 h 5111750"/>
                <a:gd name="connsiteX14" fmla="*/ 2178050 w 11488371"/>
                <a:gd name="connsiteY14" fmla="*/ 4235450 h 5111750"/>
                <a:gd name="connsiteX15" fmla="*/ 1371600 w 11488371"/>
                <a:gd name="connsiteY15" fmla="*/ 4705350 h 5111750"/>
                <a:gd name="connsiteX16" fmla="*/ 298450 w 11488371"/>
                <a:gd name="connsiteY16" fmla="*/ 4826000 h 5111750"/>
                <a:gd name="connsiteX17" fmla="*/ 0 w 11488371"/>
                <a:gd name="connsiteY17" fmla="*/ 5111750 h 5111750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902950 w 11487681"/>
                <a:gd name="connsiteY3" fmla="*/ 1108124 h 5667424"/>
                <a:gd name="connsiteX4" fmla="*/ 10109200 w 11487681"/>
                <a:gd name="connsiteY4" fmla="*/ 1654224 h 5667424"/>
                <a:gd name="connsiteX5" fmla="*/ 9372600 w 11487681"/>
                <a:gd name="connsiteY5" fmla="*/ 2301924 h 5667424"/>
                <a:gd name="connsiteX6" fmla="*/ 8616950 w 11487681"/>
                <a:gd name="connsiteY6" fmla="*/ 2701974 h 5667424"/>
                <a:gd name="connsiteX7" fmla="*/ 7899400 w 11487681"/>
                <a:gd name="connsiteY7" fmla="*/ 3038524 h 5667424"/>
                <a:gd name="connsiteX8" fmla="*/ 7004050 w 11487681"/>
                <a:gd name="connsiteY8" fmla="*/ 3565574 h 5667424"/>
                <a:gd name="connsiteX9" fmla="*/ 6051550 w 11487681"/>
                <a:gd name="connsiteY9" fmla="*/ 3864024 h 5667424"/>
                <a:gd name="connsiteX10" fmla="*/ 5340350 w 11487681"/>
                <a:gd name="connsiteY10" fmla="*/ 4232324 h 5667424"/>
                <a:gd name="connsiteX11" fmla="*/ 4483100 w 11487681"/>
                <a:gd name="connsiteY11" fmla="*/ 4359324 h 5667424"/>
                <a:gd name="connsiteX12" fmla="*/ 3746500 w 11487681"/>
                <a:gd name="connsiteY12" fmla="*/ 4657774 h 5667424"/>
                <a:gd name="connsiteX13" fmla="*/ 3067050 w 11487681"/>
                <a:gd name="connsiteY13" fmla="*/ 4772074 h 5667424"/>
                <a:gd name="connsiteX14" fmla="*/ 2178050 w 11487681"/>
                <a:gd name="connsiteY14" fmla="*/ 4791124 h 5667424"/>
                <a:gd name="connsiteX15" fmla="*/ 1371600 w 11487681"/>
                <a:gd name="connsiteY15" fmla="*/ 5261024 h 5667424"/>
                <a:gd name="connsiteX16" fmla="*/ 298450 w 11487681"/>
                <a:gd name="connsiteY16" fmla="*/ 5381674 h 5667424"/>
                <a:gd name="connsiteX17" fmla="*/ 0 w 11487681"/>
                <a:gd name="connsiteY17" fmla="*/ 5667424 h 566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487681" h="5667424">
                  <a:moveTo>
                    <a:pt x="0" y="5667424"/>
                  </a:moveTo>
                  <a:lnTo>
                    <a:pt x="11487150" y="5667424"/>
                  </a:lnTo>
                  <a:cubicBezTo>
                    <a:pt x="11491383" y="3961391"/>
                    <a:pt x="11468831" y="1706033"/>
                    <a:pt x="11473064" y="0"/>
                  </a:cubicBezTo>
                  <a:lnTo>
                    <a:pt x="10902950" y="1108124"/>
                  </a:lnTo>
                  <a:lnTo>
                    <a:pt x="10109200" y="1654224"/>
                  </a:lnTo>
                  <a:lnTo>
                    <a:pt x="9372600" y="2301924"/>
                  </a:lnTo>
                  <a:lnTo>
                    <a:pt x="8616950" y="2701974"/>
                  </a:lnTo>
                  <a:lnTo>
                    <a:pt x="7899400" y="3038524"/>
                  </a:lnTo>
                  <a:lnTo>
                    <a:pt x="7004050" y="3565574"/>
                  </a:lnTo>
                  <a:lnTo>
                    <a:pt x="6051550" y="3864024"/>
                  </a:lnTo>
                  <a:lnTo>
                    <a:pt x="5340350" y="4232324"/>
                  </a:lnTo>
                  <a:lnTo>
                    <a:pt x="4483100" y="4359324"/>
                  </a:lnTo>
                  <a:lnTo>
                    <a:pt x="3746500" y="4657774"/>
                  </a:lnTo>
                  <a:lnTo>
                    <a:pt x="3067050" y="4772074"/>
                  </a:lnTo>
                  <a:lnTo>
                    <a:pt x="2178050" y="4791124"/>
                  </a:lnTo>
                  <a:lnTo>
                    <a:pt x="1371600" y="5261024"/>
                  </a:lnTo>
                  <a:lnTo>
                    <a:pt x="298450" y="5381674"/>
                  </a:lnTo>
                  <a:lnTo>
                    <a:pt x="0" y="5667424"/>
                  </a:lnTo>
                  <a:close/>
                </a:path>
              </a:pathLst>
            </a:custGeom>
            <a:solidFill>
              <a:srgbClr val="666666">
                <a:alpha val="23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2128" name="Freeform: Shape 2127">
              <a:extLst>
                <a:ext uri="{FF2B5EF4-FFF2-40B4-BE49-F238E27FC236}">
                  <a16:creationId xmlns:a16="http://schemas.microsoft.com/office/drawing/2014/main" id="{7103A71E-6ED7-C578-E886-FDDF28A1EAB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738197" y="2425"/>
              <a:ext cx="11473763" cy="5667424"/>
            </a:xfrm>
            <a:custGeom>
              <a:avLst/>
              <a:gdLst>
                <a:gd name="connsiteX0" fmla="*/ 0 w 11499850"/>
                <a:gd name="connsiteY0" fmla="*/ 5118100 h 5118100"/>
                <a:gd name="connsiteX1" fmla="*/ 11499850 w 11499850"/>
                <a:gd name="connsiteY1" fmla="*/ 5118100 h 5118100"/>
                <a:gd name="connsiteX2" fmla="*/ 11499850 w 11499850"/>
                <a:gd name="connsiteY2" fmla="*/ 0 h 5118100"/>
                <a:gd name="connsiteX3" fmla="*/ 10902950 w 11499850"/>
                <a:gd name="connsiteY3" fmla="*/ 558800 h 5118100"/>
                <a:gd name="connsiteX4" fmla="*/ 10109200 w 11499850"/>
                <a:gd name="connsiteY4" fmla="*/ 1104900 h 5118100"/>
                <a:gd name="connsiteX5" fmla="*/ 9372600 w 11499850"/>
                <a:gd name="connsiteY5" fmla="*/ 1752600 h 5118100"/>
                <a:gd name="connsiteX6" fmla="*/ 8616950 w 11499850"/>
                <a:gd name="connsiteY6" fmla="*/ 2152650 h 5118100"/>
                <a:gd name="connsiteX7" fmla="*/ 7899400 w 11499850"/>
                <a:gd name="connsiteY7" fmla="*/ 2489200 h 5118100"/>
                <a:gd name="connsiteX8" fmla="*/ 7004050 w 11499850"/>
                <a:gd name="connsiteY8" fmla="*/ 3016250 h 5118100"/>
                <a:gd name="connsiteX9" fmla="*/ 6051550 w 11499850"/>
                <a:gd name="connsiteY9" fmla="*/ 3314700 h 5118100"/>
                <a:gd name="connsiteX10" fmla="*/ 5340350 w 11499850"/>
                <a:gd name="connsiteY10" fmla="*/ 3683000 h 5118100"/>
                <a:gd name="connsiteX11" fmla="*/ 4483100 w 11499850"/>
                <a:gd name="connsiteY11" fmla="*/ 3810000 h 5118100"/>
                <a:gd name="connsiteX12" fmla="*/ 3746500 w 11499850"/>
                <a:gd name="connsiteY12" fmla="*/ 4108450 h 5118100"/>
                <a:gd name="connsiteX13" fmla="*/ 3067050 w 11499850"/>
                <a:gd name="connsiteY13" fmla="*/ 4222750 h 5118100"/>
                <a:gd name="connsiteX14" fmla="*/ 2178050 w 11499850"/>
                <a:gd name="connsiteY14" fmla="*/ 4241800 h 5118100"/>
                <a:gd name="connsiteX15" fmla="*/ 1371600 w 11499850"/>
                <a:gd name="connsiteY15" fmla="*/ 4711700 h 5118100"/>
                <a:gd name="connsiteX16" fmla="*/ 298450 w 11499850"/>
                <a:gd name="connsiteY16" fmla="*/ 4832350 h 5118100"/>
                <a:gd name="connsiteX17" fmla="*/ 0 w 11499850"/>
                <a:gd name="connsiteY17" fmla="*/ 5118100 h 5118100"/>
                <a:gd name="connsiteX0" fmla="*/ 0 w 11499850"/>
                <a:gd name="connsiteY0" fmla="*/ 5118100 h 5118100"/>
                <a:gd name="connsiteX1" fmla="*/ 11487150 w 11499850"/>
                <a:gd name="connsiteY1" fmla="*/ 5118100 h 5118100"/>
                <a:gd name="connsiteX2" fmla="*/ 11499850 w 11499850"/>
                <a:gd name="connsiteY2" fmla="*/ 0 h 5118100"/>
                <a:gd name="connsiteX3" fmla="*/ 10902950 w 11499850"/>
                <a:gd name="connsiteY3" fmla="*/ 558800 h 5118100"/>
                <a:gd name="connsiteX4" fmla="*/ 10109200 w 11499850"/>
                <a:gd name="connsiteY4" fmla="*/ 1104900 h 5118100"/>
                <a:gd name="connsiteX5" fmla="*/ 9372600 w 11499850"/>
                <a:gd name="connsiteY5" fmla="*/ 1752600 h 5118100"/>
                <a:gd name="connsiteX6" fmla="*/ 8616950 w 11499850"/>
                <a:gd name="connsiteY6" fmla="*/ 2152650 h 5118100"/>
                <a:gd name="connsiteX7" fmla="*/ 7899400 w 11499850"/>
                <a:gd name="connsiteY7" fmla="*/ 2489200 h 5118100"/>
                <a:gd name="connsiteX8" fmla="*/ 7004050 w 11499850"/>
                <a:gd name="connsiteY8" fmla="*/ 3016250 h 5118100"/>
                <a:gd name="connsiteX9" fmla="*/ 6051550 w 11499850"/>
                <a:gd name="connsiteY9" fmla="*/ 3314700 h 5118100"/>
                <a:gd name="connsiteX10" fmla="*/ 5340350 w 11499850"/>
                <a:gd name="connsiteY10" fmla="*/ 3683000 h 5118100"/>
                <a:gd name="connsiteX11" fmla="*/ 4483100 w 11499850"/>
                <a:gd name="connsiteY11" fmla="*/ 3810000 h 5118100"/>
                <a:gd name="connsiteX12" fmla="*/ 3746500 w 11499850"/>
                <a:gd name="connsiteY12" fmla="*/ 4108450 h 5118100"/>
                <a:gd name="connsiteX13" fmla="*/ 3067050 w 11499850"/>
                <a:gd name="connsiteY13" fmla="*/ 4222750 h 5118100"/>
                <a:gd name="connsiteX14" fmla="*/ 2178050 w 11499850"/>
                <a:gd name="connsiteY14" fmla="*/ 4241800 h 5118100"/>
                <a:gd name="connsiteX15" fmla="*/ 1371600 w 11499850"/>
                <a:gd name="connsiteY15" fmla="*/ 4711700 h 5118100"/>
                <a:gd name="connsiteX16" fmla="*/ 298450 w 11499850"/>
                <a:gd name="connsiteY16" fmla="*/ 4832350 h 5118100"/>
                <a:gd name="connsiteX17" fmla="*/ 0 w 11499850"/>
                <a:gd name="connsiteY17" fmla="*/ 5118100 h 5118100"/>
                <a:gd name="connsiteX0" fmla="*/ 0 w 11488371"/>
                <a:gd name="connsiteY0" fmla="*/ 5111750 h 5111750"/>
                <a:gd name="connsiteX1" fmla="*/ 11487150 w 11488371"/>
                <a:gd name="connsiteY1" fmla="*/ 5111750 h 5111750"/>
                <a:gd name="connsiteX2" fmla="*/ 11487150 w 11488371"/>
                <a:gd name="connsiteY2" fmla="*/ 0 h 5111750"/>
                <a:gd name="connsiteX3" fmla="*/ 10902950 w 11488371"/>
                <a:gd name="connsiteY3" fmla="*/ 552450 h 5111750"/>
                <a:gd name="connsiteX4" fmla="*/ 10109200 w 11488371"/>
                <a:gd name="connsiteY4" fmla="*/ 1098550 h 5111750"/>
                <a:gd name="connsiteX5" fmla="*/ 9372600 w 11488371"/>
                <a:gd name="connsiteY5" fmla="*/ 1746250 h 5111750"/>
                <a:gd name="connsiteX6" fmla="*/ 8616950 w 11488371"/>
                <a:gd name="connsiteY6" fmla="*/ 2146300 h 5111750"/>
                <a:gd name="connsiteX7" fmla="*/ 7899400 w 11488371"/>
                <a:gd name="connsiteY7" fmla="*/ 2482850 h 5111750"/>
                <a:gd name="connsiteX8" fmla="*/ 7004050 w 11488371"/>
                <a:gd name="connsiteY8" fmla="*/ 3009900 h 5111750"/>
                <a:gd name="connsiteX9" fmla="*/ 6051550 w 11488371"/>
                <a:gd name="connsiteY9" fmla="*/ 3308350 h 5111750"/>
                <a:gd name="connsiteX10" fmla="*/ 5340350 w 11488371"/>
                <a:gd name="connsiteY10" fmla="*/ 3676650 h 5111750"/>
                <a:gd name="connsiteX11" fmla="*/ 4483100 w 11488371"/>
                <a:gd name="connsiteY11" fmla="*/ 3803650 h 5111750"/>
                <a:gd name="connsiteX12" fmla="*/ 3746500 w 11488371"/>
                <a:gd name="connsiteY12" fmla="*/ 4102100 h 5111750"/>
                <a:gd name="connsiteX13" fmla="*/ 3067050 w 11488371"/>
                <a:gd name="connsiteY13" fmla="*/ 4216400 h 5111750"/>
                <a:gd name="connsiteX14" fmla="*/ 2178050 w 11488371"/>
                <a:gd name="connsiteY14" fmla="*/ 4235450 h 5111750"/>
                <a:gd name="connsiteX15" fmla="*/ 1371600 w 11488371"/>
                <a:gd name="connsiteY15" fmla="*/ 4705350 h 5111750"/>
                <a:gd name="connsiteX16" fmla="*/ 298450 w 11488371"/>
                <a:gd name="connsiteY16" fmla="*/ 4826000 h 5111750"/>
                <a:gd name="connsiteX17" fmla="*/ 0 w 11488371"/>
                <a:gd name="connsiteY17" fmla="*/ 5111750 h 5111750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902950 w 11487681"/>
                <a:gd name="connsiteY3" fmla="*/ 1108124 h 5667424"/>
                <a:gd name="connsiteX4" fmla="*/ 10109200 w 11487681"/>
                <a:gd name="connsiteY4" fmla="*/ 1654224 h 5667424"/>
                <a:gd name="connsiteX5" fmla="*/ 9372600 w 11487681"/>
                <a:gd name="connsiteY5" fmla="*/ 2301924 h 5667424"/>
                <a:gd name="connsiteX6" fmla="*/ 8616950 w 11487681"/>
                <a:gd name="connsiteY6" fmla="*/ 2701974 h 5667424"/>
                <a:gd name="connsiteX7" fmla="*/ 7899400 w 11487681"/>
                <a:gd name="connsiteY7" fmla="*/ 3038524 h 5667424"/>
                <a:gd name="connsiteX8" fmla="*/ 7004050 w 11487681"/>
                <a:gd name="connsiteY8" fmla="*/ 3565574 h 5667424"/>
                <a:gd name="connsiteX9" fmla="*/ 6051550 w 11487681"/>
                <a:gd name="connsiteY9" fmla="*/ 3864024 h 5667424"/>
                <a:gd name="connsiteX10" fmla="*/ 5340350 w 11487681"/>
                <a:gd name="connsiteY10" fmla="*/ 4232324 h 5667424"/>
                <a:gd name="connsiteX11" fmla="*/ 4483100 w 11487681"/>
                <a:gd name="connsiteY11" fmla="*/ 4359324 h 5667424"/>
                <a:gd name="connsiteX12" fmla="*/ 3746500 w 11487681"/>
                <a:gd name="connsiteY12" fmla="*/ 4657774 h 5667424"/>
                <a:gd name="connsiteX13" fmla="*/ 3067050 w 11487681"/>
                <a:gd name="connsiteY13" fmla="*/ 4772074 h 5667424"/>
                <a:gd name="connsiteX14" fmla="*/ 2178050 w 11487681"/>
                <a:gd name="connsiteY14" fmla="*/ 4791124 h 5667424"/>
                <a:gd name="connsiteX15" fmla="*/ 1371600 w 11487681"/>
                <a:gd name="connsiteY15" fmla="*/ 5261024 h 5667424"/>
                <a:gd name="connsiteX16" fmla="*/ 298450 w 11487681"/>
                <a:gd name="connsiteY16" fmla="*/ 5381674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902950 w 11487681"/>
                <a:gd name="connsiteY3" fmla="*/ 1108124 h 5667424"/>
                <a:gd name="connsiteX4" fmla="*/ 10109200 w 11487681"/>
                <a:gd name="connsiteY4" fmla="*/ 1654224 h 5667424"/>
                <a:gd name="connsiteX5" fmla="*/ 9372600 w 11487681"/>
                <a:gd name="connsiteY5" fmla="*/ 2301924 h 5667424"/>
                <a:gd name="connsiteX6" fmla="*/ 8616950 w 11487681"/>
                <a:gd name="connsiteY6" fmla="*/ 2701974 h 5667424"/>
                <a:gd name="connsiteX7" fmla="*/ 7899400 w 11487681"/>
                <a:gd name="connsiteY7" fmla="*/ 3038524 h 5667424"/>
                <a:gd name="connsiteX8" fmla="*/ 7004050 w 11487681"/>
                <a:gd name="connsiteY8" fmla="*/ 3565574 h 5667424"/>
                <a:gd name="connsiteX9" fmla="*/ 6051550 w 11487681"/>
                <a:gd name="connsiteY9" fmla="*/ 3864024 h 5667424"/>
                <a:gd name="connsiteX10" fmla="*/ 5340350 w 11487681"/>
                <a:gd name="connsiteY10" fmla="*/ 4232324 h 5667424"/>
                <a:gd name="connsiteX11" fmla="*/ 4483100 w 11487681"/>
                <a:gd name="connsiteY11" fmla="*/ 4359324 h 5667424"/>
                <a:gd name="connsiteX12" fmla="*/ 3746500 w 11487681"/>
                <a:gd name="connsiteY12" fmla="*/ 4657774 h 5667424"/>
                <a:gd name="connsiteX13" fmla="*/ 3067050 w 11487681"/>
                <a:gd name="connsiteY13" fmla="*/ 4772074 h 5667424"/>
                <a:gd name="connsiteX14" fmla="*/ 2178050 w 11487681"/>
                <a:gd name="connsiteY14" fmla="*/ 4791124 h 5667424"/>
                <a:gd name="connsiteX15" fmla="*/ 1371600 w 11487681"/>
                <a:gd name="connsiteY15" fmla="*/ 5261024 h 5667424"/>
                <a:gd name="connsiteX16" fmla="*/ 305492 w 11487681"/>
                <a:gd name="connsiteY16" fmla="*/ 5508283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902950 w 11487681"/>
                <a:gd name="connsiteY3" fmla="*/ 1108124 h 5667424"/>
                <a:gd name="connsiteX4" fmla="*/ 10109200 w 11487681"/>
                <a:gd name="connsiteY4" fmla="*/ 1654224 h 5667424"/>
                <a:gd name="connsiteX5" fmla="*/ 9372600 w 11487681"/>
                <a:gd name="connsiteY5" fmla="*/ 2301924 h 5667424"/>
                <a:gd name="connsiteX6" fmla="*/ 8616950 w 11487681"/>
                <a:gd name="connsiteY6" fmla="*/ 2701974 h 5667424"/>
                <a:gd name="connsiteX7" fmla="*/ 7899400 w 11487681"/>
                <a:gd name="connsiteY7" fmla="*/ 3038524 h 5667424"/>
                <a:gd name="connsiteX8" fmla="*/ 7004050 w 11487681"/>
                <a:gd name="connsiteY8" fmla="*/ 3565574 h 5667424"/>
                <a:gd name="connsiteX9" fmla="*/ 6051550 w 11487681"/>
                <a:gd name="connsiteY9" fmla="*/ 3864024 h 5667424"/>
                <a:gd name="connsiteX10" fmla="*/ 5340350 w 11487681"/>
                <a:gd name="connsiteY10" fmla="*/ 4232324 h 5667424"/>
                <a:gd name="connsiteX11" fmla="*/ 4483100 w 11487681"/>
                <a:gd name="connsiteY11" fmla="*/ 4359324 h 5667424"/>
                <a:gd name="connsiteX12" fmla="*/ 3746500 w 11487681"/>
                <a:gd name="connsiteY12" fmla="*/ 4657774 h 5667424"/>
                <a:gd name="connsiteX13" fmla="*/ 3067050 w 11487681"/>
                <a:gd name="connsiteY13" fmla="*/ 4772074 h 5667424"/>
                <a:gd name="connsiteX14" fmla="*/ 2178050 w 11487681"/>
                <a:gd name="connsiteY14" fmla="*/ 4791124 h 5667424"/>
                <a:gd name="connsiteX15" fmla="*/ 1371600 w 11487681"/>
                <a:gd name="connsiteY15" fmla="*/ 5408735 h 5667424"/>
                <a:gd name="connsiteX16" fmla="*/ 305492 w 11487681"/>
                <a:gd name="connsiteY16" fmla="*/ 5508283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902950 w 11487681"/>
                <a:gd name="connsiteY3" fmla="*/ 1108124 h 5667424"/>
                <a:gd name="connsiteX4" fmla="*/ 10109200 w 11487681"/>
                <a:gd name="connsiteY4" fmla="*/ 1654224 h 5667424"/>
                <a:gd name="connsiteX5" fmla="*/ 9372600 w 11487681"/>
                <a:gd name="connsiteY5" fmla="*/ 2301924 h 5667424"/>
                <a:gd name="connsiteX6" fmla="*/ 8616950 w 11487681"/>
                <a:gd name="connsiteY6" fmla="*/ 2701974 h 5667424"/>
                <a:gd name="connsiteX7" fmla="*/ 7899400 w 11487681"/>
                <a:gd name="connsiteY7" fmla="*/ 3038524 h 5667424"/>
                <a:gd name="connsiteX8" fmla="*/ 7004050 w 11487681"/>
                <a:gd name="connsiteY8" fmla="*/ 3565574 h 5667424"/>
                <a:gd name="connsiteX9" fmla="*/ 6051550 w 11487681"/>
                <a:gd name="connsiteY9" fmla="*/ 3864024 h 5667424"/>
                <a:gd name="connsiteX10" fmla="*/ 5340350 w 11487681"/>
                <a:gd name="connsiteY10" fmla="*/ 4232324 h 5667424"/>
                <a:gd name="connsiteX11" fmla="*/ 4483100 w 11487681"/>
                <a:gd name="connsiteY11" fmla="*/ 4359324 h 5667424"/>
                <a:gd name="connsiteX12" fmla="*/ 3746500 w 11487681"/>
                <a:gd name="connsiteY12" fmla="*/ 4657774 h 5667424"/>
                <a:gd name="connsiteX13" fmla="*/ 3067050 w 11487681"/>
                <a:gd name="connsiteY13" fmla="*/ 4772074 h 5667424"/>
                <a:gd name="connsiteX14" fmla="*/ 2178050 w 11487681"/>
                <a:gd name="connsiteY14" fmla="*/ 4791124 h 5667424"/>
                <a:gd name="connsiteX15" fmla="*/ 1336388 w 11487681"/>
                <a:gd name="connsiteY15" fmla="*/ 5436871 h 5667424"/>
                <a:gd name="connsiteX16" fmla="*/ 305492 w 11487681"/>
                <a:gd name="connsiteY16" fmla="*/ 5508283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902950 w 11487681"/>
                <a:gd name="connsiteY3" fmla="*/ 1108124 h 5667424"/>
                <a:gd name="connsiteX4" fmla="*/ 10109200 w 11487681"/>
                <a:gd name="connsiteY4" fmla="*/ 1654224 h 5667424"/>
                <a:gd name="connsiteX5" fmla="*/ 9372600 w 11487681"/>
                <a:gd name="connsiteY5" fmla="*/ 2301924 h 5667424"/>
                <a:gd name="connsiteX6" fmla="*/ 8616950 w 11487681"/>
                <a:gd name="connsiteY6" fmla="*/ 2701974 h 5667424"/>
                <a:gd name="connsiteX7" fmla="*/ 7899400 w 11487681"/>
                <a:gd name="connsiteY7" fmla="*/ 3038524 h 5667424"/>
                <a:gd name="connsiteX8" fmla="*/ 7004050 w 11487681"/>
                <a:gd name="connsiteY8" fmla="*/ 3565574 h 5667424"/>
                <a:gd name="connsiteX9" fmla="*/ 6051550 w 11487681"/>
                <a:gd name="connsiteY9" fmla="*/ 3864024 h 5667424"/>
                <a:gd name="connsiteX10" fmla="*/ 5340350 w 11487681"/>
                <a:gd name="connsiteY10" fmla="*/ 4232324 h 5667424"/>
                <a:gd name="connsiteX11" fmla="*/ 4483100 w 11487681"/>
                <a:gd name="connsiteY11" fmla="*/ 4359324 h 5667424"/>
                <a:gd name="connsiteX12" fmla="*/ 3746500 w 11487681"/>
                <a:gd name="connsiteY12" fmla="*/ 4657774 h 5667424"/>
                <a:gd name="connsiteX13" fmla="*/ 3067050 w 11487681"/>
                <a:gd name="connsiteY13" fmla="*/ 4772074 h 5667424"/>
                <a:gd name="connsiteX14" fmla="*/ 2227347 w 11487681"/>
                <a:gd name="connsiteY14" fmla="*/ 5058410 h 5667424"/>
                <a:gd name="connsiteX15" fmla="*/ 1336388 w 11487681"/>
                <a:gd name="connsiteY15" fmla="*/ 5436871 h 5667424"/>
                <a:gd name="connsiteX16" fmla="*/ 305492 w 11487681"/>
                <a:gd name="connsiteY16" fmla="*/ 5508283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902950 w 11487681"/>
                <a:gd name="connsiteY3" fmla="*/ 1108124 h 5667424"/>
                <a:gd name="connsiteX4" fmla="*/ 10109200 w 11487681"/>
                <a:gd name="connsiteY4" fmla="*/ 1654224 h 5667424"/>
                <a:gd name="connsiteX5" fmla="*/ 9372600 w 11487681"/>
                <a:gd name="connsiteY5" fmla="*/ 2301924 h 5667424"/>
                <a:gd name="connsiteX6" fmla="*/ 8616950 w 11487681"/>
                <a:gd name="connsiteY6" fmla="*/ 2701974 h 5667424"/>
                <a:gd name="connsiteX7" fmla="*/ 7899400 w 11487681"/>
                <a:gd name="connsiteY7" fmla="*/ 3038524 h 5667424"/>
                <a:gd name="connsiteX8" fmla="*/ 7004050 w 11487681"/>
                <a:gd name="connsiteY8" fmla="*/ 3565574 h 5667424"/>
                <a:gd name="connsiteX9" fmla="*/ 6051550 w 11487681"/>
                <a:gd name="connsiteY9" fmla="*/ 3864024 h 5667424"/>
                <a:gd name="connsiteX10" fmla="*/ 5340350 w 11487681"/>
                <a:gd name="connsiteY10" fmla="*/ 4232324 h 5667424"/>
                <a:gd name="connsiteX11" fmla="*/ 4483100 w 11487681"/>
                <a:gd name="connsiteY11" fmla="*/ 4359324 h 5667424"/>
                <a:gd name="connsiteX12" fmla="*/ 3746500 w 11487681"/>
                <a:gd name="connsiteY12" fmla="*/ 4657774 h 5667424"/>
                <a:gd name="connsiteX13" fmla="*/ 3052965 w 11487681"/>
                <a:gd name="connsiteY13" fmla="*/ 5067495 h 5667424"/>
                <a:gd name="connsiteX14" fmla="*/ 2227347 w 11487681"/>
                <a:gd name="connsiteY14" fmla="*/ 5058410 h 5667424"/>
                <a:gd name="connsiteX15" fmla="*/ 1336388 w 11487681"/>
                <a:gd name="connsiteY15" fmla="*/ 5436871 h 5667424"/>
                <a:gd name="connsiteX16" fmla="*/ 305492 w 11487681"/>
                <a:gd name="connsiteY16" fmla="*/ 5508283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902950 w 11487681"/>
                <a:gd name="connsiteY3" fmla="*/ 1108124 h 5667424"/>
                <a:gd name="connsiteX4" fmla="*/ 10109200 w 11487681"/>
                <a:gd name="connsiteY4" fmla="*/ 1654224 h 5667424"/>
                <a:gd name="connsiteX5" fmla="*/ 9372600 w 11487681"/>
                <a:gd name="connsiteY5" fmla="*/ 2301924 h 5667424"/>
                <a:gd name="connsiteX6" fmla="*/ 8616950 w 11487681"/>
                <a:gd name="connsiteY6" fmla="*/ 2701974 h 5667424"/>
                <a:gd name="connsiteX7" fmla="*/ 7899400 w 11487681"/>
                <a:gd name="connsiteY7" fmla="*/ 3038524 h 5667424"/>
                <a:gd name="connsiteX8" fmla="*/ 7004050 w 11487681"/>
                <a:gd name="connsiteY8" fmla="*/ 3565574 h 5667424"/>
                <a:gd name="connsiteX9" fmla="*/ 6051550 w 11487681"/>
                <a:gd name="connsiteY9" fmla="*/ 3864024 h 5667424"/>
                <a:gd name="connsiteX10" fmla="*/ 5340350 w 11487681"/>
                <a:gd name="connsiteY10" fmla="*/ 4232324 h 5667424"/>
                <a:gd name="connsiteX11" fmla="*/ 4483100 w 11487681"/>
                <a:gd name="connsiteY11" fmla="*/ 4359324 h 5667424"/>
                <a:gd name="connsiteX12" fmla="*/ 3760584 w 11487681"/>
                <a:gd name="connsiteY12" fmla="*/ 4882857 h 5667424"/>
                <a:gd name="connsiteX13" fmla="*/ 3052965 w 11487681"/>
                <a:gd name="connsiteY13" fmla="*/ 5067495 h 5667424"/>
                <a:gd name="connsiteX14" fmla="*/ 2227347 w 11487681"/>
                <a:gd name="connsiteY14" fmla="*/ 5058410 h 5667424"/>
                <a:gd name="connsiteX15" fmla="*/ 1336388 w 11487681"/>
                <a:gd name="connsiteY15" fmla="*/ 5436871 h 5667424"/>
                <a:gd name="connsiteX16" fmla="*/ 305492 w 11487681"/>
                <a:gd name="connsiteY16" fmla="*/ 5508283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902950 w 11487681"/>
                <a:gd name="connsiteY3" fmla="*/ 1108124 h 5667424"/>
                <a:gd name="connsiteX4" fmla="*/ 10109200 w 11487681"/>
                <a:gd name="connsiteY4" fmla="*/ 1654224 h 5667424"/>
                <a:gd name="connsiteX5" fmla="*/ 9372600 w 11487681"/>
                <a:gd name="connsiteY5" fmla="*/ 2301924 h 5667424"/>
                <a:gd name="connsiteX6" fmla="*/ 8616950 w 11487681"/>
                <a:gd name="connsiteY6" fmla="*/ 2701974 h 5667424"/>
                <a:gd name="connsiteX7" fmla="*/ 7899400 w 11487681"/>
                <a:gd name="connsiteY7" fmla="*/ 3038524 h 5667424"/>
                <a:gd name="connsiteX8" fmla="*/ 7004050 w 11487681"/>
                <a:gd name="connsiteY8" fmla="*/ 3565574 h 5667424"/>
                <a:gd name="connsiteX9" fmla="*/ 6051550 w 11487681"/>
                <a:gd name="connsiteY9" fmla="*/ 3864024 h 5667424"/>
                <a:gd name="connsiteX10" fmla="*/ 5340350 w 11487681"/>
                <a:gd name="connsiteY10" fmla="*/ 4232324 h 5667424"/>
                <a:gd name="connsiteX11" fmla="*/ 4497186 w 11487681"/>
                <a:gd name="connsiteY11" fmla="*/ 4619576 h 5667424"/>
                <a:gd name="connsiteX12" fmla="*/ 3760584 w 11487681"/>
                <a:gd name="connsiteY12" fmla="*/ 4882857 h 5667424"/>
                <a:gd name="connsiteX13" fmla="*/ 3052965 w 11487681"/>
                <a:gd name="connsiteY13" fmla="*/ 5067495 h 5667424"/>
                <a:gd name="connsiteX14" fmla="*/ 2227347 w 11487681"/>
                <a:gd name="connsiteY14" fmla="*/ 5058410 h 5667424"/>
                <a:gd name="connsiteX15" fmla="*/ 1336388 w 11487681"/>
                <a:gd name="connsiteY15" fmla="*/ 5436871 h 5667424"/>
                <a:gd name="connsiteX16" fmla="*/ 305492 w 11487681"/>
                <a:gd name="connsiteY16" fmla="*/ 5508283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902950 w 11487681"/>
                <a:gd name="connsiteY3" fmla="*/ 1108124 h 5667424"/>
                <a:gd name="connsiteX4" fmla="*/ 10109200 w 11487681"/>
                <a:gd name="connsiteY4" fmla="*/ 1654224 h 5667424"/>
                <a:gd name="connsiteX5" fmla="*/ 9372600 w 11487681"/>
                <a:gd name="connsiteY5" fmla="*/ 2301924 h 5667424"/>
                <a:gd name="connsiteX6" fmla="*/ 8616950 w 11487681"/>
                <a:gd name="connsiteY6" fmla="*/ 2701974 h 5667424"/>
                <a:gd name="connsiteX7" fmla="*/ 7899400 w 11487681"/>
                <a:gd name="connsiteY7" fmla="*/ 3038524 h 5667424"/>
                <a:gd name="connsiteX8" fmla="*/ 7004050 w 11487681"/>
                <a:gd name="connsiteY8" fmla="*/ 3565574 h 5667424"/>
                <a:gd name="connsiteX9" fmla="*/ 6051550 w 11487681"/>
                <a:gd name="connsiteY9" fmla="*/ 3864024 h 5667424"/>
                <a:gd name="connsiteX10" fmla="*/ 5354435 w 11487681"/>
                <a:gd name="connsiteY10" fmla="*/ 4422238 h 5667424"/>
                <a:gd name="connsiteX11" fmla="*/ 4497186 w 11487681"/>
                <a:gd name="connsiteY11" fmla="*/ 4619576 h 5667424"/>
                <a:gd name="connsiteX12" fmla="*/ 3760584 w 11487681"/>
                <a:gd name="connsiteY12" fmla="*/ 4882857 h 5667424"/>
                <a:gd name="connsiteX13" fmla="*/ 3052965 w 11487681"/>
                <a:gd name="connsiteY13" fmla="*/ 5067495 h 5667424"/>
                <a:gd name="connsiteX14" fmla="*/ 2227347 w 11487681"/>
                <a:gd name="connsiteY14" fmla="*/ 5058410 h 5667424"/>
                <a:gd name="connsiteX15" fmla="*/ 1336388 w 11487681"/>
                <a:gd name="connsiteY15" fmla="*/ 5436871 h 5667424"/>
                <a:gd name="connsiteX16" fmla="*/ 305492 w 11487681"/>
                <a:gd name="connsiteY16" fmla="*/ 5508283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902950 w 11487681"/>
                <a:gd name="connsiteY3" fmla="*/ 1108124 h 5667424"/>
                <a:gd name="connsiteX4" fmla="*/ 10109200 w 11487681"/>
                <a:gd name="connsiteY4" fmla="*/ 1654224 h 5667424"/>
                <a:gd name="connsiteX5" fmla="*/ 9372600 w 11487681"/>
                <a:gd name="connsiteY5" fmla="*/ 2301924 h 5667424"/>
                <a:gd name="connsiteX6" fmla="*/ 8616950 w 11487681"/>
                <a:gd name="connsiteY6" fmla="*/ 2701974 h 5667424"/>
                <a:gd name="connsiteX7" fmla="*/ 7899400 w 11487681"/>
                <a:gd name="connsiteY7" fmla="*/ 3038524 h 5667424"/>
                <a:gd name="connsiteX8" fmla="*/ 7004050 w 11487681"/>
                <a:gd name="connsiteY8" fmla="*/ 3565574 h 5667424"/>
                <a:gd name="connsiteX9" fmla="*/ 6051550 w 11487681"/>
                <a:gd name="connsiteY9" fmla="*/ 4053938 h 5667424"/>
                <a:gd name="connsiteX10" fmla="*/ 5354435 w 11487681"/>
                <a:gd name="connsiteY10" fmla="*/ 4422238 h 5667424"/>
                <a:gd name="connsiteX11" fmla="*/ 4497186 w 11487681"/>
                <a:gd name="connsiteY11" fmla="*/ 4619576 h 5667424"/>
                <a:gd name="connsiteX12" fmla="*/ 3760584 w 11487681"/>
                <a:gd name="connsiteY12" fmla="*/ 4882857 h 5667424"/>
                <a:gd name="connsiteX13" fmla="*/ 3052965 w 11487681"/>
                <a:gd name="connsiteY13" fmla="*/ 5067495 h 5667424"/>
                <a:gd name="connsiteX14" fmla="*/ 2227347 w 11487681"/>
                <a:gd name="connsiteY14" fmla="*/ 5058410 h 5667424"/>
                <a:gd name="connsiteX15" fmla="*/ 1336388 w 11487681"/>
                <a:gd name="connsiteY15" fmla="*/ 5436871 h 5667424"/>
                <a:gd name="connsiteX16" fmla="*/ 305492 w 11487681"/>
                <a:gd name="connsiteY16" fmla="*/ 5508283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902950 w 11487681"/>
                <a:gd name="connsiteY3" fmla="*/ 1108124 h 5667424"/>
                <a:gd name="connsiteX4" fmla="*/ 10109200 w 11487681"/>
                <a:gd name="connsiteY4" fmla="*/ 1654224 h 5667424"/>
                <a:gd name="connsiteX5" fmla="*/ 9372600 w 11487681"/>
                <a:gd name="connsiteY5" fmla="*/ 2301924 h 5667424"/>
                <a:gd name="connsiteX6" fmla="*/ 8616950 w 11487681"/>
                <a:gd name="connsiteY6" fmla="*/ 2701974 h 5667424"/>
                <a:gd name="connsiteX7" fmla="*/ 7899400 w 11487681"/>
                <a:gd name="connsiteY7" fmla="*/ 3038524 h 5667424"/>
                <a:gd name="connsiteX8" fmla="*/ 6975881 w 11487681"/>
                <a:gd name="connsiteY8" fmla="*/ 3910232 h 5667424"/>
                <a:gd name="connsiteX9" fmla="*/ 6051550 w 11487681"/>
                <a:gd name="connsiteY9" fmla="*/ 4053938 h 5667424"/>
                <a:gd name="connsiteX10" fmla="*/ 5354435 w 11487681"/>
                <a:gd name="connsiteY10" fmla="*/ 4422238 h 5667424"/>
                <a:gd name="connsiteX11" fmla="*/ 4497186 w 11487681"/>
                <a:gd name="connsiteY11" fmla="*/ 4619576 h 5667424"/>
                <a:gd name="connsiteX12" fmla="*/ 3760584 w 11487681"/>
                <a:gd name="connsiteY12" fmla="*/ 4882857 h 5667424"/>
                <a:gd name="connsiteX13" fmla="*/ 3052965 w 11487681"/>
                <a:gd name="connsiteY13" fmla="*/ 5067495 h 5667424"/>
                <a:gd name="connsiteX14" fmla="*/ 2227347 w 11487681"/>
                <a:gd name="connsiteY14" fmla="*/ 5058410 h 5667424"/>
                <a:gd name="connsiteX15" fmla="*/ 1336388 w 11487681"/>
                <a:gd name="connsiteY15" fmla="*/ 5436871 h 5667424"/>
                <a:gd name="connsiteX16" fmla="*/ 305492 w 11487681"/>
                <a:gd name="connsiteY16" fmla="*/ 5508283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902950 w 11487681"/>
                <a:gd name="connsiteY3" fmla="*/ 1108124 h 5667424"/>
                <a:gd name="connsiteX4" fmla="*/ 10109200 w 11487681"/>
                <a:gd name="connsiteY4" fmla="*/ 1654224 h 5667424"/>
                <a:gd name="connsiteX5" fmla="*/ 9372600 w 11487681"/>
                <a:gd name="connsiteY5" fmla="*/ 2301924 h 5667424"/>
                <a:gd name="connsiteX6" fmla="*/ 8616950 w 11487681"/>
                <a:gd name="connsiteY6" fmla="*/ 2701974 h 5667424"/>
                <a:gd name="connsiteX7" fmla="*/ 7920527 w 11487681"/>
                <a:gd name="connsiteY7" fmla="*/ 3411318 h 5667424"/>
                <a:gd name="connsiteX8" fmla="*/ 6975881 w 11487681"/>
                <a:gd name="connsiteY8" fmla="*/ 3910232 h 5667424"/>
                <a:gd name="connsiteX9" fmla="*/ 6051550 w 11487681"/>
                <a:gd name="connsiteY9" fmla="*/ 4053938 h 5667424"/>
                <a:gd name="connsiteX10" fmla="*/ 5354435 w 11487681"/>
                <a:gd name="connsiteY10" fmla="*/ 4422238 h 5667424"/>
                <a:gd name="connsiteX11" fmla="*/ 4497186 w 11487681"/>
                <a:gd name="connsiteY11" fmla="*/ 4619576 h 5667424"/>
                <a:gd name="connsiteX12" fmla="*/ 3760584 w 11487681"/>
                <a:gd name="connsiteY12" fmla="*/ 4882857 h 5667424"/>
                <a:gd name="connsiteX13" fmla="*/ 3052965 w 11487681"/>
                <a:gd name="connsiteY13" fmla="*/ 5067495 h 5667424"/>
                <a:gd name="connsiteX14" fmla="*/ 2227347 w 11487681"/>
                <a:gd name="connsiteY14" fmla="*/ 5058410 h 5667424"/>
                <a:gd name="connsiteX15" fmla="*/ 1336388 w 11487681"/>
                <a:gd name="connsiteY15" fmla="*/ 5436871 h 5667424"/>
                <a:gd name="connsiteX16" fmla="*/ 305492 w 11487681"/>
                <a:gd name="connsiteY16" fmla="*/ 5508283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902950 w 11487681"/>
                <a:gd name="connsiteY3" fmla="*/ 1108124 h 5667424"/>
                <a:gd name="connsiteX4" fmla="*/ 10109200 w 11487681"/>
                <a:gd name="connsiteY4" fmla="*/ 1654224 h 5667424"/>
                <a:gd name="connsiteX5" fmla="*/ 9372600 w 11487681"/>
                <a:gd name="connsiteY5" fmla="*/ 2301924 h 5667424"/>
                <a:gd name="connsiteX6" fmla="*/ 8588781 w 11487681"/>
                <a:gd name="connsiteY6" fmla="*/ 2962226 h 5667424"/>
                <a:gd name="connsiteX7" fmla="*/ 7920527 w 11487681"/>
                <a:gd name="connsiteY7" fmla="*/ 3411318 h 5667424"/>
                <a:gd name="connsiteX8" fmla="*/ 6975881 w 11487681"/>
                <a:gd name="connsiteY8" fmla="*/ 3910232 h 5667424"/>
                <a:gd name="connsiteX9" fmla="*/ 6051550 w 11487681"/>
                <a:gd name="connsiteY9" fmla="*/ 4053938 h 5667424"/>
                <a:gd name="connsiteX10" fmla="*/ 5354435 w 11487681"/>
                <a:gd name="connsiteY10" fmla="*/ 4422238 h 5667424"/>
                <a:gd name="connsiteX11" fmla="*/ 4497186 w 11487681"/>
                <a:gd name="connsiteY11" fmla="*/ 4619576 h 5667424"/>
                <a:gd name="connsiteX12" fmla="*/ 3760584 w 11487681"/>
                <a:gd name="connsiteY12" fmla="*/ 4882857 h 5667424"/>
                <a:gd name="connsiteX13" fmla="*/ 3052965 w 11487681"/>
                <a:gd name="connsiteY13" fmla="*/ 5067495 h 5667424"/>
                <a:gd name="connsiteX14" fmla="*/ 2227347 w 11487681"/>
                <a:gd name="connsiteY14" fmla="*/ 5058410 h 5667424"/>
                <a:gd name="connsiteX15" fmla="*/ 1336388 w 11487681"/>
                <a:gd name="connsiteY15" fmla="*/ 5436871 h 5667424"/>
                <a:gd name="connsiteX16" fmla="*/ 305492 w 11487681"/>
                <a:gd name="connsiteY16" fmla="*/ 5508283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902950 w 11487681"/>
                <a:gd name="connsiteY3" fmla="*/ 1108124 h 5667424"/>
                <a:gd name="connsiteX4" fmla="*/ 10109200 w 11487681"/>
                <a:gd name="connsiteY4" fmla="*/ 1654224 h 5667424"/>
                <a:gd name="connsiteX5" fmla="*/ 9386686 w 11487681"/>
                <a:gd name="connsiteY5" fmla="*/ 2681751 h 5667424"/>
                <a:gd name="connsiteX6" fmla="*/ 8588781 w 11487681"/>
                <a:gd name="connsiteY6" fmla="*/ 2962226 h 5667424"/>
                <a:gd name="connsiteX7" fmla="*/ 7920527 w 11487681"/>
                <a:gd name="connsiteY7" fmla="*/ 3411318 h 5667424"/>
                <a:gd name="connsiteX8" fmla="*/ 6975881 w 11487681"/>
                <a:gd name="connsiteY8" fmla="*/ 3910232 h 5667424"/>
                <a:gd name="connsiteX9" fmla="*/ 6051550 w 11487681"/>
                <a:gd name="connsiteY9" fmla="*/ 4053938 h 5667424"/>
                <a:gd name="connsiteX10" fmla="*/ 5354435 w 11487681"/>
                <a:gd name="connsiteY10" fmla="*/ 4422238 h 5667424"/>
                <a:gd name="connsiteX11" fmla="*/ 4497186 w 11487681"/>
                <a:gd name="connsiteY11" fmla="*/ 4619576 h 5667424"/>
                <a:gd name="connsiteX12" fmla="*/ 3760584 w 11487681"/>
                <a:gd name="connsiteY12" fmla="*/ 4882857 h 5667424"/>
                <a:gd name="connsiteX13" fmla="*/ 3052965 w 11487681"/>
                <a:gd name="connsiteY13" fmla="*/ 5067495 h 5667424"/>
                <a:gd name="connsiteX14" fmla="*/ 2227347 w 11487681"/>
                <a:gd name="connsiteY14" fmla="*/ 5058410 h 5667424"/>
                <a:gd name="connsiteX15" fmla="*/ 1336388 w 11487681"/>
                <a:gd name="connsiteY15" fmla="*/ 5436871 h 5667424"/>
                <a:gd name="connsiteX16" fmla="*/ 305492 w 11487681"/>
                <a:gd name="connsiteY16" fmla="*/ 5508283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902950 w 11487681"/>
                <a:gd name="connsiteY3" fmla="*/ 1108124 h 5667424"/>
                <a:gd name="connsiteX4" fmla="*/ 10123285 w 11487681"/>
                <a:gd name="connsiteY4" fmla="*/ 2062187 h 5667424"/>
                <a:gd name="connsiteX5" fmla="*/ 9386686 w 11487681"/>
                <a:gd name="connsiteY5" fmla="*/ 2681751 h 5667424"/>
                <a:gd name="connsiteX6" fmla="*/ 8588781 w 11487681"/>
                <a:gd name="connsiteY6" fmla="*/ 2962226 h 5667424"/>
                <a:gd name="connsiteX7" fmla="*/ 7920527 w 11487681"/>
                <a:gd name="connsiteY7" fmla="*/ 3411318 h 5667424"/>
                <a:gd name="connsiteX8" fmla="*/ 6975881 w 11487681"/>
                <a:gd name="connsiteY8" fmla="*/ 3910232 h 5667424"/>
                <a:gd name="connsiteX9" fmla="*/ 6051550 w 11487681"/>
                <a:gd name="connsiteY9" fmla="*/ 4053938 h 5667424"/>
                <a:gd name="connsiteX10" fmla="*/ 5354435 w 11487681"/>
                <a:gd name="connsiteY10" fmla="*/ 4422238 h 5667424"/>
                <a:gd name="connsiteX11" fmla="*/ 4497186 w 11487681"/>
                <a:gd name="connsiteY11" fmla="*/ 4619576 h 5667424"/>
                <a:gd name="connsiteX12" fmla="*/ 3760584 w 11487681"/>
                <a:gd name="connsiteY12" fmla="*/ 4882857 h 5667424"/>
                <a:gd name="connsiteX13" fmla="*/ 3052965 w 11487681"/>
                <a:gd name="connsiteY13" fmla="*/ 5067495 h 5667424"/>
                <a:gd name="connsiteX14" fmla="*/ 2227347 w 11487681"/>
                <a:gd name="connsiteY14" fmla="*/ 5058410 h 5667424"/>
                <a:gd name="connsiteX15" fmla="*/ 1336388 w 11487681"/>
                <a:gd name="connsiteY15" fmla="*/ 5436871 h 5667424"/>
                <a:gd name="connsiteX16" fmla="*/ 305492 w 11487681"/>
                <a:gd name="connsiteY16" fmla="*/ 5508283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888864 w 11487681"/>
                <a:gd name="connsiteY3" fmla="*/ 1480917 h 5667424"/>
                <a:gd name="connsiteX4" fmla="*/ 10123285 w 11487681"/>
                <a:gd name="connsiteY4" fmla="*/ 2062187 h 5667424"/>
                <a:gd name="connsiteX5" fmla="*/ 9386686 w 11487681"/>
                <a:gd name="connsiteY5" fmla="*/ 2681751 h 5667424"/>
                <a:gd name="connsiteX6" fmla="*/ 8588781 w 11487681"/>
                <a:gd name="connsiteY6" fmla="*/ 2962226 h 5667424"/>
                <a:gd name="connsiteX7" fmla="*/ 7920527 w 11487681"/>
                <a:gd name="connsiteY7" fmla="*/ 3411318 h 5667424"/>
                <a:gd name="connsiteX8" fmla="*/ 6975881 w 11487681"/>
                <a:gd name="connsiteY8" fmla="*/ 3910232 h 5667424"/>
                <a:gd name="connsiteX9" fmla="*/ 6051550 w 11487681"/>
                <a:gd name="connsiteY9" fmla="*/ 4053938 h 5667424"/>
                <a:gd name="connsiteX10" fmla="*/ 5354435 w 11487681"/>
                <a:gd name="connsiteY10" fmla="*/ 4422238 h 5667424"/>
                <a:gd name="connsiteX11" fmla="*/ 4497186 w 11487681"/>
                <a:gd name="connsiteY11" fmla="*/ 4619576 h 5667424"/>
                <a:gd name="connsiteX12" fmla="*/ 3760584 w 11487681"/>
                <a:gd name="connsiteY12" fmla="*/ 4882857 h 5667424"/>
                <a:gd name="connsiteX13" fmla="*/ 3052965 w 11487681"/>
                <a:gd name="connsiteY13" fmla="*/ 5067495 h 5667424"/>
                <a:gd name="connsiteX14" fmla="*/ 2227347 w 11487681"/>
                <a:gd name="connsiteY14" fmla="*/ 5058410 h 5667424"/>
                <a:gd name="connsiteX15" fmla="*/ 1336388 w 11487681"/>
                <a:gd name="connsiteY15" fmla="*/ 5436871 h 5667424"/>
                <a:gd name="connsiteX16" fmla="*/ 305492 w 11487681"/>
                <a:gd name="connsiteY16" fmla="*/ 5508283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888864 w 11487681"/>
                <a:gd name="connsiteY3" fmla="*/ 1480917 h 5667424"/>
                <a:gd name="connsiteX4" fmla="*/ 10123285 w 11487681"/>
                <a:gd name="connsiteY4" fmla="*/ 2062187 h 5667424"/>
                <a:gd name="connsiteX5" fmla="*/ 9386686 w 11487681"/>
                <a:gd name="connsiteY5" fmla="*/ 2681751 h 5667424"/>
                <a:gd name="connsiteX6" fmla="*/ 8588781 w 11487681"/>
                <a:gd name="connsiteY6" fmla="*/ 2962226 h 5667424"/>
                <a:gd name="connsiteX7" fmla="*/ 7920527 w 11487681"/>
                <a:gd name="connsiteY7" fmla="*/ 3411318 h 5667424"/>
                <a:gd name="connsiteX8" fmla="*/ 6975881 w 11487681"/>
                <a:gd name="connsiteY8" fmla="*/ 3910232 h 5667424"/>
                <a:gd name="connsiteX9" fmla="*/ 6051550 w 11487681"/>
                <a:gd name="connsiteY9" fmla="*/ 4053938 h 5667424"/>
                <a:gd name="connsiteX10" fmla="*/ 5354435 w 11487681"/>
                <a:gd name="connsiteY10" fmla="*/ 4422238 h 5667424"/>
                <a:gd name="connsiteX11" fmla="*/ 4497186 w 11487681"/>
                <a:gd name="connsiteY11" fmla="*/ 4619576 h 5667424"/>
                <a:gd name="connsiteX12" fmla="*/ 3760584 w 11487681"/>
                <a:gd name="connsiteY12" fmla="*/ 4882857 h 5667424"/>
                <a:gd name="connsiteX13" fmla="*/ 3052965 w 11487681"/>
                <a:gd name="connsiteY13" fmla="*/ 5067495 h 5667424"/>
                <a:gd name="connsiteX14" fmla="*/ 2227347 w 11487681"/>
                <a:gd name="connsiteY14" fmla="*/ 5058410 h 5667424"/>
                <a:gd name="connsiteX15" fmla="*/ 1336388 w 11487681"/>
                <a:gd name="connsiteY15" fmla="*/ 5436871 h 5667424"/>
                <a:gd name="connsiteX16" fmla="*/ 305492 w 11487681"/>
                <a:gd name="connsiteY16" fmla="*/ 5529385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888864 w 11487681"/>
                <a:gd name="connsiteY3" fmla="*/ 1480917 h 5667424"/>
                <a:gd name="connsiteX4" fmla="*/ 10123285 w 11487681"/>
                <a:gd name="connsiteY4" fmla="*/ 2062187 h 5667424"/>
                <a:gd name="connsiteX5" fmla="*/ 9386686 w 11487681"/>
                <a:gd name="connsiteY5" fmla="*/ 2681751 h 5667424"/>
                <a:gd name="connsiteX6" fmla="*/ 8588781 w 11487681"/>
                <a:gd name="connsiteY6" fmla="*/ 2962226 h 5667424"/>
                <a:gd name="connsiteX7" fmla="*/ 7920527 w 11487681"/>
                <a:gd name="connsiteY7" fmla="*/ 3411318 h 5667424"/>
                <a:gd name="connsiteX8" fmla="*/ 6975881 w 11487681"/>
                <a:gd name="connsiteY8" fmla="*/ 3910232 h 5667424"/>
                <a:gd name="connsiteX9" fmla="*/ 6051550 w 11487681"/>
                <a:gd name="connsiteY9" fmla="*/ 4053938 h 5667424"/>
                <a:gd name="connsiteX10" fmla="*/ 5354435 w 11487681"/>
                <a:gd name="connsiteY10" fmla="*/ 4422238 h 5667424"/>
                <a:gd name="connsiteX11" fmla="*/ 4497186 w 11487681"/>
                <a:gd name="connsiteY11" fmla="*/ 4619576 h 5667424"/>
                <a:gd name="connsiteX12" fmla="*/ 3760584 w 11487681"/>
                <a:gd name="connsiteY12" fmla="*/ 4882857 h 5667424"/>
                <a:gd name="connsiteX13" fmla="*/ 3052965 w 11487681"/>
                <a:gd name="connsiteY13" fmla="*/ 5067495 h 5667424"/>
                <a:gd name="connsiteX14" fmla="*/ 2227347 w 11487681"/>
                <a:gd name="connsiteY14" fmla="*/ 5058410 h 5667424"/>
                <a:gd name="connsiteX15" fmla="*/ 1336388 w 11487681"/>
                <a:gd name="connsiteY15" fmla="*/ 5507209 h 5667424"/>
                <a:gd name="connsiteX16" fmla="*/ 305492 w 11487681"/>
                <a:gd name="connsiteY16" fmla="*/ 5529385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888864 w 11487681"/>
                <a:gd name="connsiteY3" fmla="*/ 1480917 h 5667424"/>
                <a:gd name="connsiteX4" fmla="*/ 10123285 w 11487681"/>
                <a:gd name="connsiteY4" fmla="*/ 2062187 h 5667424"/>
                <a:gd name="connsiteX5" fmla="*/ 9386686 w 11487681"/>
                <a:gd name="connsiteY5" fmla="*/ 2681751 h 5667424"/>
                <a:gd name="connsiteX6" fmla="*/ 8588781 w 11487681"/>
                <a:gd name="connsiteY6" fmla="*/ 2962226 h 5667424"/>
                <a:gd name="connsiteX7" fmla="*/ 7920527 w 11487681"/>
                <a:gd name="connsiteY7" fmla="*/ 3411318 h 5667424"/>
                <a:gd name="connsiteX8" fmla="*/ 6975881 w 11487681"/>
                <a:gd name="connsiteY8" fmla="*/ 3910232 h 5667424"/>
                <a:gd name="connsiteX9" fmla="*/ 6051550 w 11487681"/>
                <a:gd name="connsiteY9" fmla="*/ 4053938 h 5667424"/>
                <a:gd name="connsiteX10" fmla="*/ 5354435 w 11487681"/>
                <a:gd name="connsiteY10" fmla="*/ 4422238 h 5667424"/>
                <a:gd name="connsiteX11" fmla="*/ 4497186 w 11487681"/>
                <a:gd name="connsiteY11" fmla="*/ 4619576 h 5667424"/>
                <a:gd name="connsiteX12" fmla="*/ 3760584 w 11487681"/>
                <a:gd name="connsiteY12" fmla="*/ 4882857 h 5667424"/>
                <a:gd name="connsiteX13" fmla="*/ 3052965 w 11487681"/>
                <a:gd name="connsiteY13" fmla="*/ 5067495 h 5667424"/>
                <a:gd name="connsiteX14" fmla="*/ 2227347 w 11487681"/>
                <a:gd name="connsiteY14" fmla="*/ 5058410 h 5667424"/>
                <a:gd name="connsiteX15" fmla="*/ 1336388 w 11487681"/>
                <a:gd name="connsiteY15" fmla="*/ 5465006 h 5667424"/>
                <a:gd name="connsiteX16" fmla="*/ 305492 w 11487681"/>
                <a:gd name="connsiteY16" fmla="*/ 5529385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888864 w 11487681"/>
                <a:gd name="connsiteY3" fmla="*/ 1480917 h 5667424"/>
                <a:gd name="connsiteX4" fmla="*/ 10123285 w 11487681"/>
                <a:gd name="connsiteY4" fmla="*/ 2062187 h 5667424"/>
                <a:gd name="connsiteX5" fmla="*/ 9386686 w 11487681"/>
                <a:gd name="connsiteY5" fmla="*/ 2681751 h 5667424"/>
                <a:gd name="connsiteX6" fmla="*/ 8588781 w 11487681"/>
                <a:gd name="connsiteY6" fmla="*/ 2962226 h 5667424"/>
                <a:gd name="connsiteX7" fmla="*/ 7920527 w 11487681"/>
                <a:gd name="connsiteY7" fmla="*/ 3411318 h 5667424"/>
                <a:gd name="connsiteX8" fmla="*/ 6975881 w 11487681"/>
                <a:gd name="connsiteY8" fmla="*/ 3910232 h 5667424"/>
                <a:gd name="connsiteX9" fmla="*/ 6051550 w 11487681"/>
                <a:gd name="connsiteY9" fmla="*/ 4053938 h 5667424"/>
                <a:gd name="connsiteX10" fmla="*/ 5354435 w 11487681"/>
                <a:gd name="connsiteY10" fmla="*/ 4422238 h 5667424"/>
                <a:gd name="connsiteX11" fmla="*/ 4497186 w 11487681"/>
                <a:gd name="connsiteY11" fmla="*/ 4619576 h 5667424"/>
                <a:gd name="connsiteX12" fmla="*/ 3760584 w 11487681"/>
                <a:gd name="connsiteY12" fmla="*/ 4882857 h 5667424"/>
                <a:gd name="connsiteX13" fmla="*/ 3052965 w 11487681"/>
                <a:gd name="connsiteY13" fmla="*/ 5067495 h 5667424"/>
                <a:gd name="connsiteX14" fmla="*/ 2185093 w 11487681"/>
                <a:gd name="connsiteY14" fmla="*/ 5199087 h 5667424"/>
                <a:gd name="connsiteX15" fmla="*/ 1336388 w 11487681"/>
                <a:gd name="connsiteY15" fmla="*/ 5465006 h 5667424"/>
                <a:gd name="connsiteX16" fmla="*/ 305492 w 11487681"/>
                <a:gd name="connsiteY16" fmla="*/ 5529385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888864 w 11487681"/>
                <a:gd name="connsiteY3" fmla="*/ 1480917 h 5667424"/>
                <a:gd name="connsiteX4" fmla="*/ 10123285 w 11487681"/>
                <a:gd name="connsiteY4" fmla="*/ 2062187 h 5667424"/>
                <a:gd name="connsiteX5" fmla="*/ 9386686 w 11487681"/>
                <a:gd name="connsiteY5" fmla="*/ 2681751 h 5667424"/>
                <a:gd name="connsiteX6" fmla="*/ 8588781 w 11487681"/>
                <a:gd name="connsiteY6" fmla="*/ 2962226 h 5667424"/>
                <a:gd name="connsiteX7" fmla="*/ 7920527 w 11487681"/>
                <a:gd name="connsiteY7" fmla="*/ 3411318 h 5667424"/>
                <a:gd name="connsiteX8" fmla="*/ 6975881 w 11487681"/>
                <a:gd name="connsiteY8" fmla="*/ 3910232 h 5667424"/>
                <a:gd name="connsiteX9" fmla="*/ 6051550 w 11487681"/>
                <a:gd name="connsiteY9" fmla="*/ 4053938 h 5667424"/>
                <a:gd name="connsiteX10" fmla="*/ 5354435 w 11487681"/>
                <a:gd name="connsiteY10" fmla="*/ 4422238 h 5667424"/>
                <a:gd name="connsiteX11" fmla="*/ 4497186 w 11487681"/>
                <a:gd name="connsiteY11" fmla="*/ 4619576 h 5667424"/>
                <a:gd name="connsiteX12" fmla="*/ 3760584 w 11487681"/>
                <a:gd name="connsiteY12" fmla="*/ 4882857 h 5667424"/>
                <a:gd name="connsiteX13" fmla="*/ 3052965 w 11487681"/>
                <a:gd name="connsiteY13" fmla="*/ 5123766 h 5667424"/>
                <a:gd name="connsiteX14" fmla="*/ 2185093 w 11487681"/>
                <a:gd name="connsiteY14" fmla="*/ 5199087 h 5667424"/>
                <a:gd name="connsiteX15" fmla="*/ 1336388 w 11487681"/>
                <a:gd name="connsiteY15" fmla="*/ 5465006 h 5667424"/>
                <a:gd name="connsiteX16" fmla="*/ 305492 w 11487681"/>
                <a:gd name="connsiteY16" fmla="*/ 5529385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888864 w 11487681"/>
                <a:gd name="connsiteY3" fmla="*/ 1480917 h 5667424"/>
                <a:gd name="connsiteX4" fmla="*/ 10123285 w 11487681"/>
                <a:gd name="connsiteY4" fmla="*/ 2062187 h 5667424"/>
                <a:gd name="connsiteX5" fmla="*/ 9386686 w 11487681"/>
                <a:gd name="connsiteY5" fmla="*/ 2681751 h 5667424"/>
                <a:gd name="connsiteX6" fmla="*/ 8588781 w 11487681"/>
                <a:gd name="connsiteY6" fmla="*/ 2962226 h 5667424"/>
                <a:gd name="connsiteX7" fmla="*/ 7920527 w 11487681"/>
                <a:gd name="connsiteY7" fmla="*/ 3411318 h 5667424"/>
                <a:gd name="connsiteX8" fmla="*/ 6975881 w 11487681"/>
                <a:gd name="connsiteY8" fmla="*/ 3910232 h 5667424"/>
                <a:gd name="connsiteX9" fmla="*/ 6051550 w 11487681"/>
                <a:gd name="connsiteY9" fmla="*/ 4053938 h 5667424"/>
                <a:gd name="connsiteX10" fmla="*/ 5354435 w 11487681"/>
                <a:gd name="connsiteY10" fmla="*/ 4422238 h 5667424"/>
                <a:gd name="connsiteX11" fmla="*/ 4497186 w 11487681"/>
                <a:gd name="connsiteY11" fmla="*/ 4619576 h 5667424"/>
                <a:gd name="connsiteX12" fmla="*/ 3746499 w 11487681"/>
                <a:gd name="connsiteY12" fmla="*/ 4939128 h 5667424"/>
                <a:gd name="connsiteX13" fmla="*/ 3052965 w 11487681"/>
                <a:gd name="connsiteY13" fmla="*/ 5123766 h 5667424"/>
                <a:gd name="connsiteX14" fmla="*/ 2185093 w 11487681"/>
                <a:gd name="connsiteY14" fmla="*/ 5199087 h 5667424"/>
                <a:gd name="connsiteX15" fmla="*/ 1336388 w 11487681"/>
                <a:gd name="connsiteY15" fmla="*/ 5465006 h 5667424"/>
                <a:gd name="connsiteX16" fmla="*/ 305492 w 11487681"/>
                <a:gd name="connsiteY16" fmla="*/ 5529385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888864 w 11487681"/>
                <a:gd name="connsiteY3" fmla="*/ 1480917 h 5667424"/>
                <a:gd name="connsiteX4" fmla="*/ 10123285 w 11487681"/>
                <a:gd name="connsiteY4" fmla="*/ 2062187 h 5667424"/>
                <a:gd name="connsiteX5" fmla="*/ 9386686 w 11487681"/>
                <a:gd name="connsiteY5" fmla="*/ 2681751 h 5667424"/>
                <a:gd name="connsiteX6" fmla="*/ 8588781 w 11487681"/>
                <a:gd name="connsiteY6" fmla="*/ 2962226 h 5667424"/>
                <a:gd name="connsiteX7" fmla="*/ 7920527 w 11487681"/>
                <a:gd name="connsiteY7" fmla="*/ 3411318 h 5667424"/>
                <a:gd name="connsiteX8" fmla="*/ 6975881 w 11487681"/>
                <a:gd name="connsiteY8" fmla="*/ 3910232 h 5667424"/>
                <a:gd name="connsiteX9" fmla="*/ 6051550 w 11487681"/>
                <a:gd name="connsiteY9" fmla="*/ 4053938 h 5667424"/>
                <a:gd name="connsiteX10" fmla="*/ 5354435 w 11487681"/>
                <a:gd name="connsiteY10" fmla="*/ 4422238 h 5667424"/>
                <a:gd name="connsiteX11" fmla="*/ 4483102 w 11487681"/>
                <a:gd name="connsiteY11" fmla="*/ 4774321 h 5667424"/>
                <a:gd name="connsiteX12" fmla="*/ 3746499 w 11487681"/>
                <a:gd name="connsiteY12" fmla="*/ 4939128 h 5667424"/>
                <a:gd name="connsiteX13" fmla="*/ 3052965 w 11487681"/>
                <a:gd name="connsiteY13" fmla="*/ 5123766 h 5667424"/>
                <a:gd name="connsiteX14" fmla="*/ 2185093 w 11487681"/>
                <a:gd name="connsiteY14" fmla="*/ 5199087 h 5667424"/>
                <a:gd name="connsiteX15" fmla="*/ 1336388 w 11487681"/>
                <a:gd name="connsiteY15" fmla="*/ 5465006 h 5667424"/>
                <a:gd name="connsiteX16" fmla="*/ 305492 w 11487681"/>
                <a:gd name="connsiteY16" fmla="*/ 5529385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888864 w 11487681"/>
                <a:gd name="connsiteY3" fmla="*/ 1480917 h 5667424"/>
                <a:gd name="connsiteX4" fmla="*/ 10123285 w 11487681"/>
                <a:gd name="connsiteY4" fmla="*/ 2062187 h 5667424"/>
                <a:gd name="connsiteX5" fmla="*/ 9386686 w 11487681"/>
                <a:gd name="connsiteY5" fmla="*/ 2681751 h 5667424"/>
                <a:gd name="connsiteX6" fmla="*/ 8588781 w 11487681"/>
                <a:gd name="connsiteY6" fmla="*/ 2962226 h 5667424"/>
                <a:gd name="connsiteX7" fmla="*/ 7920527 w 11487681"/>
                <a:gd name="connsiteY7" fmla="*/ 3411318 h 5667424"/>
                <a:gd name="connsiteX8" fmla="*/ 6975881 w 11487681"/>
                <a:gd name="connsiteY8" fmla="*/ 3910232 h 5667424"/>
                <a:gd name="connsiteX9" fmla="*/ 6051550 w 11487681"/>
                <a:gd name="connsiteY9" fmla="*/ 4053938 h 5667424"/>
                <a:gd name="connsiteX10" fmla="*/ 5340350 w 11487681"/>
                <a:gd name="connsiteY10" fmla="*/ 4605118 h 5667424"/>
                <a:gd name="connsiteX11" fmla="*/ 4483102 w 11487681"/>
                <a:gd name="connsiteY11" fmla="*/ 4774321 h 5667424"/>
                <a:gd name="connsiteX12" fmla="*/ 3746499 w 11487681"/>
                <a:gd name="connsiteY12" fmla="*/ 4939128 h 5667424"/>
                <a:gd name="connsiteX13" fmla="*/ 3052965 w 11487681"/>
                <a:gd name="connsiteY13" fmla="*/ 5123766 h 5667424"/>
                <a:gd name="connsiteX14" fmla="*/ 2185093 w 11487681"/>
                <a:gd name="connsiteY14" fmla="*/ 5199087 h 5667424"/>
                <a:gd name="connsiteX15" fmla="*/ 1336388 w 11487681"/>
                <a:gd name="connsiteY15" fmla="*/ 5465006 h 5667424"/>
                <a:gd name="connsiteX16" fmla="*/ 305492 w 11487681"/>
                <a:gd name="connsiteY16" fmla="*/ 5529385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888864 w 11487681"/>
                <a:gd name="connsiteY3" fmla="*/ 1480917 h 5667424"/>
                <a:gd name="connsiteX4" fmla="*/ 10123285 w 11487681"/>
                <a:gd name="connsiteY4" fmla="*/ 2062187 h 5667424"/>
                <a:gd name="connsiteX5" fmla="*/ 9386686 w 11487681"/>
                <a:gd name="connsiteY5" fmla="*/ 2681751 h 5667424"/>
                <a:gd name="connsiteX6" fmla="*/ 8588781 w 11487681"/>
                <a:gd name="connsiteY6" fmla="*/ 2962226 h 5667424"/>
                <a:gd name="connsiteX7" fmla="*/ 7920527 w 11487681"/>
                <a:gd name="connsiteY7" fmla="*/ 3411318 h 5667424"/>
                <a:gd name="connsiteX8" fmla="*/ 6975881 w 11487681"/>
                <a:gd name="connsiteY8" fmla="*/ 3910232 h 5667424"/>
                <a:gd name="connsiteX9" fmla="*/ 6037466 w 11487681"/>
                <a:gd name="connsiteY9" fmla="*/ 4293089 h 5667424"/>
                <a:gd name="connsiteX10" fmla="*/ 5340350 w 11487681"/>
                <a:gd name="connsiteY10" fmla="*/ 4605118 h 5667424"/>
                <a:gd name="connsiteX11" fmla="*/ 4483102 w 11487681"/>
                <a:gd name="connsiteY11" fmla="*/ 4774321 h 5667424"/>
                <a:gd name="connsiteX12" fmla="*/ 3746499 w 11487681"/>
                <a:gd name="connsiteY12" fmla="*/ 4939128 h 5667424"/>
                <a:gd name="connsiteX13" fmla="*/ 3052965 w 11487681"/>
                <a:gd name="connsiteY13" fmla="*/ 5123766 h 5667424"/>
                <a:gd name="connsiteX14" fmla="*/ 2185093 w 11487681"/>
                <a:gd name="connsiteY14" fmla="*/ 5199087 h 5667424"/>
                <a:gd name="connsiteX15" fmla="*/ 1336388 w 11487681"/>
                <a:gd name="connsiteY15" fmla="*/ 5465006 h 5667424"/>
                <a:gd name="connsiteX16" fmla="*/ 305492 w 11487681"/>
                <a:gd name="connsiteY16" fmla="*/ 5529385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888864 w 11487681"/>
                <a:gd name="connsiteY3" fmla="*/ 1480917 h 5667424"/>
                <a:gd name="connsiteX4" fmla="*/ 10123285 w 11487681"/>
                <a:gd name="connsiteY4" fmla="*/ 2062187 h 5667424"/>
                <a:gd name="connsiteX5" fmla="*/ 9386686 w 11487681"/>
                <a:gd name="connsiteY5" fmla="*/ 2681751 h 5667424"/>
                <a:gd name="connsiteX6" fmla="*/ 8588781 w 11487681"/>
                <a:gd name="connsiteY6" fmla="*/ 2962226 h 5667424"/>
                <a:gd name="connsiteX7" fmla="*/ 7920527 w 11487681"/>
                <a:gd name="connsiteY7" fmla="*/ 3411318 h 5667424"/>
                <a:gd name="connsiteX8" fmla="*/ 7004052 w 11487681"/>
                <a:gd name="connsiteY8" fmla="*/ 4015739 h 5667424"/>
                <a:gd name="connsiteX9" fmla="*/ 6037466 w 11487681"/>
                <a:gd name="connsiteY9" fmla="*/ 4293089 h 5667424"/>
                <a:gd name="connsiteX10" fmla="*/ 5340350 w 11487681"/>
                <a:gd name="connsiteY10" fmla="*/ 4605118 h 5667424"/>
                <a:gd name="connsiteX11" fmla="*/ 4483102 w 11487681"/>
                <a:gd name="connsiteY11" fmla="*/ 4774321 h 5667424"/>
                <a:gd name="connsiteX12" fmla="*/ 3746499 w 11487681"/>
                <a:gd name="connsiteY12" fmla="*/ 4939128 h 5667424"/>
                <a:gd name="connsiteX13" fmla="*/ 3052965 w 11487681"/>
                <a:gd name="connsiteY13" fmla="*/ 5123766 h 5667424"/>
                <a:gd name="connsiteX14" fmla="*/ 2185093 w 11487681"/>
                <a:gd name="connsiteY14" fmla="*/ 5199087 h 5667424"/>
                <a:gd name="connsiteX15" fmla="*/ 1336388 w 11487681"/>
                <a:gd name="connsiteY15" fmla="*/ 5465006 h 5667424"/>
                <a:gd name="connsiteX16" fmla="*/ 305492 w 11487681"/>
                <a:gd name="connsiteY16" fmla="*/ 5529385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888864 w 11487681"/>
                <a:gd name="connsiteY3" fmla="*/ 1480917 h 5667424"/>
                <a:gd name="connsiteX4" fmla="*/ 10123285 w 11487681"/>
                <a:gd name="connsiteY4" fmla="*/ 2062187 h 5667424"/>
                <a:gd name="connsiteX5" fmla="*/ 9386686 w 11487681"/>
                <a:gd name="connsiteY5" fmla="*/ 2681751 h 5667424"/>
                <a:gd name="connsiteX6" fmla="*/ 8588781 w 11487681"/>
                <a:gd name="connsiteY6" fmla="*/ 2962226 h 5667424"/>
                <a:gd name="connsiteX7" fmla="*/ 7913485 w 11487681"/>
                <a:gd name="connsiteY7" fmla="*/ 3537927 h 5667424"/>
                <a:gd name="connsiteX8" fmla="*/ 7004052 w 11487681"/>
                <a:gd name="connsiteY8" fmla="*/ 4015739 h 5667424"/>
                <a:gd name="connsiteX9" fmla="*/ 6037466 w 11487681"/>
                <a:gd name="connsiteY9" fmla="*/ 4293089 h 5667424"/>
                <a:gd name="connsiteX10" fmla="*/ 5340350 w 11487681"/>
                <a:gd name="connsiteY10" fmla="*/ 4605118 h 5667424"/>
                <a:gd name="connsiteX11" fmla="*/ 4483102 w 11487681"/>
                <a:gd name="connsiteY11" fmla="*/ 4774321 h 5667424"/>
                <a:gd name="connsiteX12" fmla="*/ 3746499 w 11487681"/>
                <a:gd name="connsiteY12" fmla="*/ 4939128 h 5667424"/>
                <a:gd name="connsiteX13" fmla="*/ 3052965 w 11487681"/>
                <a:gd name="connsiteY13" fmla="*/ 5123766 h 5667424"/>
                <a:gd name="connsiteX14" fmla="*/ 2185093 w 11487681"/>
                <a:gd name="connsiteY14" fmla="*/ 5199087 h 5667424"/>
                <a:gd name="connsiteX15" fmla="*/ 1336388 w 11487681"/>
                <a:gd name="connsiteY15" fmla="*/ 5465006 h 5667424"/>
                <a:gd name="connsiteX16" fmla="*/ 305492 w 11487681"/>
                <a:gd name="connsiteY16" fmla="*/ 5529385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888864 w 11487681"/>
                <a:gd name="connsiteY3" fmla="*/ 1480917 h 5667424"/>
                <a:gd name="connsiteX4" fmla="*/ 10123285 w 11487681"/>
                <a:gd name="connsiteY4" fmla="*/ 2062187 h 5667424"/>
                <a:gd name="connsiteX5" fmla="*/ 9386686 w 11487681"/>
                <a:gd name="connsiteY5" fmla="*/ 2681751 h 5667424"/>
                <a:gd name="connsiteX6" fmla="*/ 8595823 w 11487681"/>
                <a:gd name="connsiteY6" fmla="*/ 3109937 h 5667424"/>
                <a:gd name="connsiteX7" fmla="*/ 7913485 w 11487681"/>
                <a:gd name="connsiteY7" fmla="*/ 3537927 h 5667424"/>
                <a:gd name="connsiteX8" fmla="*/ 7004052 w 11487681"/>
                <a:gd name="connsiteY8" fmla="*/ 4015739 h 5667424"/>
                <a:gd name="connsiteX9" fmla="*/ 6037466 w 11487681"/>
                <a:gd name="connsiteY9" fmla="*/ 4293089 h 5667424"/>
                <a:gd name="connsiteX10" fmla="*/ 5340350 w 11487681"/>
                <a:gd name="connsiteY10" fmla="*/ 4605118 h 5667424"/>
                <a:gd name="connsiteX11" fmla="*/ 4483102 w 11487681"/>
                <a:gd name="connsiteY11" fmla="*/ 4774321 h 5667424"/>
                <a:gd name="connsiteX12" fmla="*/ 3746499 w 11487681"/>
                <a:gd name="connsiteY12" fmla="*/ 4939128 h 5667424"/>
                <a:gd name="connsiteX13" fmla="*/ 3052965 w 11487681"/>
                <a:gd name="connsiteY13" fmla="*/ 5123766 h 5667424"/>
                <a:gd name="connsiteX14" fmla="*/ 2185093 w 11487681"/>
                <a:gd name="connsiteY14" fmla="*/ 5199087 h 5667424"/>
                <a:gd name="connsiteX15" fmla="*/ 1336388 w 11487681"/>
                <a:gd name="connsiteY15" fmla="*/ 5465006 h 5667424"/>
                <a:gd name="connsiteX16" fmla="*/ 305492 w 11487681"/>
                <a:gd name="connsiteY16" fmla="*/ 5529385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888864 w 11487681"/>
                <a:gd name="connsiteY3" fmla="*/ 1480917 h 5667424"/>
                <a:gd name="connsiteX4" fmla="*/ 10123285 w 11487681"/>
                <a:gd name="connsiteY4" fmla="*/ 2062187 h 5667424"/>
                <a:gd name="connsiteX5" fmla="*/ 9379643 w 11487681"/>
                <a:gd name="connsiteY5" fmla="*/ 2780224 h 5667424"/>
                <a:gd name="connsiteX6" fmla="*/ 8595823 w 11487681"/>
                <a:gd name="connsiteY6" fmla="*/ 3109937 h 5667424"/>
                <a:gd name="connsiteX7" fmla="*/ 7913485 w 11487681"/>
                <a:gd name="connsiteY7" fmla="*/ 3537927 h 5667424"/>
                <a:gd name="connsiteX8" fmla="*/ 7004052 w 11487681"/>
                <a:gd name="connsiteY8" fmla="*/ 4015739 h 5667424"/>
                <a:gd name="connsiteX9" fmla="*/ 6037466 w 11487681"/>
                <a:gd name="connsiteY9" fmla="*/ 4293089 h 5667424"/>
                <a:gd name="connsiteX10" fmla="*/ 5340350 w 11487681"/>
                <a:gd name="connsiteY10" fmla="*/ 4605118 h 5667424"/>
                <a:gd name="connsiteX11" fmla="*/ 4483102 w 11487681"/>
                <a:gd name="connsiteY11" fmla="*/ 4774321 h 5667424"/>
                <a:gd name="connsiteX12" fmla="*/ 3746499 w 11487681"/>
                <a:gd name="connsiteY12" fmla="*/ 4939128 h 5667424"/>
                <a:gd name="connsiteX13" fmla="*/ 3052965 w 11487681"/>
                <a:gd name="connsiteY13" fmla="*/ 5123766 h 5667424"/>
                <a:gd name="connsiteX14" fmla="*/ 2185093 w 11487681"/>
                <a:gd name="connsiteY14" fmla="*/ 5199087 h 5667424"/>
                <a:gd name="connsiteX15" fmla="*/ 1336388 w 11487681"/>
                <a:gd name="connsiteY15" fmla="*/ 5465006 h 5667424"/>
                <a:gd name="connsiteX16" fmla="*/ 305492 w 11487681"/>
                <a:gd name="connsiteY16" fmla="*/ 5529385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888864 w 11487681"/>
                <a:gd name="connsiteY3" fmla="*/ 1480917 h 5667424"/>
                <a:gd name="connsiteX4" fmla="*/ 10116243 w 11487681"/>
                <a:gd name="connsiteY4" fmla="*/ 1928544 h 5667424"/>
                <a:gd name="connsiteX5" fmla="*/ 9379643 w 11487681"/>
                <a:gd name="connsiteY5" fmla="*/ 2780224 h 5667424"/>
                <a:gd name="connsiteX6" fmla="*/ 8595823 w 11487681"/>
                <a:gd name="connsiteY6" fmla="*/ 3109937 h 5667424"/>
                <a:gd name="connsiteX7" fmla="*/ 7913485 w 11487681"/>
                <a:gd name="connsiteY7" fmla="*/ 3537927 h 5667424"/>
                <a:gd name="connsiteX8" fmla="*/ 7004052 w 11487681"/>
                <a:gd name="connsiteY8" fmla="*/ 4015739 h 5667424"/>
                <a:gd name="connsiteX9" fmla="*/ 6037466 w 11487681"/>
                <a:gd name="connsiteY9" fmla="*/ 4293089 h 5667424"/>
                <a:gd name="connsiteX10" fmla="*/ 5340350 w 11487681"/>
                <a:gd name="connsiteY10" fmla="*/ 4605118 h 5667424"/>
                <a:gd name="connsiteX11" fmla="*/ 4483102 w 11487681"/>
                <a:gd name="connsiteY11" fmla="*/ 4774321 h 5667424"/>
                <a:gd name="connsiteX12" fmla="*/ 3746499 w 11487681"/>
                <a:gd name="connsiteY12" fmla="*/ 4939128 h 5667424"/>
                <a:gd name="connsiteX13" fmla="*/ 3052965 w 11487681"/>
                <a:gd name="connsiteY13" fmla="*/ 5123766 h 5667424"/>
                <a:gd name="connsiteX14" fmla="*/ 2185093 w 11487681"/>
                <a:gd name="connsiteY14" fmla="*/ 5199087 h 5667424"/>
                <a:gd name="connsiteX15" fmla="*/ 1336388 w 11487681"/>
                <a:gd name="connsiteY15" fmla="*/ 5465006 h 5667424"/>
                <a:gd name="connsiteX16" fmla="*/ 305492 w 11487681"/>
                <a:gd name="connsiteY16" fmla="*/ 5529385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881822 w 11487681"/>
                <a:gd name="connsiteY3" fmla="*/ 1551255 h 5667424"/>
                <a:gd name="connsiteX4" fmla="*/ 10116243 w 11487681"/>
                <a:gd name="connsiteY4" fmla="*/ 1928544 h 5667424"/>
                <a:gd name="connsiteX5" fmla="*/ 9379643 w 11487681"/>
                <a:gd name="connsiteY5" fmla="*/ 2780224 h 5667424"/>
                <a:gd name="connsiteX6" fmla="*/ 8595823 w 11487681"/>
                <a:gd name="connsiteY6" fmla="*/ 3109937 h 5667424"/>
                <a:gd name="connsiteX7" fmla="*/ 7913485 w 11487681"/>
                <a:gd name="connsiteY7" fmla="*/ 3537927 h 5667424"/>
                <a:gd name="connsiteX8" fmla="*/ 7004052 w 11487681"/>
                <a:gd name="connsiteY8" fmla="*/ 4015739 h 5667424"/>
                <a:gd name="connsiteX9" fmla="*/ 6037466 w 11487681"/>
                <a:gd name="connsiteY9" fmla="*/ 4293089 h 5667424"/>
                <a:gd name="connsiteX10" fmla="*/ 5340350 w 11487681"/>
                <a:gd name="connsiteY10" fmla="*/ 4605118 h 5667424"/>
                <a:gd name="connsiteX11" fmla="*/ 4483102 w 11487681"/>
                <a:gd name="connsiteY11" fmla="*/ 4774321 h 5667424"/>
                <a:gd name="connsiteX12" fmla="*/ 3746499 w 11487681"/>
                <a:gd name="connsiteY12" fmla="*/ 4939128 h 5667424"/>
                <a:gd name="connsiteX13" fmla="*/ 3052965 w 11487681"/>
                <a:gd name="connsiteY13" fmla="*/ 5123766 h 5667424"/>
                <a:gd name="connsiteX14" fmla="*/ 2185093 w 11487681"/>
                <a:gd name="connsiteY14" fmla="*/ 5199087 h 5667424"/>
                <a:gd name="connsiteX15" fmla="*/ 1336388 w 11487681"/>
                <a:gd name="connsiteY15" fmla="*/ 5465006 h 5667424"/>
                <a:gd name="connsiteX16" fmla="*/ 305492 w 11487681"/>
                <a:gd name="connsiteY16" fmla="*/ 5529385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881822 w 11487681"/>
                <a:gd name="connsiteY3" fmla="*/ 1551255 h 5667424"/>
                <a:gd name="connsiteX4" fmla="*/ 10116243 w 11487681"/>
                <a:gd name="connsiteY4" fmla="*/ 1928544 h 5667424"/>
                <a:gd name="connsiteX5" fmla="*/ 9379643 w 11487681"/>
                <a:gd name="connsiteY5" fmla="*/ 2780224 h 5667424"/>
                <a:gd name="connsiteX6" fmla="*/ 8595823 w 11487681"/>
                <a:gd name="connsiteY6" fmla="*/ 3109937 h 5667424"/>
                <a:gd name="connsiteX7" fmla="*/ 7913485 w 11487681"/>
                <a:gd name="connsiteY7" fmla="*/ 3537927 h 5667424"/>
                <a:gd name="connsiteX8" fmla="*/ 7004052 w 11487681"/>
                <a:gd name="connsiteY8" fmla="*/ 4015739 h 5667424"/>
                <a:gd name="connsiteX9" fmla="*/ 6037466 w 11487681"/>
                <a:gd name="connsiteY9" fmla="*/ 4293089 h 5667424"/>
                <a:gd name="connsiteX10" fmla="*/ 5340350 w 11487681"/>
                <a:gd name="connsiteY10" fmla="*/ 4605118 h 5667424"/>
                <a:gd name="connsiteX11" fmla="*/ 4483102 w 11487681"/>
                <a:gd name="connsiteY11" fmla="*/ 4774321 h 5667424"/>
                <a:gd name="connsiteX12" fmla="*/ 3746499 w 11487681"/>
                <a:gd name="connsiteY12" fmla="*/ 4939128 h 5667424"/>
                <a:gd name="connsiteX13" fmla="*/ 3052965 w 11487681"/>
                <a:gd name="connsiteY13" fmla="*/ 5123766 h 5667424"/>
                <a:gd name="connsiteX14" fmla="*/ 2185093 w 11487681"/>
                <a:gd name="connsiteY14" fmla="*/ 5199087 h 5667424"/>
                <a:gd name="connsiteX15" fmla="*/ 1336388 w 11487681"/>
                <a:gd name="connsiteY15" fmla="*/ 5465006 h 5667424"/>
                <a:gd name="connsiteX16" fmla="*/ 305492 w 11487681"/>
                <a:gd name="connsiteY16" fmla="*/ 5529385 h 5667424"/>
                <a:gd name="connsiteX17" fmla="*/ 0 w 11487681"/>
                <a:gd name="connsiteY17" fmla="*/ 5667424 h 566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487681" h="5667424">
                  <a:moveTo>
                    <a:pt x="0" y="5667424"/>
                  </a:moveTo>
                  <a:lnTo>
                    <a:pt x="11487150" y="5667424"/>
                  </a:lnTo>
                  <a:cubicBezTo>
                    <a:pt x="11491383" y="3961391"/>
                    <a:pt x="11468831" y="1706033"/>
                    <a:pt x="11473064" y="0"/>
                  </a:cubicBezTo>
                  <a:cubicBezTo>
                    <a:pt x="11275983" y="517085"/>
                    <a:pt x="11092988" y="991967"/>
                    <a:pt x="10881822" y="1551255"/>
                  </a:cubicBezTo>
                  <a:lnTo>
                    <a:pt x="10116243" y="1928544"/>
                  </a:lnTo>
                  <a:lnTo>
                    <a:pt x="9379643" y="2780224"/>
                  </a:lnTo>
                  <a:lnTo>
                    <a:pt x="8595823" y="3109937"/>
                  </a:lnTo>
                  <a:lnTo>
                    <a:pt x="7913485" y="3537927"/>
                  </a:lnTo>
                  <a:lnTo>
                    <a:pt x="7004052" y="4015739"/>
                  </a:lnTo>
                  <a:lnTo>
                    <a:pt x="6037466" y="4293089"/>
                  </a:lnTo>
                  <a:lnTo>
                    <a:pt x="5340350" y="4605118"/>
                  </a:lnTo>
                  <a:lnTo>
                    <a:pt x="4483102" y="4774321"/>
                  </a:lnTo>
                  <a:lnTo>
                    <a:pt x="3746499" y="4939128"/>
                  </a:lnTo>
                  <a:lnTo>
                    <a:pt x="3052965" y="5123766"/>
                  </a:lnTo>
                  <a:lnTo>
                    <a:pt x="2185093" y="5199087"/>
                  </a:lnTo>
                  <a:lnTo>
                    <a:pt x="1336388" y="5465006"/>
                  </a:lnTo>
                  <a:lnTo>
                    <a:pt x="305492" y="5529385"/>
                  </a:lnTo>
                  <a:lnTo>
                    <a:pt x="0" y="5667424"/>
                  </a:lnTo>
                  <a:close/>
                </a:path>
              </a:pathLst>
            </a:custGeom>
            <a:solidFill>
              <a:srgbClr val="666666">
                <a:alpha val="19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2130" name="Freeform: Shape 2129">
              <a:extLst>
                <a:ext uri="{FF2B5EF4-FFF2-40B4-BE49-F238E27FC236}">
                  <a16:creationId xmlns:a16="http://schemas.microsoft.com/office/drawing/2014/main" id="{6E8E424B-2B64-4DA5-DE20-100EE3E5B21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738197" y="2425"/>
              <a:ext cx="11473763" cy="5667424"/>
            </a:xfrm>
            <a:custGeom>
              <a:avLst/>
              <a:gdLst>
                <a:gd name="connsiteX0" fmla="*/ 0 w 11499850"/>
                <a:gd name="connsiteY0" fmla="*/ 5118100 h 5118100"/>
                <a:gd name="connsiteX1" fmla="*/ 11499850 w 11499850"/>
                <a:gd name="connsiteY1" fmla="*/ 5118100 h 5118100"/>
                <a:gd name="connsiteX2" fmla="*/ 11499850 w 11499850"/>
                <a:gd name="connsiteY2" fmla="*/ 0 h 5118100"/>
                <a:gd name="connsiteX3" fmla="*/ 10902950 w 11499850"/>
                <a:gd name="connsiteY3" fmla="*/ 558800 h 5118100"/>
                <a:gd name="connsiteX4" fmla="*/ 10109200 w 11499850"/>
                <a:gd name="connsiteY4" fmla="*/ 1104900 h 5118100"/>
                <a:gd name="connsiteX5" fmla="*/ 9372600 w 11499850"/>
                <a:gd name="connsiteY5" fmla="*/ 1752600 h 5118100"/>
                <a:gd name="connsiteX6" fmla="*/ 8616950 w 11499850"/>
                <a:gd name="connsiteY6" fmla="*/ 2152650 h 5118100"/>
                <a:gd name="connsiteX7" fmla="*/ 7899400 w 11499850"/>
                <a:gd name="connsiteY7" fmla="*/ 2489200 h 5118100"/>
                <a:gd name="connsiteX8" fmla="*/ 7004050 w 11499850"/>
                <a:gd name="connsiteY8" fmla="*/ 3016250 h 5118100"/>
                <a:gd name="connsiteX9" fmla="*/ 6051550 w 11499850"/>
                <a:gd name="connsiteY9" fmla="*/ 3314700 h 5118100"/>
                <a:gd name="connsiteX10" fmla="*/ 5340350 w 11499850"/>
                <a:gd name="connsiteY10" fmla="*/ 3683000 h 5118100"/>
                <a:gd name="connsiteX11" fmla="*/ 4483100 w 11499850"/>
                <a:gd name="connsiteY11" fmla="*/ 3810000 h 5118100"/>
                <a:gd name="connsiteX12" fmla="*/ 3746500 w 11499850"/>
                <a:gd name="connsiteY12" fmla="*/ 4108450 h 5118100"/>
                <a:gd name="connsiteX13" fmla="*/ 3067050 w 11499850"/>
                <a:gd name="connsiteY13" fmla="*/ 4222750 h 5118100"/>
                <a:gd name="connsiteX14" fmla="*/ 2178050 w 11499850"/>
                <a:gd name="connsiteY14" fmla="*/ 4241800 h 5118100"/>
                <a:gd name="connsiteX15" fmla="*/ 1371600 w 11499850"/>
                <a:gd name="connsiteY15" fmla="*/ 4711700 h 5118100"/>
                <a:gd name="connsiteX16" fmla="*/ 298450 w 11499850"/>
                <a:gd name="connsiteY16" fmla="*/ 4832350 h 5118100"/>
                <a:gd name="connsiteX17" fmla="*/ 0 w 11499850"/>
                <a:gd name="connsiteY17" fmla="*/ 5118100 h 5118100"/>
                <a:gd name="connsiteX0" fmla="*/ 0 w 11499850"/>
                <a:gd name="connsiteY0" fmla="*/ 5118100 h 5118100"/>
                <a:gd name="connsiteX1" fmla="*/ 11487150 w 11499850"/>
                <a:gd name="connsiteY1" fmla="*/ 5118100 h 5118100"/>
                <a:gd name="connsiteX2" fmla="*/ 11499850 w 11499850"/>
                <a:gd name="connsiteY2" fmla="*/ 0 h 5118100"/>
                <a:gd name="connsiteX3" fmla="*/ 10902950 w 11499850"/>
                <a:gd name="connsiteY3" fmla="*/ 558800 h 5118100"/>
                <a:gd name="connsiteX4" fmla="*/ 10109200 w 11499850"/>
                <a:gd name="connsiteY4" fmla="*/ 1104900 h 5118100"/>
                <a:gd name="connsiteX5" fmla="*/ 9372600 w 11499850"/>
                <a:gd name="connsiteY5" fmla="*/ 1752600 h 5118100"/>
                <a:gd name="connsiteX6" fmla="*/ 8616950 w 11499850"/>
                <a:gd name="connsiteY6" fmla="*/ 2152650 h 5118100"/>
                <a:gd name="connsiteX7" fmla="*/ 7899400 w 11499850"/>
                <a:gd name="connsiteY7" fmla="*/ 2489200 h 5118100"/>
                <a:gd name="connsiteX8" fmla="*/ 7004050 w 11499850"/>
                <a:gd name="connsiteY8" fmla="*/ 3016250 h 5118100"/>
                <a:gd name="connsiteX9" fmla="*/ 6051550 w 11499850"/>
                <a:gd name="connsiteY9" fmla="*/ 3314700 h 5118100"/>
                <a:gd name="connsiteX10" fmla="*/ 5340350 w 11499850"/>
                <a:gd name="connsiteY10" fmla="*/ 3683000 h 5118100"/>
                <a:gd name="connsiteX11" fmla="*/ 4483100 w 11499850"/>
                <a:gd name="connsiteY11" fmla="*/ 3810000 h 5118100"/>
                <a:gd name="connsiteX12" fmla="*/ 3746500 w 11499850"/>
                <a:gd name="connsiteY12" fmla="*/ 4108450 h 5118100"/>
                <a:gd name="connsiteX13" fmla="*/ 3067050 w 11499850"/>
                <a:gd name="connsiteY13" fmla="*/ 4222750 h 5118100"/>
                <a:gd name="connsiteX14" fmla="*/ 2178050 w 11499850"/>
                <a:gd name="connsiteY14" fmla="*/ 4241800 h 5118100"/>
                <a:gd name="connsiteX15" fmla="*/ 1371600 w 11499850"/>
                <a:gd name="connsiteY15" fmla="*/ 4711700 h 5118100"/>
                <a:gd name="connsiteX16" fmla="*/ 298450 w 11499850"/>
                <a:gd name="connsiteY16" fmla="*/ 4832350 h 5118100"/>
                <a:gd name="connsiteX17" fmla="*/ 0 w 11499850"/>
                <a:gd name="connsiteY17" fmla="*/ 5118100 h 5118100"/>
                <a:gd name="connsiteX0" fmla="*/ 0 w 11488371"/>
                <a:gd name="connsiteY0" fmla="*/ 5111750 h 5111750"/>
                <a:gd name="connsiteX1" fmla="*/ 11487150 w 11488371"/>
                <a:gd name="connsiteY1" fmla="*/ 5111750 h 5111750"/>
                <a:gd name="connsiteX2" fmla="*/ 11487150 w 11488371"/>
                <a:gd name="connsiteY2" fmla="*/ 0 h 5111750"/>
                <a:gd name="connsiteX3" fmla="*/ 10902950 w 11488371"/>
                <a:gd name="connsiteY3" fmla="*/ 552450 h 5111750"/>
                <a:gd name="connsiteX4" fmla="*/ 10109200 w 11488371"/>
                <a:gd name="connsiteY4" fmla="*/ 1098550 h 5111750"/>
                <a:gd name="connsiteX5" fmla="*/ 9372600 w 11488371"/>
                <a:gd name="connsiteY5" fmla="*/ 1746250 h 5111750"/>
                <a:gd name="connsiteX6" fmla="*/ 8616950 w 11488371"/>
                <a:gd name="connsiteY6" fmla="*/ 2146300 h 5111750"/>
                <a:gd name="connsiteX7" fmla="*/ 7899400 w 11488371"/>
                <a:gd name="connsiteY7" fmla="*/ 2482850 h 5111750"/>
                <a:gd name="connsiteX8" fmla="*/ 7004050 w 11488371"/>
                <a:gd name="connsiteY8" fmla="*/ 3009900 h 5111750"/>
                <a:gd name="connsiteX9" fmla="*/ 6051550 w 11488371"/>
                <a:gd name="connsiteY9" fmla="*/ 3308350 h 5111750"/>
                <a:gd name="connsiteX10" fmla="*/ 5340350 w 11488371"/>
                <a:gd name="connsiteY10" fmla="*/ 3676650 h 5111750"/>
                <a:gd name="connsiteX11" fmla="*/ 4483100 w 11488371"/>
                <a:gd name="connsiteY11" fmla="*/ 3803650 h 5111750"/>
                <a:gd name="connsiteX12" fmla="*/ 3746500 w 11488371"/>
                <a:gd name="connsiteY12" fmla="*/ 4102100 h 5111750"/>
                <a:gd name="connsiteX13" fmla="*/ 3067050 w 11488371"/>
                <a:gd name="connsiteY13" fmla="*/ 4216400 h 5111750"/>
                <a:gd name="connsiteX14" fmla="*/ 2178050 w 11488371"/>
                <a:gd name="connsiteY14" fmla="*/ 4235450 h 5111750"/>
                <a:gd name="connsiteX15" fmla="*/ 1371600 w 11488371"/>
                <a:gd name="connsiteY15" fmla="*/ 4705350 h 5111750"/>
                <a:gd name="connsiteX16" fmla="*/ 298450 w 11488371"/>
                <a:gd name="connsiteY16" fmla="*/ 4826000 h 5111750"/>
                <a:gd name="connsiteX17" fmla="*/ 0 w 11488371"/>
                <a:gd name="connsiteY17" fmla="*/ 5111750 h 5111750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902950 w 11487681"/>
                <a:gd name="connsiteY3" fmla="*/ 1108124 h 5667424"/>
                <a:gd name="connsiteX4" fmla="*/ 10109200 w 11487681"/>
                <a:gd name="connsiteY4" fmla="*/ 1654224 h 5667424"/>
                <a:gd name="connsiteX5" fmla="*/ 9372600 w 11487681"/>
                <a:gd name="connsiteY5" fmla="*/ 2301924 h 5667424"/>
                <a:gd name="connsiteX6" fmla="*/ 8616950 w 11487681"/>
                <a:gd name="connsiteY6" fmla="*/ 2701974 h 5667424"/>
                <a:gd name="connsiteX7" fmla="*/ 7899400 w 11487681"/>
                <a:gd name="connsiteY7" fmla="*/ 3038524 h 5667424"/>
                <a:gd name="connsiteX8" fmla="*/ 7004050 w 11487681"/>
                <a:gd name="connsiteY8" fmla="*/ 3565574 h 5667424"/>
                <a:gd name="connsiteX9" fmla="*/ 6051550 w 11487681"/>
                <a:gd name="connsiteY9" fmla="*/ 3864024 h 5667424"/>
                <a:gd name="connsiteX10" fmla="*/ 5340350 w 11487681"/>
                <a:gd name="connsiteY10" fmla="*/ 4232324 h 5667424"/>
                <a:gd name="connsiteX11" fmla="*/ 4483100 w 11487681"/>
                <a:gd name="connsiteY11" fmla="*/ 4359324 h 5667424"/>
                <a:gd name="connsiteX12" fmla="*/ 3746500 w 11487681"/>
                <a:gd name="connsiteY12" fmla="*/ 4657774 h 5667424"/>
                <a:gd name="connsiteX13" fmla="*/ 3067050 w 11487681"/>
                <a:gd name="connsiteY13" fmla="*/ 4772074 h 5667424"/>
                <a:gd name="connsiteX14" fmla="*/ 2178050 w 11487681"/>
                <a:gd name="connsiteY14" fmla="*/ 4791124 h 5667424"/>
                <a:gd name="connsiteX15" fmla="*/ 1371600 w 11487681"/>
                <a:gd name="connsiteY15" fmla="*/ 5261024 h 5667424"/>
                <a:gd name="connsiteX16" fmla="*/ 298450 w 11487681"/>
                <a:gd name="connsiteY16" fmla="*/ 5381674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902950 w 11487681"/>
                <a:gd name="connsiteY3" fmla="*/ 1108124 h 5667424"/>
                <a:gd name="connsiteX4" fmla="*/ 10109200 w 11487681"/>
                <a:gd name="connsiteY4" fmla="*/ 1654224 h 5667424"/>
                <a:gd name="connsiteX5" fmla="*/ 9372600 w 11487681"/>
                <a:gd name="connsiteY5" fmla="*/ 2301924 h 5667424"/>
                <a:gd name="connsiteX6" fmla="*/ 8616950 w 11487681"/>
                <a:gd name="connsiteY6" fmla="*/ 2701974 h 5667424"/>
                <a:gd name="connsiteX7" fmla="*/ 7899400 w 11487681"/>
                <a:gd name="connsiteY7" fmla="*/ 3038524 h 5667424"/>
                <a:gd name="connsiteX8" fmla="*/ 7004050 w 11487681"/>
                <a:gd name="connsiteY8" fmla="*/ 3565574 h 5667424"/>
                <a:gd name="connsiteX9" fmla="*/ 6051550 w 11487681"/>
                <a:gd name="connsiteY9" fmla="*/ 3864024 h 5667424"/>
                <a:gd name="connsiteX10" fmla="*/ 5340350 w 11487681"/>
                <a:gd name="connsiteY10" fmla="*/ 4232324 h 5667424"/>
                <a:gd name="connsiteX11" fmla="*/ 4483100 w 11487681"/>
                <a:gd name="connsiteY11" fmla="*/ 4359324 h 5667424"/>
                <a:gd name="connsiteX12" fmla="*/ 3746500 w 11487681"/>
                <a:gd name="connsiteY12" fmla="*/ 4657774 h 5667424"/>
                <a:gd name="connsiteX13" fmla="*/ 3067050 w 11487681"/>
                <a:gd name="connsiteY13" fmla="*/ 4772074 h 5667424"/>
                <a:gd name="connsiteX14" fmla="*/ 2178050 w 11487681"/>
                <a:gd name="connsiteY14" fmla="*/ 4791124 h 5667424"/>
                <a:gd name="connsiteX15" fmla="*/ 1371600 w 11487681"/>
                <a:gd name="connsiteY15" fmla="*/ 5261024 h 5667424"/>
                <a:gd name="connsiteX16" fmla="*/ 305492 w 11487681"/>
                <a:gd name="connsiteY16" fmla="*/ 5508283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902950 w 11487681"/>
                <a:gd name="connsiteY3" fmla="*/ 1108124 h 5667424"/>
                <a:gd name="connsiteX4" fmla="*/ 10109200 w 11487681"/>
                <a:gd name="connsiteY4" fmla="*/ 1654224 h 5667424"/>
                <a:gd name="connsiteX5" fmla="*/ 9372600 w 11487681"/>
                <a:gd name="connsiteY5" fmla="*/ 2301924 h 5667424"/>
                <a:gd name="connsiteX6" fmla="*/ 8616950 w 11487681"/>
                <a:gd name="connsiteY6" fmla="*/ 2701974 h 5667424"/>
                <a:gd name="connsiteX7" fmla="*/ 7899400 w 11487681"/>
                <a:gd name="connsiteY7" fmla="*/ 3038524 h 5667424"/>
                <a:gd name="connsiteX8" fmla="*/ 7004050 w 11487681"/>
                <a:gd name="connsiteY8" fmla="*/ 3565574 h 5667424"/>
                <a:gd name="connsiteX9" fmla="*/ 6051550 w 11487681"/>
                <a:gd name="connsiteY9" fmla="*/ 3864024 h 5667424"/>
                <a:gd name="connsiteX10" fmla="*/ 5340350 w 11487681"/>
                <a:gd name="connsiteY10" fmla="*/ 4232324 h 5667424"/>
                <a:gd name="connsiteX11" fmla="*/ 4483100 w 11487681"/>
                <a:gd name="connsiteY11" fmla="*/ 4359324 h 5667424"/>
                <a:gd name="connsiteX12" fmla="*/ 3746500 w 11487681"/>
                <a:gd name="connsiteY12" fmla="*/ 4657774 h 5667424"/>
                <a:gd name="connsiteX13" fmla="*/ 3067050 w 11487681"/>
                <a:gd name="connsiteY13" fmla="*/ 4772074 h 5667424"/>
                <a:gd name="connsiteX14" fmla="*/ 2178050 w 11487681"/>
                <a:gd name="connsiteY14" fmla="*/ 4791124 h 5667424"/>
                <a:gd name="connsiteX15" fmla="*/ 1371600 w 11487681"/>
                <a:gd name="connsiteY15" fmla="*/ 5408735 h 5667424"/>
                <a:gd name="connsiteX16" fmla="*/ 305492 w 11487681"/>
                <a:gd name="connsiteY16" fmla="*/ 5508283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902950 w 11487681"/>
                <a:gd name="connsiteY3" fmla="*/ 1108124 h 5667424"/>
                <a:gd name="connsiteX4" fmla="*/ 10109200 w 11487681"/>
                <a:gd name="connsiteY4" fmla="*/ 1654224 h 5667424"/>
                <a:gd name="connsiteX5" fmla="*/ 9372600 w 11487681"/>
                <a:gd name="connsiteY5" fmla="*/ 2301924 h 5667424"/>
                <a:gd name="connsiteX6" fmla="*/ 8616950 w 11487681"/>
                <a:gd name="connsiteY6" fmla="*/ 2701974 h 5667424"/>
                <a:gd name="connsiteX7" fmla="*/ 7899400 w 11487681"/>
                <a:gd name="connsiteY7" fmla="*/ 3038524 h 5667424"/>
                <a:gd name="connsiteX8" fmla="*/ 7004050 w 11487681"/>
                <a:gd name="connsiteY8" fmla="*/ 3565574 h 5667424"/>
                <a:gd name="connsiteX9" fmla="*/ 6051550 w 11487681"/>
                <a:gd name="connsiteY9" fmla="*/ 3864024 h 5667424"/>
                <a:gd name="connsiteX10" fmla="*/ 5340350 w 11487681"/>
                <a:gd name="connsiteY10" fmla="*/ 4232324 h 5667424"/>
                <a:gd name="connsiteX11" fmla="*/ 4483100 w 11487681"/>
                <a:gd name="connsiteY11" fmla="*/ 4359324 h 5667424"/>
                <a:gd name="connsiteX12" fmla="*/ 3746500 w 11487681"/>
                <a:gd name="connsiteY12" fmla="*/ 4657774 h 5667424"/>
                <a:gd name="connsiteX13" fmla="*/ 3067050 w 11487681"/>
                <a:gd name="connsiteY13" fmla="*/ 4772074 h 5667424"/>
                <a:gd name="connsiteX14" fmla="*/ 2178050 w 11487681"/>
                <a:gd name="connsiteY14" fmla="*/ 4791124 h 5667424"/>
                <a:gd name="connsiteX15" fmla="*/ 1336388 w 11487681"/>
                <a:gd name="connsiteY15" fmla="*/ 5436871 h 5667424"/>
                <a:gd name="connsiteX16" fmla="*/ 305492 w 11487681"/>
                <a:gd name="connsiteY16" fmla="*/ 5508283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902950 w 11487681"/>
                <a:gd name="connsiteY3" fmla="*/ 1108124 h 5667424"/>
                <a:gd name="connsiteX4" fmla="*/ 10109200 w 11487681"/>
                <a:gd name="connsiteY4" fmla="*/ 1654224 h 5667424"/>
                <a:gd name="connsiteX5" fmla="*/ 9372600 w 11487681"/>
                <a:gd name="connsiteY5" fmla="*/ 2301924 h 5667424"/>
                <a:gd name="connsiteX6" fmla="*/ 8616950 w 11487681"/>
                <a:gd name="connsiteY6" fmla="*/ 2701974 h 5667424"/>
                <a:gd name="connsiteX7" fmla="*/ 7899400 w 11487681"/>
                <a:gd name="connsiteY7" fmla="*/ 3038524 h 5667424"/>
                <a:gd name="connsiteX8" fmla="*/ 7004050 w 11487681"/>
                <a:gd name="connsiteY8" fmla="*/ 3565574 h 5667424"/>
                <a:gd name="connsiteX9" fmla="*/ 6051550 w 11487681"/>
                <a:gd name="connsiteY9" fmla="*/ 3864024 h 5667424"/>
                <a:gd name="connsiteX10" fmla="*/ 5340350 w 11487681"/>
                <a:gd name="connsiteY10" fmla="*/ 4232324 h 5667424"/>
                <a:gd name="connsiteX11" fmla="*/ 4483100 w 11487681"/>
                <a:gd name="connsiteY11" fmla="*/ 4359324 h 5667424"/>
                <a:gd name="connsiteX12" fmla="*/ 3746500 w 11487681"/>
                <a:gd name="connsiteY12" fmla="*/ 4657774 h 5667424"/>
                <a:gd name="connsiteX13" fmla="*/ 3067050 w 11487681"/>
                <a:gd name="connsiteY13" fmla="*/ 4772074 h 5667424"/>
                <a:gd name="connsiteX14" fmla="*/ 2227347 w 11487681"/>
                <a:gd name="connsiteY14" fmla="*/ 5058410 h 5667424"/>
                <a:gd name="connsiteX15" fmla="*/ 1336388 w 11487681"/>
                <a:gd name="connsiteY15" fmla="*/ 5436871 h 5667424"/>
                <a:gd name="connsiteX16" fmla="*/ 305492 w 11487681"/>
                <a:gd name="connsiteY16" fmla="*/ 5508283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902950 w 11487681"/>
                <a:gd name="connsiteY3" fmla="*/ 1108124 h 5667424"/>
                <a:gd name="connsiteX4" fmla="*/ 10109200 w 11487681"/>
                <a:gd name="connsiteY4" fmla="*/ 1654224 h 5667424"/>
                <a:gd name="connsiteX5" fmla="*/ 9372600 w 11487681"/>
                <a:gd name="connsiteY5" fmla="*/ 2301924 h 5667424"/>
                <a:gd name="connsiteX6" fmla="*/ 8616950 w 11487681"/>
                <a:gd name="connsiteY6" fmla="*/ 2701974 h 5667424"/>
                <a:gd name="connsiteX7" fmla="*/ 7899400 w 11487681"/>
                <a:gd name="connsiteY7" fmla="*/ 3038524 h 5667424"/>
                <a:gd name="connsiteX8" fmla="*/ 7004050 w 11487681"/>
                <a:gd name="connsiteY8" fmla="*/ 3565574 h 5667424"/>
                <a:gd name="connsiteX9" fmla="*/ 6051550 w 11487681"/>
                <a:gd name="connsiteY9" fmla="*/ 3864024 h 5667424"/>
                <a:gd name="connsiteX10" fmla="*/ 5340350 w 11487681"/>
                <a:gd name="connsiteY10" fmla="*/ 4232324 h 5667424"/>
                <a:gd name="connsiteX11" fmla="*/ 4483100 w 11487681"/>
                <a:gd name="connsiteY11" fmla="*/ 4359324 h 5667424"/>
                <a:gd name="connsiteX12" fmla="*/ 3746500 w 11487681"/>
                <a:gd name="connsiteY12" fmla="*/ 4657774 h 5667424"/>
                <a:gd name="connsiteX13" fmla="*/ 3052965 w 11487681"/>
                <a:gd name="connsiteY13" fmla="*/ 5067495 h 5667424"/>
                <a:gd name="connsiteX14" fmla="*/ 2227347 w 11487681"/>
                <a:gd name="connsiteY14" fmla="*/ 5058410 h 5667424"/>
                <a:gd name="connsiteX15" fmla="*/ 1336388 w 11487681"/>
                <a:gd name="connsiteY15" fmla="*/ 5436871 h 5667424"/>
                <a:gd name="connsiteX16" fmla="*/ 305492 w 11487681"/>
                <a:gd name="connsiteY16" fmla="*/ 5508283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902950 w 11487681"/>
                <a:gd name="connsiteY3" fmla="*/ 1108124 h 5667424"/>
                <a:gd name="connsiteX4" fmla="*/ 10109200 w 11487681"/>
                <a:gd name="connsiteY4" fmla="*/ 1654224 h 5667424"/>
                <a:gd name="connsiteX5" fmla="*/ 9372600 w 11487681"/>
                <a:gd name="connsiteY5" fmla="*/ 2301924 h 5667424"/>
                <a:gd name="connsiteX6" fmla="*/ 8616950 w 11487681"/>
                <a:gd name="connsiteY6" fmla="*/ 2701974 h 5667424"/>
                <a:gd name="connsiteX7" fmla="*/ 7899400 w 11487681"/>
                <a:gd name="connsiteY7" fmla="*/ 3038524 h 5667424"/>
                <a:gd name="connsiteX8" fmla="*/ 7004050 w 11487681"/>
                <a:gd name="connsiteY8" fmla="*/ 3565574 h 5667424"/>
                <a:gd name="connsiteX9" fmla="*/ 6051550 w 11487681"/>
                <a:gd name="connsiteY9" fmla="*/ 3864024 h 5667424"/>
                <a:gd name="connsiteX10" fmla="*/ 5340350 w 11487681"/>
                <a:gd name="connsiteY10" fmla="*/ 4232324 h 5667424"/>
                <a:gd name="connsiteX11" fmla="*/ 4483100 w 11487681"/>
                <a:gd name="connsiteY11" fmla="*/ 4359324 h 5667424"/>
                <a:gd name="connsiteX12" fmla="*/ 3760584 w 11487681"/>
                <a:gd name="connsiteY12" fmla="*/ 4882857 h 5667424"/>
                <a:gd name="connsiteX13" fmla="*/ 3052965 w 11487681"/>
                <a:gd name="connsiteY13" fmla="*/ 5067495 h 5667424"/>
                <a:gd name="connsiteX14" fmla="*/ 2227347 w 11487681"/>
                <a:gd name="connsiteY14" fmla="*/ 5058410 h 5667424"/>
                <a:gd name="connsiteX15" fmla="*/ 1336388 w 11487681"/>
                <a:gd name="connsiteY15" fmla="*/ 5436871 h 5667424"/>
                <a:gd name="connsiteX16" fmla="*/ 305492 w 11487681"/>
                <a:gd name="connsiteY16" fmla="*/ 5508283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902950 w 11487681"/>
                <a:gd name="connsiteY3" fmla="*/ 1108124 h 5667424"/>
                <a:gd name="connsiteX4" fmla="*/ 10109200 w 11487681"/>
                <a:gd name="connsiteY4" fmla="*/ 1654224 h 5667424"/>
                <a:gd name="connsiteX5" fmla="*/ 9372600 w 11487681"/>
                <a:gd name="connsiteY5" fmla="*/ 2301924 h 5667424"/>
                <a:gd name="connsiteX6" fmla="*/ 8616950 w 11487681"/>
                <a:gd name="connsiteY6" fmla="*/ 2701974 h 5667424"/>
                <a:gd name="connsiteX7" fmla="*/ 7899400 w 11487681"/>
                <a:gd name="connsiteY7" fmla="*/ 3038524 h 5667424"/>
                <a:gd name="connsiteX8" fmla="*/ 7004050 w 11487681"/>
                <a:gd name="connsiteY8" fmla="*/ 3565574 h 5667424"/>
                <a:gd name="connsiteX9" fmla="*/ 6051550 w 11487681"/>
                <a:gd name="connsiteY9" fmla="*/ 3864024 h 5667424"/>
                <a:gd name="connsiteX10" fmla="*/ 5340350 w 11487681"/>
                <a:gd name="connsiteY10" fmla="*/ 4232324 h 5667424"/>
                <a:gd name="connsiteX11" fmla="*/ 4497186 w 11487681"/>
                <a:gd name="connsiteY11" fmla="*/ 4619576 h 5667424"/>
                <a:gd name="connsiteX12" fmla="*/ 3760584 w 11487681"/>
                <a:gd name="connsiteY12" fmla="*/ 4882857 h 5667424"/>
                <a:gd name="connsiteX13" fmla="*/ 3052965 w 11487681"/>
                <a:gd name="connsiteY13" fmla="*/ 5067495 h 5667424"/>
                <a:gd name="connsiteX14" fmla="*/ 2227347 w 11487681"/>
                <a:gd name="connsiteY14" fmla="*/ 5058410 h 5667424"/>
                <a:gd name="connsiteX15" fmla="*/ 1336388 w 11487681"/>
                <a:gd name="connsiteY15" fmla="*/ 5436871 h 5667424"/>
                <a:gd name="connsiteX16" fmla="*/ 305492 w 11487681"/>
                <a:gd name="connsiteY16" fmla="*/ 5508283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902950 w 11487681"/>
                <a:gd name="connsiteY3" fmla="*/ 1108124 h 5667424"/>
                <a:gd name="connsiteX4" fmla="*/ 10109200 w 11487681"/>
                <a:gd name="connsiteY4" fmla="*/ 1654224 h 5667424"/>
                <a:gd name="connsiteX5" fmla="*/ 9372600 w 11487681"/>
                <a:gd name="connsiteY5" fmla="*/ 2301924 h 5667424"/>
                <a:gd name="connsiteX6" fmla="*/ 8616950 w 11487681"/>
                <a:gd name="connsiteY6" fmla="*/ 2701974 h 5667424"/>
                <a:gd name="connsiteX7" fmla="*/ 7899400 w 11487681"/>
                <a:gd name="connsiteY7" fmla="*/ 3038524 h 5667424"/>
                <a:gd name="connsiteX8" fmla="*/ 7004050 w 11487681"/>
                <a:gd name="connsiteY8" fmla="*/ 3565574 h 5667424"/>
                <a:gd name="connsiteX9" fmla="*/ 6051550 w 11487681"/>
                <a:gd name="connsiteY9" fmla="*/ 3864024 h 5667424"/>
                <a:gd name="connsiteX10" fmla="*/ 5354435 w 11487681"/>
                <a:gd name="connsiteY10" fmla="*/ 4422238 h 5667424"/>
                <a:gd name="connsiteX11" fmla="*/ 4497186 w 11487681"/>
                <a:gd name="connsiteY11" fmla="*/ 4619576 h 5667424"/>
                <a:gd name="connsiteX12" fmla="*/ 3760584 w 11487681"/>
                <a:gd name="connsiteY12" fmla="*/ 4882857 h 5667424"/>
                <a:gd name="connsiteX13" fmla="*/ 3052965 w 11487681"/>
                <a:gd name="connsiteY13" fmla="*/ 5067495 h 5667424"/>
                <a:gd name="connsiteX14" fmla="*/ 2227347 w 11487681"/>
                <a:gd name="connsiteY14" fmla="*/ 5058410 h 5667424"/>
                <a:gd name="connsiteX15" fmla="*/ 1336388 w 11487681"/>
                <a:gd name="connsiteY15" fmla="*/ 5436871 h 5667424"/>
                <a:gd name="connsiteX16" fmla="*/ 305492 w 11487681"/>
                <a:gd name="connsiteY16" fmla="*/ 5508283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902950 w 11487681"/>
                <a:gd name="connsiteY3" fmla="*/ 1108124 h 5667424"/>
                <a:gd name="connsiteX4" fmla="*/ 10109200 w 11487681"/>
                <a:gd name="connsiteY4" fmla="*/ 1654224 h 5667424"/>
                <a:gd name="connsiteX5" fmla="*/ 9372600 w 11487681"/>
                <a:gd name="connsiteY5" fmla="*/ 2301924 h 5667424"/>
                <a:gd name="connsiteX6" fmla="*/ 8616950 w 11487681"/>
                <a:gd name="connsiteY6" fmla="*/ 2701974 h 5667424"/>
                <a:gd name="connsiteX7" fmla="*/ 7899400 w 11487681"/>
                <a:gd name="connsiteY7" fmla="*/ 3038524 h 5667424"/>
                <a:gd name="connsiteX8" fmla="*/ 7004050 w 11487681"/>
                <a:gd name="connsiteY8" fmla="*/ 3565574 h 5667424"/>
                <a:gd name="connsiteX9" fmla="*/ 6051550 w 11487681"/>
                <a:gd name="connsiteY9" fmla="*/ 4053938 h 5667424"/>
                <a:gd name="connsiteX10" fmla="*/ 5354435 w 11487681"/>
                <a:gd name="connsiteY10" fmla="*/ 4422238 h 5667424"/>
                <a:gd name="connsiteX11" fmla="*/ 4497186 w 11487681"/>
                <a:gd name="connsiteY11" fmla="*/ 4619576 h 5667424"/>
                <a:gd name="connsiteX12" fmla="*/ 3760584 w 11487681"/>
                <a:gd name="connsiteY12" fmla="*/ 4882857 h 5667424"/>
                <a:gd name="connsiteX13" fmla="*/ 3052965 w 11487681"/>
                <a:gd name="connsiteY13" fmla="*/ 5067495 h 5667424"/>
                <a:gd name="connsiteX14" fmla="*/ 2227347 w 11487681"/>
                <a:gd name="connsiteY14" fmla="*/ 5058410 h 5667424"/>
                <a:gd name="connsiteX15" fmla="*/ 1336388 w 11487681"/>
                <a:gd name="connsiteY15" fmla="*/ 5436871 h 5667424"/>
                <a:gd name="connsiteX16" fmla="*/ 305492 w 11487681"/>
                <a:gd name="connsiteY16" fmla="*/ 5508283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902950 w 11487681"/>
                <a:gd name="connsiteY3" fmla="*/ 1108124 h 5667424"/>
                <a:gd name="connsiteX4" fmla="*/ 10109200 w 11487681"/>
                <a:gd name="connsiteY4" fmla="*/ 1654224 h 5667424"/>
                <a:gd name="connsiteX5" fmla="*/ 9372600 w 11487681"/>
                <a:gd name="connsiteY5" fmla="*/ 2301924 h 5667424"/>
                <a:gd name="connsiteX6" fmla="*/ 8616950 w 11487681"/>
                <a:gd name="connsiteY6" fmla="*/ 2701974 h 5667424"/>
                <a:gd name="connsiteX7" fmla="*/ 7899400 w 11487681"/>
                <a:gd name="connsiteY7" fmla="*/ 3038524 h 5667424"/>
                <a:gd name="connsiteX8" fmla="*/ 6975881 w 11487681"/>
                <a:gd name="connsiteY8" fmla="*/ 3910232 h 5667424"/>
                <a:gd name="connsiteX9" fmla="*/ 6051550 w 11487681"/>
                <a:gd name="connsiteY9" fmla="*/ 4053938 h 5667424"/>
                <a:gd name="connsiteX10" fmla="*/ 5354435 w 11487681"/>
                <a:gd name="connsiteY10" fmla="*/ 4422238 h 5667424"/>
                <a:gd name="connsiteX11" fmla="*/ 4497186 w 11487681"/>
                <a:gd name="connsiteY11" fmla="*/ 4619576 h 5667424"/>
                <a:gd name="connsiteX12" fmla="*/ 3760584 w 11487681"/>
                <a:gd name="connsiteY12" fmla="*/ 4882857 h 5667424"/>
                <a:gd name="connsiteX13" fmla="*/ 3052965 w 11487681"/>
                <a:gd name="connsiteY13" fmla="*/ 5067495 h 5667424"/>
                <a:gd name="connsiteX14" fmla="*/ 2227347 w 11487681"/>
                <a:gd name="connsiteY14" fmla="*/ 5058410 h 5667424"/>
                <a:gd name="connsiteX15" fmla="*/ 1336388 w 11487681"/>
                <a:gd name="connsiteY15" fmla="*/ 5436871 h 5667424"/>
                <a:gd name="connsiteX16" fmla="*/ 305492 w 11487681"/>
                <a:gd name="connsiteY16" fmla="*/ 5508283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902950 w 11487681"/>
                <a:gd name="connsiteY3" fmla="*/ 1108124 h 5667424"/>
                <a:gd name="connsiteX4" fmla="*/ 10109200 w 11487681"/>
                <a:gd name="connsiteY4" fmla="*/ 1654224 h 5667424"/>
                <a:gd name="connsiteX5" fmla="*/ 9372600 w 11487681"/>
                <a:gd name="connsiteY5" fmla="*/ 2301924 h 5667424"/>
                <a:gd name="connsiteX6" fmla="*/ 8616950 w 11487681"/>
                <a:gd name="connsiteY6" fmla="*/ 2701974 h 5667424"/>
                <a:gd name="connsiteX7" fmla="*/ 7920527 w 11487681"/>
                <a:gd name="connsiteY7" fmla="*/ 3411318 h 5667424"/>
                <a:gd name="connsiteX8" fmla="*/ 6975881 w 11487681"/>
                <a:gd name="connsiteY8" fmla="*/ 3910232 h 5667424"/>
                <a:gd name="connsiteX9" fmla="*/ 6051550 w 11487681"/>
                <a:gd name="connsiteY9" fmla="*/ 4053938 h 5667424"/>
                <a:gd name="connsiteX10" fmla="*/ 5354435 w 11487681"/>
                <a:gd name="connsiteY10" fmla="*/ 4422238 h 5667424"/>
                <a:gd name="connsiteX11" fmla="*/ 4497186 w 11487681"/>
                <a:gd name="connsiteY11" fmla="*/ 4619576 h 5667424"/>
                <a:gd name="connsiteX12" fmla="*/ 3760584 w 11487681"/>
                <a:gd name="connsiteY12" fmla="*/ 4882857 h 5667424"/>
                <a:gd name="connsiteX13" fmla="*/ 3052965 w 11487681"/>
                <a:gd name="connsiteY13" fmla="*/ 5067495 h 5667424"/>
                <a:gd name="connsiteX14" fmla="*/ 2227347 w 11487681"/>
                <a:gd name="connsiteY14" fmla="*/ 5058410 h 5667424"/>
                <a:gd name="connsiteX15" fmla="*/ 1336388 w 11487681"/>
                <a:gd name="connsiteY15" fmla="*/ 5436871 h 5667424"/>
                <a:gd name="connsiteX16" fmla="*/ 305492 w 11487681"/>
                <a:gd name="connsiteY16" fmla="*/ 5508283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902950 w 11487681"/>
                <a:gd name="connsiteY3" fmla="*/ 1108124 h 5667424"/>
                <a:gd name="connsiteX4" fmla="*/ 10109200 w 11487681"/>
                <a:gd name="connsiteY4" fmla="*/ 1654224 h 5667424"/>
                <a:gd name="connsiteX5" fmla="*/ 9372600 w 11487681"/>
                <a:gd name="connsiteY5" fmla="*/ 2301924 h 5667424"/>
                <a:gd name="connsiteX6" fmla="*/ 8588781 w 11487681"/>
                <a:gd name="connsiteY6" fmla="*/ 2962226 h 5667424"/>
                <a:gd name="connsiteX7" fmla="*/ 7920527 w 11487681"/>
                <a:gd name="connsiteY7" fmla="*/ 3411318 h 5667424"/>
                <a:gd name="connsiteX8" fmla="*/ 6975881 w 11487681"/>
                <a:gd name="connsiteY8" fmla="*/ 3910232 h 5667424"/>
                <a:gd name="connsiteX9" fmla="*/ 6051550 w 11487681"/>
                <a:gd name="connsiteY9" fmla="*/ 4053938 h 5667424"/>
                <a:gd name="connsiteX10" fmla="*/ 5354435 w 11487681"/>
                <a:gd name="connsiteY10" fmla="*/ 4422238 h 5667424"/>
                <a:gd name="connsiteX11" fmla="*/ 4497186 w 11487681"/>
                <a:gd name="connsiteY11" fmla="*/ 4619576 h 5667424"/>
                <a:gd name="connsiteX12" fmla="*/ 3760584 w 11487681"/>
                <a:gd name="connsiteY12" fmla="*/ 4882857 h 5667424"/>
                <a:gd name="connsiteX13" fmla="*/ 3052965 w 11487681"/>
                <a:gd name="connsiteY13" fmla="*/ 5067495 h 5667424"/>
                <a:gd name="connsiteX14" fmla="*/ 2227347 w 11487681"/>
                <a:gd name="connsiteY14" fmla="*/ 5058410 h 5667424"/>
                <a:gd name="connsiteX15" fmla="*/ 1336388 w 11487681"/>
                <a:gd name="connsiteY15" fmla="*/ 5436871 h 5667424"/>
                <a:gd name="connsiteX16" fmla="*/ 305492 w 11487681"/>
                <a:gd name="connsiteY16" fmla="*/ 5508283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902950 w 11487681"/>
                <a:gd name="connsiteY3" fmla="*/ 1108124 h 5667424"/>
                <a:gd name="connsiteX4" fmla="*/ 10109200 w 11487681"/>
                <a:gd name="connsiteY4" fmla="*/ 1654224 h 5667424"/>
                <a:gd name="connsiteX5" fmla="*/ 9386686 w 11487681"/>
                <a:gd name="connsiteY5" fmla="*/ 2681751 h 5667424"/>
                <a:gd name="connsiteX6" fmla="*/ 8588781 w 11487681"/>
                <a:gd name="connsiteY6" fmla="*/ 2962226 h 5667424"/>
                <a:gd name="connsiteX7" fmla="*/ 7920527 w 11487681"/>
                <a:gd name="connsiteY7" fmla="*/ 3411318 h 5667424"/>
                <a:gd name="connsiteX8" fmla="*/ 6975881 w 11487681"/>
                <a:gd name="connsiteY8" fmla="*/ 3910232 h 5667424"/>
                <a:gd name="connsiteX9" fmla="*/ 6051550 w 11487681"/>
                <a:gd name="connsiteY9" fmla="*/ 4053938 h 5667424"/>
                <a:gd name="connsiteX10" fmla="*/ 5354435 w 11487681"/>
                <a:gd name="connsiteY10" fmla="*/ 4422238 h 5667424"/>
                <a:gd name="connsiteX11" fmla="*/ 4497186 w 11487681"/>
                <a:gd name="connsiteY11" fmla="*/ 4619576 h 5667424"/>
                <a:gd name="connsiteX12" fmla="*/ 3760584 w 11487681"/>
                <a:gd name="connsiteY12" fmla="*/ 4882857 h 5667424"/>
                <a:gd name="connsiteX13" fmla="*/ 3052965 w 11487681"/>
                <a:gd name="connsiteY13" fmla="*/ 5067495 h 5667424"/>
                <a:gd name="connsiteX14" fmla="*/ 2227347 w 11487681"/>
                <a:gd name="connsiteY14" fmla="*/ 5058410 h 5667424"/>
                <a:gd name="connsiteX15" fmla="*/ 1336388 w 11487681"/>
                <a:gd name="connsiteY15" fmla="*/ 5436871 h 5667424"/>
                <a:gd name="connsiteX16" fmla="*/ 305492 w 11487681"/>
                <a:gd name="connsiteY16" fmla="*/ 5508283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902950 w 11487681"/>
                <a:gd name="connsiteY3" fmla="*/ 1108124 h 5667424"/>
                <a:gd name="connsiteX4" fmla="*/ 10123285 w 11487681"/>
                <a:gd name="connsiteY4" fmla="*/ 2062187 h 5667424"/>
                <a:gd name="connsiteX5" fmla="*/ 9386686 w 11487681"/>
                <a:gd name="connsiteY5" fmla="*/ 2681751 h 5667424"/>
                <a:gd name="connsiteX6" fmla="*/ 8588781 w 11487681"/>
                <a:gd name="connsiteY6" fmla="*/ 2962226 h 5667424"/>
                <a:gd name="connsiteX7" fmla="*/ 7920527 w 11487681"/>
                <a:gd name="connsiteY7" fmla="*/ 3411318 h 5667424"/>
                <a:gd name="connsiteX8" fmla="*/ 6975881 w 11487681"/>
                <a:gd name="connsiteY8" fmla="*/ 3910232 h 5667424"/>
                <a:gd name="connsiteX9" fmla="*/ 6051550 w 11487681"/>
                <a:gd name="connsiteY9" fmla="*/ 4053938 h 5667424"/>
                <a:gd name="connsiteX10" fmla="*/ 5354435 w 11487681"/>
                <a:gd name="connsiteY10" fmla="*/ 4422238 h 5667424"/>
                <a:gd name="connsiteX11" fmla="*/ 4497186 w 11487681"/>
                <a:gd name="connsiteY11" fmla="*/ 4619576 h 5667424"/>
                <a:gd name="connsiteX12" fmla="*/ 3760584 w 11487681"/>
                <a:gd name="connsiteY12" fmla="*/ 4882857 h 5667424"/>
                <a:gd name="connsiteX13" fmla="*/ 3052965 w 11487681"/>
                <a:gd name="connsiteY13" fmla="*/ 5067495 h 5667424"/>
                <a:gd name="connsiteX14" fmla="*/ 2227347 w 11487681"/>
                <a:gd name="connsiteY14" fmla="*/ 5058410 h 5667424"/>
                <a:gd name="connsiteX15" fmla="*/ 1336388 w 11487681"/>
                <a:gd name="connsiteY15" fmla="*/ 5436871 h 5667424"/>
                <a:gd name="connsiteX16" fmla="*/ 305492 w 11487681"/>
                <a:gd name="connsiteY16" fmla="*/ 5508283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888864 w 11487681"/>
                <a:gd name="connsiteY3" fmla="*/ 1480917 h 5667424"/>
                <a:gd name="connsiteX4" fmla="*/ 10123285 w 11487681"/>
                <a:gd name="connsiteY4" fmla="*/ 2062187 h 5667424"/>
                <a:gd name="connsiteX5" fmla="*/ 9386686 w 11487681"/>
                <a:gd name="connsiteY5" fmla="*/ 2681751 h 5667424"/>
                <a:gd name="connsiteX6" fmla="*/ 8588781 w 11487681"/>
                <a:gd name="connsiteY6" fmla="*/ 2962226 h 5667424"/>
                <a:gd name="connsiteX7" fmla="*/ 7920527 w 11487681"/>
                <a:gd name="connsiteY7" fmla="*/ 3411318 h 5667424"/>
                <a:gd name="connsiteX8" fmla="*/ 6975881 w 11487681"/>
                <a:gd name="connsiteY8" fmla="*/ 3910232 h 5667424"/>
                <a:gd name="connsiteX9" fmla="*/ 6051550 w 11487681"/>
                <a:gd name="connsiteY9" fmla="*/ 4053938 h 5667424"/>
                <a:gd name="connsiteX10" fmla="*/ 5354435 w 11487681"/>
                <a:gd name="connsiteY10" fmla="*/ 4422238 h 5667424"/>
                <a:gd name="connsiteX11" fmla="*/ 4497186 w 11487681"/>
                <a:gd name="connsiteY11" fmla="*/ 4619576 h 5667424"/>
                <a:gd name="connsiteX12" fmla="*/ 3760584 w 11487681"/>
                <a:gd name="connsiteY12" fmla="*/ 4882857 h 5667424"/>
                <a:gd name="connsiteX13" fmla="*/ 3052965 w 11487681"/>
                <a:gd name="connsiteY13" fmla="*/ 5067495 h 5667424"/>
                <a:gd name="connsiteX14" fmla="*/ 2227347 w 11487681"/>
                <a:gd name="connsiteY14" fmla="*/ 5058410 h 5667424"/>
                <a:gd name="connsiteX15" fmla="*/ 1336388 w 11487681"/>
                <a:gd name="connsiteY15" fmla="*/ 5436871 h 5667424"/>
                <a:gd name="connsiteX16" fmla="*/ 305492 w 11487681"/>
                <a:gd name="connsiteY16" fmla="*/ 5508283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888864 w 11487681"/>
                <a:gd name="connsiteY3" fmla="*/ 1480917 h 5667424"/>
                <a:gd name="connsiteX4" fmla="*/ 10123285 w 11487681"/>
                <a:gd name="connsiteY4" fmla="*/ 2062187 h 5667424"/>
                <a:gd name="connsiteX5" fmla="*/ 9386686 w 11487681"/>
                <a:gd name="connsiteY5" fmla="*/ 2681751 h 5667424"/>
                <a:gd name="connsiteX6" fmla="*/ 8588781 w 11487681"/>
                <a:gd name="connsiteY6" fmla="*/ 2962226 h 5667424"/>
                <a:gd name="connsiteX7" fmla="*/ 7920527 w 11487681"/>
                <a:gd name="connsiteY7" fmla="*/ 3411318 h 5667424"/>
                <a:gd name="connsiteX8" fmla="*/ 6975881 w 11487681"/>
                <a:gd name="connsiteY8" fmla="*/ 3910232 h 5667424"/>
                <a:gd name="connsiteX9" fmla="*/ 6051550 w 11487681"/>
                <a:gd name="connsiteY9" fmla="*/ 4053938 h 5667424"/>
                <a:gd name="connsiteX10" fmla="*/ 5354435 w 11487681"/>
                <a:gd name="connsiteY10" fmla="*/ 4422238 h 5667424"/>
                <a:gd name="connsiteX11" fmla="*/ 4497186 w 11487681"/>
                <a:gd name="connsiteY11" fmla="*/ 4619576 h 5667424"/>
                <a:gd name="connsiteX12" fmla="*/ 3760584 w 11487681"/>
                <a:gd name="connsiteY12" fmla="*/ 4882857 h 5667424"/>
                <a:gd name="connsiteX13" fmla="*/ 3052965 w 11487681"/>
                <a:gd name="connsiteY13" fmla="*/ 5067495 h 5667424"/>
                <a:gd name="connsiteX14" fmla="*/ 2227347 w 11487681"/>
                <a:gd name="connsiteY14" fmla="*/ 5058410 h 5667424"/>
                <a:gd name="connsiteX15" fmla="*/ 1336388 w 11487681"/>
                <a:gd name="connsiteY15" fmla="*/ 5436871 h 5667424"/>
                <a:gd name="connsiteX16" fmla="*/ 305492 w 11487681"/>
                <a:gd name="connsiteY16" fmla="*/ 5529385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888864 w 11487681"/>
                <a:gd name="connsiteY3" fmla="*/ 1480917 h 5667424"/>
                <a:gd name="connsiteX4" fmla="*/ 10123285 w 11487681"/>
                <a:gd name="connsiteY4" fmla="*/ 2062187 h 5667424"/>
                <a:gd name="connsiteX5" fmla="*/ 9386686 w 11487681"/>
                <a:gd name="connsiteY5" fmla="*/ 2681751 h 5667424"/>
                <a:gd name="connsiteX6" fmla="*/ 8588781 w 11487681"/>
                <a:gd name="connsiteY6" fmla="*/ 2962226 h 5667424"/>
                <a:gd name="connsiteX7" fmla="*/ 7920527 w 11487681"/>
                <a:gd name="connsiteY7" fmla="*/ 3411318 h 5667424"/>
                <a:gd name="connsiteX8" fmla="*/ 6975881 w 11487681"/>
                <a:gd name="connsiteY8" fmla="*/ 3910232 h 5667424"/>
                <a:gd name="connsiteX9" fmla="*/ 6051550 w 11487681"/>
                <a:gd name="connsiteY9" fmla="*/ 4053938 h 5667424"/>
                <a:gd name="connsiteX10" fmla="*/ 5354435 w 11487681"/>
                <a:gd name="connsiteY10" fmla="*/ 4422238 h 5667424"/>
                <a:gd name="connsiteX11" fmla="*/ 4497186 w 11487681"/>
                <a:gd name="connsiteY11" fmla="*/ 4619576 h 5667424"/>
                <a:gd name="connsiteX12" fmla="*/ 3760584 w 11487681"/>
                <a:gd name="connsiteY12" fmla="*/ 4882857 h 5667424"/>
                <a:gd name="connsiteX13" fmla="*/ 3052965 w 11487681"/>
                <a:gd name="connsiteY13" fmla="*/ 5067495 h 5667424"/>
                <a:gd name="connsiteX14" fmla="*/ 2227347 w 11487681"/>
                <a:gd name="connsiteY14" fmla="*/ 5058410 h 5667424"/>
                <a:gd name="connsiteX15" fmla="*/ 1336388 w 11487681"/>
                <a:gd name="connsiteY15" fmla="*/ 5507209 h 5667424"/>
                <a:gd name="connsiteX16" fmla="*/ 305492 w 11487681"/>
                <a:gd name="connsiteY16" fmla="*/ 5529385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888864 w 11487681"/>
                <a:gd name="connsiteY3" fmla="*/ 1480917 h 5667424"/>
                <a:gd name="connsiteX4" fmla="*/ 10123285 w 11487681"/>
                <a:gd name="connsiteY4" fmla="*/ 2062187 h 5667424"/>
                <a:gd name="connsiteX5" fmla="*/ 9386686 w 11487681"/>
                <a:gd name="connsiteY5" fmla="*/ 2681751 h 5667424"/>
                <a:gd name="connsiteX6" fmla="*/ 8588781 w 11487681"/>
                <a:gd name="connsiteY6" fmla="*/ 2962226 h 5667424"/>
                <a:gd name="connsiteX7" fmla="*/ 7920527 w 11487681"/>
                <a:gd name="connsiteY7" fmla="*/ 3411318 h 5667424"/>
                <a:gd name="connsiteX8" fmla="*/ 6975881 w 11487681"/>
                <a:gd name="connsiteY8" fmla="*/ 3910232 h 5667424"/>
                <a:gd name="connsiteX9" fmla="*/ 6051550 w 11487681"/>
                <a:gd name="connsiteY9" fmla="*/ 4053938 h 5667424"/>
                <a:gd name="connsiteX10" fmla="*/ 5354435 w 11487681"/>
                <a:gd name="connsiteY10" fmla="*/ 4422238 h 5667424"/>
                <a:gd name="connsiteX11" fmla="*/ 4497186 w 11487681"/>
                <a:gd name="connsiteY11" fmla="*/ 4619576 h 5667424"/>
                <a:gd name="connsiteX12" fmla="*/ 3760584 w 11487681"/>
                <a:gd name="connsiteY12" fmla="*/ 4882857 h 5667424"/>
                <a:gd name="connsiteX13" fmla="*/ 3052965 w 11487681"/>
                <a:gd name="connsiteY13" fmla="*/ 5067495 h 5667424"/>
                <a:gd name="connsiteX14" fmla="*/ 2227347 w 11487681"/>
                <a:gd name="connsiteY14" fmla="*/ 5058410 h 5667424"/>
                <a:gd name="connsiteX15" fmla="*/ 1336388 w 11487681"/>
                <a:gd name="connsiteY15" fmla="*/ 5465006 h 5667424"/>
                <a:gd name="connsiteX16" fmla="*/ 305492 w 11487681"/>
                <a:gd name="connsiteY16" fmla="*/ 5529385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888864 w 11487681"/>
                <a:gd name="connsiteY3" fmla="*/ 1480917 h 5667424"/>
                <a:gd name="connsiteX4" fmla="*/ 10123285 w 11487681"/>
                <a:gd name="connsiteY4" fmla="*/ 2062187 h 5667424"/>
                <a:gd name="connsiteX5" fmla="*/ 9386686 w 11487681"/>
                <a:gd name="connsiteY5" fmla="*/ 2681751 h 5667424"/>
                <a:gd name="connsiteX6" fmla="*/ 8588781 w 11487681"/>
                <a:gd name="connsiteY6" fmla="*/ 2962226 h 5667424"/>
                <a:gd name="connsiteX7" fmla="*/ 7920527 w 11487681"/>
                <a:gd name="connsiteY7" fmla="*/ 3411318 h 5667424"/>
                <a:gd name="connsiteX8" fmla="*/ 6975881 w 11487681"/>
                <a:gd name="connsiteY8" fmla="*/ 3910232 h 5667424"/>
                <a:gd name="connsiteX9" fmla="*/ 6051550 w 11487681"/>
                <a:gd name="connsiteY9" fmla="*/ 4053938 h 5667424"/>
                <a:gd name="connsiteX10" fmla="*/ 5354435 w 11487681"/>
                <a:gd name="connsiteY10" fmla="*/ 4422238 h 5667424"/>
                <a:gd name="connsiteX11" fmla="*/ 4497186 w 11487681"/>
                <a:gd name="connsiteY11" fmla="*/ 4619576 h 5667424"/>
                <a:gd name="connsiteX12" fmla="*/ 3760584 w 11487681"/>
                <a:gd name="connsiteY12" fmla="*/ 4882857 h 5667424"/>
                <a:gd name="connsiteX13" fmla="*/ 3052965 w 11487681"/>
                <a:gd name="connsiteY13" fmla="*/ 5067495 h 5667424"/>
                <a:gd name="connsiteX14" fmla="*/ 2185093 w 11487681"/>
                <a:gd name="connsiteY14" fmla="*/ 5199087 h 5667424"/>
                <a:gd name="connsiteX15" fmla="*/ 1336388 w 11487681"/>
                <a:gd name="connsiteY15" fmla="*/ 5465006 h 5667424"/>
                <a:gd name="connsiteX16" fmla="*/ 305492 w 11487681"/>
                <a:gd name="connsiteY16" fmla="*/ 5529385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888864 w 11487681"/>
                <a:gd name="connsiteY3" fmla="*/ 1480917 h 5667424"/>
                <a:gd name="connsiteX4" fmla="*/ 10123285 w 11487681"/>
                <a:gd name="connsiteY4" fmla="*/ 2062187 h 5667424"/>
                <a:gd name="connsiteX5" fmla="*/ 9386686 w 11487681"/>
                <a:gd name="connsiteY5" fmla="*/ 2681751 h 5667424"/>
                <a:gd name="connsiteX6" fmla="*/ 8588781 w 11487681"/>
                <a:gd name="connsiteY6" fmla="*/ 2962226 h 5667424"/>
                <a:gd name="connsiteX7" fmla="*/ 7920527 w 11487681"/>
                <a:gd name="connsiteY7" fmla="*/ 3411318 h 5667424"/>
                <a:gd name="connsiteX8" fmla="*/ 6975881 w 11487681"/>
                <a:gd name="connsiteY8" fmla="*/ 3910232 h 5667424"/>
                <a:gd name="connsiteX9" fmla="*/ 6051550 w 11487681"/>
                <a:gd name="connsiteY9" fmla="*/ 4053938 h 5667424"/>
                <a:gd name="connsiteX10" fmla="*/ 5354435 w 11487681"/>
                <a:gd name="connsiteY10" fmla="*/ 4422238 h 5667424"/>
                <a:gd name="connsiteX11" fmla="*/ 4497186 w 11487681"/>
                <a:gd name="connsiteY11" fmla="*/ 4619576 h 5667424"/>
                <a:gd name="connsiteX12" fmla="*/ 3760584 w 11487681"/>
                <a:gd name="connsiteY12" fmla="*/ 4882857 h 5667424"/>
                <a:gd name="connsiteX13" fmla="*/ 3052965 w 11487681"/>
                <a:gd name="connsiteY13" fmla="*/ 5123766 h 5667424"/>
                <a:gd name="connsiteX14" fmla="*/ 2185093 w 11487681"/>
                <a:gd name="connsiteY14" fmla="*/ 5199087 h 5667424"/>
                <a:gd name="connsiteX15" fmla="*/ 1336388 w 11487681"/>
                <a:gd name="connsiteY15" fmla="*/ 5465006 h 5667424"/>
                <a:gd name="connsiteX16" fmla="*/ 305492 w 11487681"/>
                <a:gd name="connsiteY16" fmla="*/ 5529385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888864 w 11487681"/>
                <a:gd name="connsiteY3" fmla="*/ 1480917 h 5667424"/>
                <a:gd name="connsiteX4" fmla="*/ 10123285 w 11487681"/>
                <a:gd name="connsiteY4" fmla="*/ 2062187 h 5667424"/>
                <a:gd name="connsiteX5" fmla="*/ 9386686 w 11487681"/>
                <a:gd name="connsiteY5" fmla="*/ 2681751 h 5667424"/>
                <a:gd name="connsiteX6" fmla="*/ 8588781 w 11487681"/>
                <a:gd name="connsiteY6" fmla="*/ 2962226 h 5667424"/>
                <a:gd name="connsiteX7" fmla="*/ 7920527 w 11487681"/>
                <a:gd name="connsiteY7" fmla="*/ 3411318 h 5667424"/>
                <a:gd name="connsiteX8" fmla="*/ 6975881 w 11487681"/>
                <a:gd name="connsiteY8" fmla="*/ 3910232 h 5667424"/>
                <a:gd name="connsiteX9" fmla="*/ 6051550 w 11487681"/>
                <a:gd name="connsiteY9" fmla="*/ 4053938 h 5667424"/>
                <a:gd name="connsiteX10" fmla="*/ 5354435 w 11487681"/>
                <a:gd name="connsiteY10" fmla="*/ 4422238 h 5667424"/>
                <a:gd name="connsiteX11" fmla="*/ 4497186 w 11487681"/>
                <a:gd name="connsiteY11" fmla="*/ 4619576 h 5667424"/>
                <a:gd name="connsiteX12" fmla="*/ 3746499 w 11487681"/>
                <a:gd name="connsiteY12" fmla="*/ 4939128 h 5667424"/>
                <a:gd name="connsiteX13" fmla="*/ 3052965 w 11487681"/>
                <a:gd name="connsiteY13" fmla="*/ 5123766 h 5667424"/>
                <a:gd name="connsiteX14" fmla="*/ 2185093 w 11487681"/>
                <a:gd name="connsiteY14" fmla="*/ 5199087 h 5667424"/>
                <a:gd name="connsiteX15" fmla="*/ 1336388 w 11487681"/>
                <a:gd name="connsiteY15" fmla="*/ 5465006 h 5667424"/>
                <a:gd name="connsiteX16" fmla="*/ 305492 w 11487681"/>
                <a:gd name="connsiteY16" fmla="*/ 5529385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888864 w 11487681"/>
                <a:gd name="connsiteY3" fmla="*/ 1480917 h 5667424"/>
                <a:gd name="connsiteX4" fmla="*/ 10123285 w 11487681"/>
                <a:gd name="connsiteY4" fmla="*/ 2062187 h 5667424"/>
                <a:gd name="connsiteX5" fmla="*/ 9386686 w 11487681"/>
                <a:gd name="connsiteY5" fmla="*/ 2681751 h 5667424"/>
                <a:gd name="connsiteX6" fmla="*/ 8588781 w 11487681"/>
                <a:gd name="connsiteY6" fmla="*/ 2962226 h 5667424"/>
                <a:gd name="connsiteX7" fmla="*/ 7920527 w 11487681"/>
                <a:gd name="connsiteY7" fmla="*/ 3411318 h 5667424"/>
                <a:gd name="connsiteX8" fmla="*/ 6975881 w 11487681"/>
                <a:gd name="connsiteY8" fmla="*/ 3910232 h 5667424"/>
                <a:gd name="connsiteX9" fmla="*/ 6051550 w 11487681"/>
                <a:gd name="connsiteY9" fmla="*/ 4053938 h 5667424"/>
                <a:gd name="connsiteX10" fmla="*/ 5354435 w 11487681"/>
                <a:gd name="connsiteY10" fmla="*/ 4422238 h 5667424"/>
                <a:gd name="connsiteX11" fmla="*/ 4483102 w 11487681"/>
                <a:gd name="connsiteY11" fmla="*/ 4774321 h 5667424"/>
                <a:gd name="connsiteX12" fmla="*/ 3746499 w 11487681"/>
                <a:gd name="connsiteY12" fmla="*/ 4939128 h 5667424"/>
                <a:gd name="connsiteX13" fmla="*/ 3052965 w 11487681"/>
                <a:gd name="connsiteY13" fmla="*/ 5123766 h 5667424"/>
                <a:gd name="connsiteX14" fmla="*/ 2185093 w 11487681"/>
                <a:gd name="connsiteY14" fmla="*/ 5199087 h 5667424"/>
                <a:gd name="connsiteX15" fmla="*/ 1336388 w 11487681"/>
                <a:gd name="connsiteY15" fmla="*/ 5465006 h 5667424"/>
                <a:gd name="connsiteX16" fmla="*/ 305492 w 11487681"/>
                <a:gd name="connsiteY16" fmla="*/ 5529385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888864 w 11487681"/>
                <a:gd name="connsiteY3" fmla="*/ 1480917 h 5667424"/>
                <a:gd name="connsiteX4" fmla="*/ 10123285 w 11487681"/>
                <a:gd name="connsiteY4" fmla="*/ 2062187 h 5667424"/>
                <a:gd name="connsiteX5" fmla="*/ 9386686 w 11487681"/>
                <a:gd name="connsiteY5" fmla="*/ 2681751 h 5667424"/>
                <a:gd name="connsiteX6" fmla="*/ 8588781 w 11487681"/>
                <a:gd name="connsiteY6" fmla="*/ 2962226 h 5667424"/>
                <a:gd name="connsiteX7" fmla="*/ 7920527 w 11487681"/>
                <a:gd name="connsiteY7" fmla="*/ 3411318 h 5667424"/>
                <a:gd name="connsiteX8" fmla="*/ 6975881 w 11487681"/>
                <a:gd name="connsiteY8" fmla="*/ 3910232 h 5667424"/>
                <a:gd name="connsiteX9" fmla="*/ 6051550 w 11487681"/>
                <a:gd name="connsiteY9" fmla="*/ 4053938 h 5667424"/>
                <a:gd name="connsiteX10" fmla="*/ 5340350 w 11487681"/>
                <a:gd name="connsiteY10" fmla="*/ 4605118 h 5667424"/>
                <a:gd name="connsiteX11" fmla="*/ 4483102 w 11487681"/>
                <a:gd name="connsiteY11" fmla="*/ 4774321 h 5667424"/>
                <a:gd name="connsiteX12" fmla="*/ 3746499 w 11487681"/>
                <a:gd name="connsiteY12" fmla="*/ 4939128 h 5667424"/>
                <a:gd name="connsiteX13" fmla="*/ 3052965 w 11487681"/>
                <a:gd name="connsiteY13" fmla="*/ 5123766 h 5667424"/>
                <a:gd name="connsiteX14" fmla="*/ 2185093 w 11487681"/>
                <a:gd name="connsiteY14" fmla="*/ 5199087 h 5667424"/>
                <a:gd name="connsiteX15" fmla="*/ 1336388 w 11487681"/>
                <a:gd name="connsiteY15" fmla="*/ 5465006 h 5667424"/>
                <a:gd name="connsiteX16" fmla="*/ 305492 w 11487681"/>
                <a:gd name="connsiteY16" fmla="*/ 5529385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888864 w 11487681"/>
                <a:gd name="connsiteY3" fmla="*/ 1480917 h 5667424"/>
                <a:gd name="connsiteX4" fmla="*/ 10123285 w 11487681"/>
                <a:gd name="connsiteY4" fmla="*/ 2062187 h 5667424"/>
                <a:gd name="connsiteX5" fmla="*/ 9386686 w 11487681"/>
                <a:gd name="connsiteY5" fmla="*/ 2681751 h 5667424"/>
                <a:gd name="connsiteX6" fmla="*/ 8588781 w 11487681"/>
                <a:gd name="connsiteY6" fmla="*/ 2962226 h 5667424"/>
                <a:gd name="connsiteX7" fmla="*/ 7920527 w 11487681"/>
                <a:gd name="connsiteY7" fmla="*/ 3411318 h 5667424"/>
                <a:gd name="connsiteX8" fmla="*/ 6975881 w 11487681"/>
                <a:gd name="connsiteY8" fmla="*/ 3910232 h 5667424"/>
                <a:gd name="connsiteX9" fmla="*/ 6037466 w 11487681"/>
                <a:gd name="connsiteY9" fmla="*/ 4293089 h 5667424"/>
                <a:gd name="connsiteX10" fmla="*/ 5340350 w 11487681"/>
                <a:gd name="connsiteY10" fmla="*/ 4605118 h 5667424"/>
                <a:gd name="connsiteX11" fmla="*/ 4483102 w 11487681"/>
                <a:gd name="connsiteY11" fmla="*/ 4774321 h 5667424"/>
                <a:gd name="connsiteX12" fmla="*/ 3746499 w 11487681"/>
                <a:gd name="connsiteY12" fmla="*/ 4939128 h 5667424"/>
                <a:gd name="connsiteX13" fmla="*/ 3052965 w 11487681"/>
                <a:gd name="connsiteY13" fmla="*/ 5123766 h 5667424"/>
                <a:gd name="connsiteX14" fmla="*/ 2185093 w 11487681"/>
                <a:gd name="connsiteY14" fmla="*/ 5199087 h 5667424"/>
                <a:gd name="connsiteX15" fmla="*/ 1336388 w 11487681"/>
                <a:gd name="connsiteY15" fmla="*/ 5465006 h 5667424"/>
                <a:gd name="connsiteX16" fmla="*/ 305492 w 11487681"/>
                <a:gd name="connsiteY16" fmla="*/ 5529385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888864 w 11487681"/>
                <a:gd name="connsiteY3" fmla="*/ 1480917 h 5667424"/>
                <a:gd name="connsiteX4" fmla="*/ 10123285 w 11487681"/>
                <a:gd name="connsiteY4" fmla="*/ 2062187 h 5667424"/>
                <a:gd name="connsiteX5" fmla="*/ 9386686 w 11487681"/>
                <a:gd name="connsiteY5" fmla="*/ 2681751 h 5667424"/>
                <a:gd name="connsiteX6" fmla="*/ 8588781 w 11487681"/>
                <a:gd name="connsiteY6" fmla="*/ 2962226 h 5667424"/>
                <a:gd name="connsiteX7" fmla="*/ 7920527 w 11487681"/>
                <a:gd name="connsiteY7" fmla="*/ 3411318 h 5667424"/>
                <a:gd name="connsiteX8" fmla="*/ 7004052 w 11487681"/>
                <a:gd name="connsiteY8" fmla="*/ 4015739 h 5667424"/>
                <a:gd name="connsiteX9" fmla="*/ 6037466 w 11487681"/>
                <a:gd name="connsiteY9" fmla="*/ 4293089 h 5667424"/>
                <a:gd name="connsiteX10" fmla="*/ 5340350 w 11487681"/>
                <a:gd name="connsiteY10" fmla="*/ 4605118 h 5667424"/>
                <a:gd name="connsiteX11" fmla="*/ 4483102 w 11487681"/>
                <a:gd name="connsiteY11" fmla="*/ 4774321 h 5667424"/>
                <a:gd name="connsiteX12" fmla="*/ 3746499 w 11487681"/>
                <a:gd name="connsiteY12" fmla="*/ 4939128 h 5667424"/>
                <a:gd name="connsiteX13" fmla="*/ 3052965 w 11487681"/>
                <a:gd name="connsiteY13" fmla="*/ 5123766 h 5667424"/>
                <a:gd name="connsiteX14" fmla="*/ 2185093 w 11487681"/>
                <a:gd name="connsiteY14" fmla="*/ 5199087 h 5667424"/>
                <a:gd name="connsiteX15" fmla="*/ 1336388 w 11487681"/>
                <a:gd name="connsiteY15" fmla="*/ 5465006 h 5667424"/>
                <a:gd name="connsiteX16" fmla="*/ 305492 w 11487681"/>
                <a:gd name="connsiteY16" fmla="*/ 5529385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888864 w 11487681"/>
                <a:gd name="connsiteY3" fmla="*/ 1480917 h 5667424"/>
                <a:gd name="connsiteX4" fmla="*/ 10123285 w 11487681"/>
                <a:gd name="connsiteY4" fmla="*/ 2062187 h 5667424"/>
                <a:gd name="connsiteX5" fmla="*/ 9386686 w 11487681"/>
                <a:gd name="connsiteY5" fmla="*/ 2681751 h 5667424"/>
                <a:gd name="connsiteX6" fmla="*/ 8588781 w 11487681"/>
                <a:gd name="connsiteY6" fmla="*/ 2962226 h 5667424"/>
                <a:gd name="connsiteX7" fmla="*/ 7913485 w 11487681"/>
                <a:gd name="connsiteY7" fmla="*/ 3537927 h 5667424"/>
                <a:gd name="connsiteX8" fmla="*/ 7004052 w 11487681"/>
                <a:gd name="connsiteY8" fmla="*/ 4015739 h 5667424"/>
                <a:gd name="connsiteX9" fmla="*/ 6037466 w 11487681"/>
                <a:gd name="connsiteY9" fmla="*/ 4293089 h 5667424"/>
                <a:gd name="connsiteX10" fmla="*/ 5340350 w 11487681"/>
                <a:gd name="connsiteY10" fmla="*/ 4605118 h 5667424"/>
                <a:gd name="connsiteX11" fmla="*/ 4483102 w 11487681"/>
                <a:gd name="connsiteY11" fmla="*/ 4774321 h 5667424"/>
                <a:gd name="connsiteX12" fmla="*/ 3746499 w 11487681"/>
                <a:gd name="connsiteY12" fmla="*/ 4939128 h 5667424"/>
                <a:gd name="connsiteX13" fmla="*/ 3052965 w 11487681"/>
                <a:gd name="connsiteY13" fmla="*/ 5123766 h 5667424"/>
                <a:gd name="connsiteX14" fmla="*/ 2185093 w 11487681"/>
                <a:gd name="connsiteY14" fmla="*/ 5199087 h 5667424"/>
                <a:gd name="connsiteX15" fmla="*/ 1336388 w 11487681"/>
                <a:gd name="connsiteY15" fmla="*/ 5465006 h 5667424"/>
                <a:gd name="connsiteX16" fmla="*/ 305492 w 11487681"/>
                <a:gd name="connsiteY16" fmla="*/ 5529385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888864 w 11487681"/>
                <a:gd name="connsiteY3" fmla="*/ 1480917 h 5667424"/>
                <a:gd name="connsiteX4" fmla="*/ 10123285 w 11487681"/>
                <a:gd name="connsiteY4" fmla="*/ 2062187 h 5667424"/>
                <a:gd name="connsiteX5" fmla="*/ 9386686 w 11487681"/>
                <a:gd name="connsiteY5" fmla="*/ 2681751 h 5667424"/>
                <a:gd name="connsiteX6" fmla="*/ 8595823 w 11487681"/>
                <a:gd name="connsiteY6" fmla="*/ 3109937 h 5667424"/>
                <a:gd name="connsiteX7" fmla="*/ 7913485 w 11487681"/>
                <a:gd name="connsiteY7" fmla="*/ 3537927 h 5667424"/>
                <a:gd name="connsiteX8" fmla="*/ 7004052 w 11487681"/>
                <a:gd name="connsiteY8" fmla="*/ 4015739 h 5667424"/>
                <a:gd name="connsiteX9" fmla="*/ 6037466 w 11487681"/>
                <a:gd name="connsiteY9" fmla="*/ 4293089 h 5667424"/>
                <a:gd name="connsiteX10" fmla="*/ 5340350 w 11487681"/>
                <a:gd name="connsiteY10" fmla="*/ 4605118 h 5667424"/>
                <a:gd name="connsiteX11" fmla="*/ 4483102 w 11487681"/>
                <a:gd name="connsiteY11" fmla="*/ 4774321 h 5667424"/>
                <a:gd name="connsiteX12" fmla="*/ 3746499 w 11487681"/>
                <a:gd name="connsiteY12" fmla="*/ 4939128 h 5667424"/>
                <a:gd name="connsiteX13" fmla="*/ 3052965 w 11487681"/>
                <a:gd name="connsiteY13" fmla="*/ 5123766 h 5667424"/>
                <a:gd name="connsiteX14" fmla="*/ 2185093 w 11487681"/>
                <a:gd name="connsiteY14" fmla="*/ 5199087 h 5667424"/>
                <a:gd name="connsiteX15" fmla="*/ 1336388 w 11487681"/>
                <a:gd name="connsiteY15" fmla="*/ 5465006 h 5667424"/>
                <a:gd name="connsiteX16" fmla="*/ 305492 w 11487681"/>
                <a:gd name="connsiteY16" fmla="*/ 5529385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888864 w 11487681"/>
                <a:gd name="connsiteY3" fmla="*/ 1480917 h 5667424"/>
                <a:gd name="connsiteX4" fmla="*/ 10123285 w 11487681"/>
                <a:gd name="connsiteY4" fmla="*/ 2062187 h 5667424"/>
                <a:gd name="connsiteX5" fmla="*/ 9379643 w 11487681"/>
                <a:gd name="connsiteY5" fmla="*/ 2780224 h 5667424"/>
                <a:gd name="connsiteX6" fmla="*/ 8595823 w 11487681"/>
                <a:gd name="connsiteY6" fmla="*/ 3109937 h 5667424"/>
                <a:gd name="connsiteX7" fmla="*/ 7913485 w 11487681"/>
                <a:gd name="connsiteY7" fmla="*/ 3537927 h 5667424"/>
                <a:gd name="connsiteX8" fmla="*/ 7004052 w 11487681"/>
                <a:gd name="connsiteY8" fmla="*/ 4015739 h 5667424"/>
                <a:gd name="connsiteX9" fmla="*/ 6037466 w 11487681"/>
                <a:gd name="connsiteY9" fmla="*/ 4293089 h 5667424"/>
                <a:gd name="connsiteX10" fmla="*/ 5340350 w 11487681"/>
                <a:gd name="connsiteY10" fmla="*/ 4605118 h 5667424"/>
                <a:gd name="connsiteX11" fmla="*/ 4483102 w 11487681"/>
                <a:gd name="connsiteY11" fmla="*/ 4774321 h 5667424"/>
                <a:gd name="connsiteX12" fmla="*/ 3746499 w 11487681"/>
                <a:gd name="connsiteY12" fmla="*/ 4939128 h 5667424"/>
                <a:gd name="connsiteX13" fmla="*/ 3052965 w 11487681"/>
                <a:gd name="connsiteY13" fmla="*/ 5123766 h 5667424"/>
                <a:gd name="connsiteX14" fmla="*/ 2185093 w 11487681"/>
                <a:gd name="connsiteY14" fmla="*/ 5199087 h 5667424"/>
                <a:gd name="connsiteX15" fmla="*/ 1336388 w 11487681"/>
                <a:gd name="connsiteY15" fmla="*/ 5465006 h 5667424"/>
                <a:gd name="connsiteX16" fmla="*/ 305492 w 11487681"/>
                <a:gd name="connsiteY16" fmla="*/ 5529385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888864 w 11487681"/>
                <a:gd name="connsiteY3" fmla="*/ 1480917 h 5667424"/>
                <a:gd name="connsiteX4" fmla="*/ 10116243 w 11487681"/>
                <a:gd name="connsiteY4" fmla="*/ 1928544 h 5667424"/>
                <a:gd name="connsiteX5" fmla="*/ 9379643 w 11487681"/>
                <a:gd name="connsiteY5" fmla="*/ 2780224 h 5667424"/>
                <a:gd name="connsiteX6" fmla="*/ 8595823 w 11487681"/>
                <a:gd name="connsiteY6" fmla="*/ 3109937 h 5667424"/>
                <a:gd name="connsiteX7" fmla="*/ 7913485 w 11487681"/>
                <a:gd name="connsiteY7" fmla="*/ 3537927 h 5667424"/>
                <a:gd name="connsiteX8" fmla="*/ 7004052 w 11487681"/>
                <a:gd name="connsiteY8" fmla="*/ 4015739 h 5667424"/>
                <a:gd name="connsiteX9" fmla="*/ 6037466 w 11487681"/>
                <a:gd name="connsiteY9" fmla="*/ 4293089 h 5667424"/>
                <a:gd name="connsiteX10" fmla="*/ 5340350 w 11487681"/>
                <a:gd name="connsiteY10" fmla="*/ 4605118 h 5667424"/>
                <a:gd name="connsiteX11" fmla="*/ 4483102 w 11487681"/>
                <a:gd name="connsiteY11" fmla="*/ 4774321 h 5667424"/>
                <a:gd name="connsiteX12" fmla="*/ 3746499 w 11487681"/>
                <a:gd name="connsiteY12" fmla="*/ 4939128 h 5667424"/>
                <a:gd name="connsiteX13" fmla="*/ 3052965 w 11487681"/>
                <a:gd name="connsiteY13" fmla="*/ 5123766 h 5667424"/>
                <a:gd name="connsiteX14" fmla="*/ 2185093 w 11487681"/>
                <a:gd name="connsiteY14" fmla="*/ 5199087 h 5667424"/>
                <a:gd name="connsiteX15" fmla="*/ 1336388 w 11487681"/>
                <a:gd name="connsiteY15" fmla="*/ 5465006 h 5667424"/>
                <a:gd name="connsiteX16" fmla="*/ 305492 w 11487681"/>
                <a:gd name="connsiteY16" fmla="*/ 5529385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881822 w 11487681"/>
                <a:gd name="connsiteY3" fmla="*/ 1551255 h 5667424"/>
                <a:gd name="connsiteX4" fmla="*/ 10116243 w 11487681"/>
                <a:gd name="connsiteY4" fmla="*/ 1928544 h 5667424"/>
                <a:gd name="connsiteX5" fmla="*/ 9379643 w 11487681"/>
                <a:gd name="connsiteY5" fmla="*/ 2780224 h 5667424"/>
                <a:gd name="connsiteX6" fmla="*/ 8595823 w 11487681"/>
                <a:gd name="connsiteY6" fmla="*/ 3109937 h 5667424"/>
                <a:gd name="connsiteX7" fmla="*/ 7913485 w 11487681"/>
                <a:gd name="connsiteY7" fmla="*/ 3537927 h 5667424"/>
                <a:gd name="connsiteX8" fmla="*/ 7004052 w 11487681"/>
                <a:gd name="connsiteY8" fmla="*/ 4015739 h 5667424"/>
                <a:gd name="connsiteX9" fmla="*/ 6037466 w 11487681"/>
                <a:gd name="connsiteY9" fmla="*/ 4293089 h 5667424"/>
                <a:gd name="connsiteX10" fmla="*/ 5340350 w 11487681"/>
                <a:gd name="connsiteY10" fmla="*/ 4605118 h 5667424"/>
                <a:gd name="connsiteX11" fmla="*/ 4483102 w 11487681"/>
                <a:gd name="connsiteY11" fmla="*/ 4774321 h 5667424"/>
                <a:gd name="connsiteX12" fmla="*/ 3746499 w 11487681"/>
                <a:gd name="connsiteY12" fmla="*/ 4939128 h 5667424"/>
                <a:gd name="connsiteX13" fmla="*/ 3052965 w 11487681"/>
                <a:gd name="connsiteY13" fmla="*/ 5123766 h 5667424"/>
                <a:gd name="connsiteX14" fmla="*/ 2185093 w 11487681"/>
                <a:gd name="connsiteY14" fmla="*/ 5199087 h 5667424"/>
                <a:gd name="connsiteX15" fmla="*/ 1336388 w 11487681"/>
                <a:gd name="connsiteY15" fmla="*/ 5465006 h 5667424"/>
                <a:gd name="connsiteX16" fmla="*/ 305492 w 11487681"/>
                <a:gd name="connsiteY16" fmla="*/ 5529385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881822 w 11487681"/>
                <a:gd name="connsiteY3" fmla="*/ 1551255 h 5667424"/>
                <a:gd name="connsiteX4" fmla="*/ 10116243 w 11487681"/>
                <a:gd name="connsiteY4" fmla="*/ 1928544 h 5667424"/>
                <a:gd name="connsiteX5" fmla="*/ 9379643 w 11487681"/>
                <a:gd name="connsiteY5" fmla="*/ 2780224 h 5667424"/>
                <a:gd name="connsiteX6" fmla="*/ 8595823 w 11487681"/>
                <a:gd name="connsiteY6" fmla="*/ 3109937 h 5667424"/>
                <a:gd name="connsiteX7" fmla="*/ 7913485 w 11487681"/>
                <a:gd name="connsiteY7" fmla="*/ 3537927 h 5667424"/>
                <a:gd name="connsiteX8" fmla="*/ 7004052 w 11487681"/>
                <a:gd name="connsiteY8" fmla="*/ 4015739 h 5667424"/>
                <a:gd name="connsiteX9" fmla="*/ 6037466 w 11487681"/>
                <a:gd name="connsiteY9" fmla="*/ 4293089 h 5667424"/>
                <a:gd name="connsiteX10" fmla="*/ 5340350 w 11487681"/>
                <a:gd name="connsiteY10" fmla="*/ 4605118 h 5667424"/>
                <a:gd name="connsiteX11" fmla="*/ 4483102 w 11487681"/>
                <a:gd name="connsiteY11" fmla="*/ 4774321 h 5667424"/>
                <a:gd name="connsiteX12" fmla="*/ 3746499 w 11487681"/>
                <a:gd name="connsiteY12" fmla="*/ 4939128 h 5667424"/>
                <a:gd name="connsiteX13" fmla="*/ 3052965 w 11487681"/>
                <a:gd name="connsiteY13" fmla="*/ 5123766 h 5667424"/>
                <a:gd name="connsiteX14" fmla="*/ 2185093 w 11487681"/>
                <a:gd name="connsiteY14" fmla="*/ 5199087 h 5667424"/>
                <a:gd name="connsiteX15" fmla="*/ 1336388 w 11487681"/>
                <a:gd name="connsiteY15" fmla="*/ 5465006 h 5667424"/>
                <a:gd name="connsiteX16" fmla="*/ 305492 w 11487681"/>
                <a:gd name="connsiteY16" fmla="*/ 5529385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881822 w 11487681"/>
                <a:gd name="connsiteY3" fmla="*/ 1551255 h 5667424"/>
                <a:gd name="connsiteX4" fmla="*/ 10116243 w 11487681"/>
                <a:gd name="connsiteY4" fmla="*/ 1928544 h 5667424"/>
                <a:gd name="connsiteX5" fmla="*/ 9379643 w 11487681"/>
                <a:gd name="connsiteY5" fmla="*/ 2780224 h 5667424"/>
                <a:gd name="connsiteX6" fmla="*/ 8595823 w 11487681"/>
                <a:gd name="connsiteY6" fmla="*/ 3109937 h 5667424"/>
                <a:gd name="connsiteX7" fmla="*/ 7913485 w 11487681"/>
                <a:gd name="connsiteY7" fmla="*/ 3537927 h 5667424"/>
                <a:gd name="connsiteX8" fmla="*/ 7004052 w 11487681"/>
                <a:gd name="connsiteY8" fmla="*/ 4015739 h 5667424"/>
                <a:gd name="connsiteX9" fmla="*/ 6037466 w 11487681"/>
                <a:gd name="connsiteY9" fmla="*/ 4293089 h 5667424"/>
                <a:gd name="connsiteX10" fmla="*/ 5340350 w 11487681"/>
                <a:gd name="connsiteY10" fmla="*/ 4605118 h 5667424"/>
                <a:gd name="connsiteX11" fmla="*/ 4483102 w 11487681"/>
                <a:gd name="connsiteY11" fmla="*/ 4774321 h 5667424"/>
                <a:gd name="connsiteX12" fmla="*/ 3746499 w 11487681"/>
                <a:gd name="connsiteY12" fmla="*/ 4939128 h 5667424"/>
                <a:gd name="connsiteX13" fmla="*/ 3052965 w 11487681"/>
                <a:gd name="connsiteY13" fmla="*/ 5123766 h 5667424"/>
                <a:gd name="connsiteX14" fmla="*/ 2185093 w 11487681"/>
                <a:gd name="connsiteY14" fmla="*/ 5199087 h 5667424"/>
                <a:gd name="connsiteX15" fmla="*/ 1336388 w 11487681"/>
                <a:gd name="connsiteY15" fmla="*/ 5465006 h 5667424"/>
                <a:gd name="connsiteX16" fmla="*/ 305492 w 11487681"/>
                <a:gd name="connsiteY16" fmla="*/ 5592689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881822 w 11487681"/>
                <a:gd name="connsiteY3" fmla="*/ 1551255 h 5667424"/>
                <a:gd name="connsiteX4" fmla="*/ 10116243 w 11487681"/>
                <a:gd name="connsiteY4" fmla="*/ 1928544 h 5667424"/>
                <a:gd name="connsiteX5" fmla="*/ 9379643 w 11487681"/>
                <a:gd name="connsiteY5" fmla="*/ 2780224 h 5667424"/>
                <a:gd name="connsiteX6" fmla="*/ 8595823 w 11487681"/>
                <a:gd name="connsiteY6" fmla="*/ 3109937 h 5667424"/>
                <a:gd name="connsiteX7" fmla="*/ 7913485 w 11487681"/>
                <a:gd name="connsiteY7" fmla="*/ 3537927 h 5667424"/>
                <a:gd name="connsiteX8" fmla="*/ 7004052 w 11487681"/>
                <a:gd name="connsiteY8" fmla="*/ 4015739 h 5667424"/>
                <a:gd name="connsiteX9" fmla="*/ 6037466 w 11487681"/>
                <a:gd name="connsiteY9" fmla="*/ 4293089 h 5667424"/>
                <a:gd name="connsiteX10" fmla="*/ 5340350 w 11487681"/>
                <a:gd name="connsiteY10" fmla="*/ 4605118 h 5667424"/>
                <a:gd name="connsiteX11" fmla="*/ 4483102 w 11487681"/>
                <a:gd name="connsiteY11" fmla="*/ 4774321 h 5667424"/>
                <a:gd name="connsiteX12" fmla="*/ 3746499 w 11487681"/>
                <a:gd name="connsiteY12" fmla="*/ 4939128 h 5667424"/>
                <a:gd name="connsiteX13" fmla="*/ 3052965 w 11487681"/>
                <a:gd name="connsiteY13" fmla="*/ 5123766 h 5667424"/>
                <a:gd name="connsiteX14" fmla="*/ 2185093 w 11487681"/>
                <a:gd name="connsiteY14" fmla="*/ 5199087 h 5667424"/>
                <a:gd name="connsiteX15" fmla="*/ 1364557 w 11487681"/>
                <a:gd name="connsiteY15" fmla="*/ 5549412 h 5667424"/>
                <a:gd name="connsiteX16" fmla="*/ 305492 w 11487681"/>
                <a:gd name="connsiteY16" fmla="*/ 5592689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881822 w 11487681"/>
                <a:gd name="connsiteY3" fmla="*/ 1551255 h 5667424"/>
                <a:gd name="connsiteX4" fmla="*/ 10116243 w 11487681"/>
                <a:gd name="connsiteY4" fmla="*/ 1928544 h 5667424"/>
                <a:gd name="connsiteX5" fmla="*/ 9379643 w 11487681"/>
                <a:gd name="connsiteY5" fmla="*/ 2780224 h 5667424"/>
                <a:gd name="connsiteX6" fmla="*/ 8595823 w 11487681"/>
                <a:gd name="connsiteY6" fmla="*/ 3109937 h 5667424"/>
                <a:gd name="connsiteX7" fmla="*/ 7913485 w 11487681"/>
                <a:gd name="connsiteY7" fmla="*/ 3537927 h 5667424"/>
                <a:gd name="connsiteX8" fmla="*/ 7004052 w 11487681"/>
                <a:gd name="connsiteY8" fmla="*/ 4015739 h 5667424"/>
                <a:gd name="connsiteX9" fmla="*/ 6037466 w 11487681"/>
                <a:gd name="connsiteY9" fmla="*/ 4293089 h 5667424"/>
                <a:gd name="connsiteX10" fmla="*/ 5340350 w 11487681"/>
                <a:gd name="connsiteY10" fmla="*/ 4605118 h 5667424"/>
                <a:gd name="connsiteX11" fmla="*/ 4483102 w 11487681"/>
                <a:gd name="connsiteY11" fmla="*/ 4774321 h 5667424"/>
                <a:gd name="connsiteX12" fmla="*/ 3746499 w 11487681"/>
                <a:gd name="connsiteY12" fmla="*/ 4939128 h 5667424"/>
                <a:gd name="connsiteX13" fmla="*/ 3052965 w 11487681"/>
                <a:gd name="connsiteY13" fmla="*/ 5123766 h 5667424"/>
                <a:gd name="connsiteX14" fmla="*/ 2171008 w 11487681"/>
                <a:gd name="connsiteY14" fmla="*/ 5403068 h 5667424"/>
                <a:gd name="connsiteX15" fmla="*/ 1364557 w 11487681"/>
                <a:gd name="connsiteY15" fmla="*/ 5549412 h 5667424"/>
                <a:gd name="connsiteX16" fmla="*/ 305492 w 11487681"/>
                <a:gd name="connsiteY16" fmla="*/ 5592689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881822 w 11487681"/>
                <a:gd name="connsiteY3" fmla="*/ 1551255 h 5667424"/>
                <a:gd name="connsiteX4" fmla="*/ 10116243 w 11487681"/>
                <a:gd name="connsiteY4" fmla="*/ 1928544 h 5667424"/>
                <a:gd name="connsiteX5" fmla="*/ 9379643 w 11487681"/>
                <a:gd name="connsiteY5" fmla="*/ 2780224 h 5667424"/>
                <a:gd name="connsiteX6" fmla="*/ 8595823 w 11487681"/>
                <a:gd name="connsiteY6" fmla="*/ 3109937 h 5667424"/>
                <a:gd name="connsiteX7" fmla="*/ 7913485 w 11487681"/>
                <a:gd name="connsiteY7" fmla="*/ 3537927 h 5667424"/>
                <a:gd name="connsiteX8" fmla="*/ 7004052 w 11487681"/>
                <a:gd name="connsiteY8" fmla="*/ 4015739 h 5667424"/>
                <a:gd name="connsiteX9" fmla="*/ 6037466 w 11487681"/>
                <a:gd name="connsiteY9" fmla="*/ 4293089 h 5667424"/>
                <a:gd name="connsiteX10" fmla="*/ 5340350 w 11487681"/>
                <a:gd name="connsiteY10" fmla="*/ 4605118 h 5667424"/>
                <a:gd name="connsiteX11" fmla="*/ 4483102 w 11487681"/>
                <a:gd name="connsiteY11" fmla="*/ 4774321 h 5667424"/>
                <a:gd name="connsiteX12" fmla="*/ 3746499 w 11487681"/>
                <a:gd name="connsiteY12" fmla="*/ 4939128 h 5667424"/>
                <a:gd name="connsiteX13" fmla="*/ 3088178 w 11487681"/>
                <a:gd name="connsiteY13" fmla="*/ 5341816 h 5667424"/>
                <a:gd name="connsiteX14" fmla="*/ 2171008 w 11487681"/>
                <a:gd name="connsiteY14" fmla="*/ 5403068 h 5667424"/>
                <a:gd name="connsiteX15" fmla="*/ 1364557 w 11487681"/>
                <a:gd name="connsiteY15" fmla="*/ 5549412 h 5667424"/>
                <a:gd name="connsiteX16" fmla="*/ 305492 w 11487681"/>
                <a:gd name="connsiteY16" fmla="*/ 5592689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881822 w 11487681"/>
                <a:gd name="connsiteY3" fmla="*/ 1551255 h 5667424"/>
                <a:gd name="connsiteX4" fmla="*/ 10116243 w 11487681"/>
                <a:gd name="connsiteY4" fmla="*/ 1928544 h 5667424"/>
                <a:gd name="connsiteX5" fmla="*/ 9379643 w 11487681"/>
                <a:gd name="connsiteY5" fmla="*/ 2780224 h 5667424"/>
                <a:gd name="connsiteX6" fmla="*/ 8595823 w 11487681"/>
                <a:gd name="connsiteY6" fmla="*/ 3109937 h 5667424"/>
                <a:gd name="connsiteX7" fmla="*/ 7913485 w 11487681"/>
                <a:gd name="connsiteY7" fmla="*/ 3537927 h 5667424"/>
                <a:gd name="connsiteX8" fmla="*/ 7004052 w 11487681"/>
                <a:gd name="connsiteY8" fmla="*/ 4015739 h 5667424"/>
                <a:gd name="connsiteX9" fmla="*/ 6037466 w 11487681"/>
                <a:gd name="connsiteY9" fmla="*/ 4293089 h 5667424"/>
                <a:gd name="connsiteX10" fmla="*/ 5340350 w 11487681"/>
                <a:gd name="connsiteY10" fmla="*/ 4605118 h 5667424"/>
                <a:gd name="connsiteX11" fmla="*/ 4483102 w 11487681"/>
                <a:gd name="connsiteY11" fmla="*/ 4774321 h 5667424"/>
                <a:gd name="connsiteX12" fmla="*/ 3774668 w 11487681"/>
                <a:gd name="connsiteY12" fmla="*/ 5122008 h 5667424"/>
                <a:gd name="connsiteX13" fmla="*/ 3088178 w 11487681"/>
                <a:gd name="connsiteY13" fmla="*/ 5341816 h 5667424"/>
                <a:gd name="connsiteX14" fmla="*/ 2171008 w 11487681"/>
                <a:gd name="connsiteY14" fmla="*/ 5403068 h 5667424"/>
                <a:gd name="connsiteX15" fmla="*/ 1364557 w 11487681"/>
                <a:gd name="connsiteY15" fmla="*/ 5549412 h 5667424"/>
                <a:gd name="connsiteX16" fmla="*/ 305492 w 11487681"/>
                <a:gd name="connsiteY16" fmla="*/ 5592689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881822 w 11487681"/>
                <a:gd name="connsiteY3" fmla="*/ 1551255 h 5667424"/>
                <a:gd name="connsiteX4" fmla="*/ 10116243 w 11487681"/>
                <a:gd name="connsiteY4" fmla="*/ 1928544 h 5667424"/>
                <a:gd name="connsiteX5" fmla="*/ 9379643 w 11487681"/>
                <a:gd name="connsiteY5" fmla="*/ 2780224 h 5667424"/>
                <a:gd name="connsiteX6" fmla="*/ 8595823 w 11487681"/>
                <a:gd name="connsiteY6" fmla="*/ 3109937 h 5667424"/>
                <a:gd name="connsiteX7" fmla="*/ 7913485 w 11487681"/>
                <a:gd name="connsiteY7" fmla="*/ 3537927 h 5667424"/>
                <a:gd name="connsiteX8" fmla="*/ 7004052 w 11487681"/>
                <a:gd name="connsiteY8" fmla="*/ 4015739 h 5667424"/>
                <a:gd name="connsiteX9" fmla="*/ 6037466 w 11487681"/>
                <a:gd name="connsiteY9" fmla="*/ 4293089 h 5667424"/>
                <a:gd name="connsiteX10" fmla="*/ 5340350 w 11487681"/>
                <a:gd name="connsiteY10" fmla="*/ 4605118 h 5667424"/>
                <a:gd name="connsiteX11" fmla="*/ 4504230 w 11487681"/>
                <a:gd name="connsiteY11" fmla="*/ 5076776 h 5667424"/>
                <a:gd name="connsiteX12" fmla="*/ 3774668 w 11487681"/>
                <a:gd name="connsiteY12" fmla="*/ 5122008 h 5667424"/>
                <a:gd name="connsiteX13" fmla="*/ 3088178 w 11487681"/>
                <a:gd name="connsiteY13" fmla="*/ 5341816 h 5667424"/>
                <a:gd name="connsiteX14" fmla="*/ 2171008 w 11487681"/>
                <a:gd name="connsiteY14" fmla="*/ 5403068 h 5667424"/>
                <a:gd name="connsiteX15" fmla="*/ 1364557 w 11487681"/>
                <a:gd name="connsiteY15" fmla="*/ 5549412 h 5667424"/>
                <a:gd name="connsiteX16" fmla="*/ 305492 w 11487681"/>
                <a:gd name="connsiteY16" fmla="*/ 5592689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881822 w 11487681"/>
                <a:gd name="connsiteY3" fmla="*/ 1551255 h 5667424"/>
                <a:gd name="connsiteX4" fmla="*/ 10116243 w 11487681"/>
                <a:gd name="connsiteY4" fmla="*/ 1928544 h 5667424"/>
                <a:gd name="connsiteX5" fmla="*/ 9379643 w 11487681"/>
                <a:gd name="connsiteY5" fmla="*/ 2780224 h 5667424"/>
                <a:gd name="connsiteX6" fmla="*/ 8595823 w 11487681"/>
                <a:gd name="connsiteY6" fmla="*/ 3109937 h 5667424"/>
                <a:gd name="connsiteX7" fmla="*/ 7913485 w 11487681"/>
                <a:gd name="connsiteY7" fmla="*/ 3537927 h 5667424"/>
                <a:gd name="connsiteX8" fmla="*/ 7004052 w 11487681"/>
                <a:gd name="connsiteY8" fmla="*/ 4015739 h 5667424"/>
                <a:gd name="connsiteX9" fmla="*/ 6037466 w 11487681"/>
                <a:gd name="connsiteY9" fmla="*/ 4293089 h 5667424"/>
                <a:gd name="connsiteX10" fmla="*/ 5382604 w 11487681"/>
                <a:gd name="connsiteY10" fmla="*/ 4766896 h 5667424"/>
                <a:gd name="connsiteX11" fmla="*/ 4504230 w 11487681"/>
                <a:gd name="connsiteY11" fmla="*/ 5076776 h 5667424"/>
                <a:gd name="connsiteX12" fmla="*/ 3774668 w 11487681"/>
                <a:gd name="connsiteY12" fmla="*/ 5122008 h 5667424"/>
                <a:gd name="connsiteX13" fmla="*/ 3088178 w 11487681"/>
                <a:gd name="connsiteY13" fmla="*/ 5341816 h 5667424"/>
                <a:gd name="connsiteX14" fmla="*/ 2171008 w 11487681"/>
                <a:gd name="connsiteY14" fmla="*/ 5403068 h 5667424"/>
                <a:gd name="connsiteX15" fmla="*/ 1364557 w 11487681"/>
                <a:gd name="connsiteY15" fmla="*/ 5549412 h 5667424"/>
                <a:gd name="connsiteX16" fmla="*/ 305492 w 11487681"/>
                <a:gd name="connsiteY16" fmla="*/ 5592689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881822 w 11487681"/>
                <a:gd name="connsiteY3" fmla="*/ 1551255 h 5667424"/>
                <a:gd name="connsiteX4" fmla="*/ 10116243 w 11487681"/>
                <a:gd name="connsiteY4" fmla="*/ 1928544 h 5667424"/>
                <a:gd name="connsiteX5" fmla="*/ 9379643 w 11487681"/>
                <a:gd name="connsiteY5" fmla="*/ 2780224 h 5667424"/>
                <a:gd name="connsiteX6" fmla="*/ 8595823 w 11487681"/>
                <a:gd name="connsiteY6" fmla="*/ 3109937 h 5667424"/>
                <a:gd name="connsiteX7" fmla="*/ 7913485 w 11487681"/>
                <a:gd name="connsiteY7" fmla="*/ 3537927 h 5667424"/>
                <a:gd name="connsiteX8" fmla="*/ 7004052 w 11487681"/>
                <a:gd name="connsiteY8" fmla="*/ 4015739 h 5667424"/>
                <a:gd name="connsiteX9" fmla="*/ 6100849 w 11487681"/>
                <a:gd name="connsiteY9" fmla="*/ 4461901 h 5667424"/>
                <a:gd name="connsiteX10" fmla="*/ 5382604 w 11487681"/>
                <a:gd name="connsiteY10" fmla="*/ 4766896 h 5667424"/>
                <a:gd name="connsiteX11" fmla="*/ 4504230 w 11487681"/>
                <a:gd name="connsiteY11" fmla="*/ 5076776 h 5667424"/>
                <a:gd name="connsiteX12" fmla="*/ 3774668 w 11487681"/>
                <a:gd name="connsiteY12" fmla="*/ 5122008 h 5667424"/>
                <a:gd name="connsiteX13" fmla="*/ 3088178 w 11487681"/>
                <a:gd name="connsiteY13" fmla="*/ 5341816 h 5667424"/>
                <a:gd name="connsiteX14" fmla="*/ 2171008 w 11487681"/>
                <a:gd name="connsiteY14" fmla="*/ 5403068 h 5667424"/>
                <a:gd name="connsiteX15" fmla="*/ 1364557 w 11487681"/>
                <a:gd name="connsiteY15" fmla="*/ 5549412 h 5667424"/>
                <a:gd name="connsiteX16" fmla="*/ 305492 w 11487681"/>
                <a:gd name="connsiteY16" fmla="*/ 5592689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881822 w 11487681"/>
                <a:gd name="connsiteY3" fmla="*/ 1551255 h 5667424"/>
                <a:gd name="connsiteX4" fmla="*/ 10116243 w 11487681"/>
                <a:gd name="connsiteY4" fmla="*/ 1928544 h 5667424"/>
                <a:gd name="connsiteX5" fmla="*/ 9379643 w 11487681"/>
                <a:gd name="connsiteY5" fmla="*/ 2780224 h 5667424"/>
                <a:gd name="connsiteX6" fmla="*/ 8595823 w 11487681"/>
                <a:gd name="connsiteY6" fmla="*/ 3109937 h 5667424"/>
                <a:gd name="connsiteX7" fmla="*/ 7913485 w 11487681"/>
                <a:gd name="connsiteY7" fmla="*/ 3537927 h 5667424"/>
                <a:gd name="connsiteX8" fmla="*/ 7011094 w 11487681"/>
                <a:gd name="connsiteY8" fmla="*/ 4198619 h 5667424"/>
                <a:gd name="connsiteX9" fmla="*/ 6100849 w 11487681"/>
                <a:gd name="connsiteY9" fmla="*/ 4461901 h 5667424"/>
                <a:gd name="connsiteX10" fmla="*/ 5382604 w 11487681"/>
                <a:gd name="connsiteY10" fmla="*/ 4766896 h 5667424"/>
                <a:gd name="connsiteX11" fmla="*/ 4504230 w 11487681"/>
                <a:gd name="connsiteY11" fmla="*/ 5076776 h 5667424"/>
                <a:gd name="connsiteX12" fmla="*/ 3774668 w 11487681"/>
                <a:gd name="connsiteY12" fmla="*/ 5122008 h 5667424"/>
                <a:gd name="connsiteX13" fmla="*/ 3088178 w 11487681"/>
                <a:gd name="connsiteY13" fmla="*/ 5341816 h 5667424"/>
                <a:gd name="connsiteX14" fmla="*/ 2171008 w 11487681"/>
                <a:gd name="connsiteY14" fmla="*/ 5403068 h 5667424"/>
                <a:gd name="connsiteX15" fmla="*/ 1364557 w 11487681"/>
                <a:gd name="connsiteY15" fmla="*/ 5549412 h 5667424"/>
                <a:gd name="connsiteX16" fmla="*/ 305492 w 11487681"/>
                <a:gd name="connsiteY16" fmla="*/ 5592689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881822 w 11487681"/>
                <a:gd name="connsiteY3" fmla="*/ 1551255 h 5667424"/>
                <a:gd name="connsiteX4" fmla="*/ 10116243 w 11487681"/>
                <a:gd name="connsiteY4" fmla="*/ 1928544 h 5667424"/>
                <a:gd name="connsiteX5" fmla="*/ 9379643 w 11487681"/>
                <a:gd name="connsiteY5" fmla="*/ 2780224 h 5667424"/>
                <a:gd name="connsiteX6" fmla="*/ 8595823 w 11487681"/>
                <a:gd name="connsiteY6" fmla="*/ 3109937 h 5667424"/>
                <a:gd name="connsiteX7" fmla="*/ 7913486 w 11487681"/>
                <a:gd name="connsiteY7" fmla="*/ 3713773 h 5667424"/>
                <a:gd name="connsiteX8" fmla="*/ 7011094 w 11487681"/>
                <a:gd name="connsiteY8" fmla="*/ 4198619 h 5667424"/>
                <a:gd name="connsiteX9" fmla="*/ 6100849 w 11487681"/>
                <a:gd name="connsiteY9" fmla="*/ 4461901 h 5667424"/>
                <a:gd name="connsiteX10" fmla="*/ 5382604 w 11487681"/>
                <a:gd name="connsiteY10" fmla="*/ 4766896 h 5667424"/>
                <a:gd name="connsiteX11" fmla="*/ 4504230 w 11487681"/>
                <a:gd name="connsiteY11" fmla="*/ 5076776 h 5667424"/>
                <a:gd name="connsiteX12" fmla="*/ 3774668 w 11487681"/>
                <a:gd name="connsiteY12" fmla="*/ 5122008 h 5667424"/>
                <a:gd name="connsiteX13" fmla="*/ 3088178 w 11487681"/>
                <a:gd name="connsiteY13" fmla="*/ 5341816 h 5667424"/>
                <a:gd name="connsiteX14" fmla="*/ 2171008 w 11487681"/>
                <a:gd name="connsiteY14" fmla="*/ 5403068 h 5667424"/>
                <a:gd name="connsiteX15" fmla="*/ 1364557 w 11487681"/>
                <a:gd name="connsiteY15" fmla="*/ 5549412 h 5667424"/>
                <a:gd name="connsiteX16" fmla="*/ 305492 w 11487681"/>
                <a:gd name="connsiteY16" fmla="*/ 5592689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881822 w 11487681"/>
                <a:gd name="connsiteY3" fmla="*/ 1551255 h 5667424"/>
                <a:gd name="connsiteX4" fmla="*/ 10116243 w 11487681"/>
                <a:gd name="connsiteY4" fmla="*/ 1928544 h 5667424"/>
                <a:gd name="connsiteX5" fmla="*/ 9379643 w 11487681"/>
                <a:gd name="connsiteY5" fmla="*/ 2780224 h 5667424"/>
                <a:gd name="connsiteX6" fmla="*/ 8616951 w 11487681"/>
                <a:gd name="connsiteY6" fmla="*/ 3363155 h 5667424"/>
                <a:gd name="connsiteX7" fmla="*/ 7913486 w 11487681"/>
                <a:gd name="connsiteY7" fmla="*/ 3713773 h 5667424"/>
                <a:gd name="connsiteX8" fmla="*/ 7011094 w 11487681"/>
                <a:gd name="connsiteY8" fmla="*/ 4198619 h 5667424"/>
                <a:gd name="connsiteX9" fmla="*/ 6100849 w 11487681"/>
                <a:gd name="connsiteY9" fmla="*/ 4461901 h 5667424"/>
                <a:gd name="connsiteX10" fmla="*/ 5382604 w 11487681"/>
                <a:gd name="connsiteY10" fmla="*/ 4766896 h 5667424"/>
                <a:gd name="connsiteX11" fmla="*/ 4504230 w 11487681"/>
                <a:gd name="connsiteY11" fmla="*/ 5076776 h 5667424"/>
                <a:gd name="connsiteX12" fmla="*/ 3774668 w 11487681"/>
                <a:gd name="connsiteY12" fmla="*/ 5122008 h 5667424"/>
                <a:gd name="connsiteX13" fmla="*/ 3088178 w 11487681"/>
                <a:gd name="connsiteY13" fmla="*/ 5341816 h 5667424"/>
                <a:gd name="connsiteX14" fmla="*/ 2171008 w 11487681"/>
                <a:gd name="connsiteY14" fmla="*/ 5403068 h 5667424"/>
                <a:gd name="connsiteX15" fmla="*/ 1364557 w 11487681"/>
                <a:gd name="connsiteY15" fmla="*/ 5549412 h 5667424"/>
                <a:gd name="connsiteX16" fmla="*/ 305492 w 11487681"/>
                <a:gd name="connsiteY16" fmla="*/ 5592689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881822 w 11487681"/>
                <a:gd name="connsiteY3" fmla="*/ 1551255 h 5667424"/>
                <a:gd name="connsiteX4" fmla="*/ 10116243 w 11487681"/>
                <a:gd name="connsiteY4" fmla="*/ 1928544 h 5667424"/>
                <a:gd name="connsiteX5" fmla="*/ 9372600 w 11487681"/>
                <a:gd name="connsiteY5" fmla="*/ 3026408 h 5667424"/>
                <a:gd name="connsiteX6" fmla="*/ 8616951 w 11487681"/>
                <a:gd name="connsiteY6" fmla="*/ 3363155 h 5667424"/>
                <a:gd name="connsiteX7" fmla="*/ 7913486 w 11487681"/>
                <a:gd name="connsiteY7" fmla="*/ 3713773 h 5667424"/>
                <a:gd name="connsiteX8" fmla="*/ 7011094 w 11487681"/>
                <a:gd name="connsiteY8" fmla="*/ 4198619 h 5667424"/>
                <a:gd name="connsiteX9" fmla="*/ 6100849 w 11487681"/>
                <a:gd name="connsiteY9" fmla="*/ 4461901 h 5667424"/>
                <a:gd name="connsiteX10" fmla="*/ 5382604 w 11487681"/>
                <a:gd name="connsiteY10" fmla="*/ 4766896 h 5667424"/>
                <a:gd name="connsiteX11" fmla="*/ 4504230 w 11487681"/>
                <a:gd name="connsiteY11" fmla="*/ 5076776 h 5667424"/>
                <a:gd name="connsiteX12" fmla="*/ 3774668 w 11487681"/>
                <a:gd name="connsiteY12" fmla="*/ 5122008 h 5667424"/>
                <a:gd name="connsiteX13" fmla="*/ 3088178 w 11487681"/>
                <a:gd name="connsiteY13" fmla="*/ 5341816 h 5667424"/>
                <a:gd name="connsiteX14" fmla="*/ 2171008 w 11487681"/>
                <a:gd name="connsiteY14" fmla="*/ 5403068 h 5667424"/>
                <a:gd name="connsiteX15" fmla="*/ 1364557 w 11487681"/>
                <a:gd name="connsiteY15" fmla="*/ 5549412 h 5667424"/>
                <a:gd name="connsiteX16" fmla="*/ 305492 w 11487681"/>
                <a:gd name="connsiteY16" fmla="*/ 5592689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881822 w 11487681"/>
                <a:gd name="connsiteY3" fmla="*/ 1551255 h 5667424"/>
                <a:gd name="connsiteX4" fmla="*/ 10137371 w 11487681"/>
                <a:gd name="connsiteY4" fmla="*/ 2223965 h 5667424"/>
                <a:gd name="connsiteX5" fmla="*/ 9372600 w 11487681"/>
                <a:gd name="connsiteY5" fmla="*/ 3026408 h 5667424"/>
                <a:gd name="connsiteX6" fmla="*/ 8616951 w 11487681"/>
                <a:gd name="connsiteY6" fmla="*/ 3363155 h 5667424"/>
                <a:gd name="connsiteX7" fmla="*/ 7913486 w 11487681"/>
                <a:gd name="connsiteY7" fmla="*/ 3713773 h 5667424"/>
                <a:gd name="connsiteX8" fmla="*/ 7011094 w 11487681"/>
                <a:gd name="connsiteY8" fmla="*/ 4198619 h 5667424"/>
                <a:gd name="connsiteX9" fmla="*/ 6100849 w 11487681"/>
                <a:gd name="connsiteY9" fmla="*/ 4461901 h 5667424"/>
                <a:gd name="connsiteX10" fmla="*/ 5382604 w 11487681"/>
                <a:gd name="connsiteY10" fmla="*/ 4766896 h 5667424"/>
                <a:gd name="connsiteX11" fmla="*/ 4504230 w 11487681"/>
                <a:gd name="connsiteY11" fmla="*/ 5076776 h 5667424"/>
                <a:gd name="connsiteX12" fmla="*/ 3774668 w 11487681"/>
                <a:gd name="connsiteY12" fmla="*/ 5122008 h 5667424"/>
                <a:gd name="connsiteX13" fmla="*/ 3088178 w 11487681"/>
                <a:gd name="connsiteY13" fmla="*/ 5341816 h 5667424"/>
                <a:gd name="connsiteX14" fmla="*/ 2171008 w 11487681"/>
                <a:gd name="connsiteY14" fmla="*/ 5403068 h 5667424"/>
                <a:gd name="connsiteX15" fmla="*/ 1364557 w 11487681"/>
                <a:gd name="connsiteY15" fmla="*/ 5549412 h 5667424"/>
                <a:gd name="connsiteX16" fmla="*/ 305492 w 11487681"/>
                <a:gd name="connsiteY16" fmla="*/ 5592689 h 5667424"/>
                <a:gd name="connsiteX17" fmla="*/ 0 w 11487681"/>
                <a:gd name="connsiteY17" fmla="*/ 5667424 h 5667424"/>
                <a:gd name="connsiteX0" fmla="*/ 0 w 11487681"/>
                <a:gd name="connsiteY0" fmla="*/ 5667424 h 5667424"/>
                <a:gd name="connsiteX1" fmla="*/ 11487150 w 11487681"/>
                <a:gd name="connsiteY1" fmla="*/ 5667424 h 5667424"/>
                <a:gd name="connsiteX2" fmla="*/ 11473064 w 11487681"/>
                <a:gd name="connsiteY2" fmla="*/ 0 h 5667424"/>
                <a:gd name="connsiteX3" fmla="*/ 10888864 w 11487681"/>
                <a:gd name="connsiteY3" fmla="*/ 1748202 h 5667424"/>
                <a:gd name="connsiteX4" fmla="*/ 10137371 w 11487681"/>
                <a:gd name="connsiteY4" fmla="*/ 2223965 h 5667424"/>
                <a:gd name="connsiteX5" fmla="*/ 9372600 w 11487681"/>
                <a:gd name="connsiteY5" fmla="*/ 3026408 h 5667424"/>
                <a:gd name="connsiteX6" fmla="*/ 8616951 w 11487681"/>
                <a:gd name="connsiteY6" fmla="*/ 3363155 h 5667424"/>
                <a:gd name="connsiteX7" fmla="*/ 7913486 w 11487681"/>
                <a:gd name="connsiteY7" fmla="*/ 3713773 h 5667424"/>
                <a:gd name="connsiteX8" fmla="*/ 7011094 w 11487681"/>
                <a:gd name="connsiteY8" fmla="*/ 4198619 h 5667424"/>
                <a:gd name="connsiteX9" fmla="*/ 6100849 w 11487681"/>
                <a:gd name="connsiteY9" fmla="*/ 4461901 h 5667424"/>
                <a:gd name="connsiteX10" fmla="*/ 5382604 w 11487681"/>
                <a:gd name="connsiteY10" fmla="*/ 4766896 h 5667424"/>
                <a:gd name="connsiteX11" fmla="*/ 4504230 w 11487681"/>
                <a:gd name="connsiteY11" fmla="*/ 5076776 h 5667424"/>
                <a:gd name="connsiteX12" fmla="*/ 3774668 w 11487681"/>
                <a:gd name="connsiteY12" fmla="*/ 5122008 h 5667424"/>
                <a:gd name="connsiteX13" fmla="*/ 3088178 w 11487681"/>
                <a:gd name="connsiteY13" fmla="*/ 5341816 h 5667424"/>
                <a:gd name="connsiteX14" fmla="*/ 2171008 w 11487681"/>
                <a:gd name="connsiteY14" fmla="*/ 5403068 h 5667424"/>
                <a:gd name="connsiteX15" fmla="*/ 1364557 w 11487681"/>
                <a:gd name="connsiteY15" fmla="*/ 5549412 h 5667424"/>
                <a:gd name="connsiteX16" fmla="*/ 305492 w 11487681"/>
                <a:gd name="connsiteY16" fmla="*/ 5592689 h 5667424"/>
                <a:gd name="connsiteX17" fmla="*/ 0 w 11487681"/>
                <a:gd name="connsiteY17" fmla="*/ 5667424 h 566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487681" h="5667424">
                  <a:moveTo>
                    <a:pt x="0" y="5667424"/>
                  </a:moveTo>
                  <a:lnTo>
                    <a:pt x="11487150" y="5667424"/>
                  </a:lnTo>
                  <a:cubicBezTo>
                    <a:pt x="11491383" y="3961391"/>
                    <a:pt x="11468831" y="1706033"/>
                    <a:pt x="11473064" y="0"/>
                  </a:cubicBezTo>
                  <a:cubicBezTo>
                    <a:pt x="11275983" y="517085"/>
                    <a:pt x="11100030" y="1188914"/>
                    <a:pt x="10888864" y="1748202"/>
                  </a:cubicBezTo>
                  <a:lnTo>
                    <a:pt x="10137371" y="2223965"/>
                  </a:lnTo>
                  <a:lnTo>
                    <a:pt x="9372600" y="3026408"/>
                  </a:lnTo>
                  <a:lnTo>
                    <a:pt x="8616951" y="3363155"/>
                  </a:lnTo>
                  <a:lnTo>
                    <a:pt x="7913486" y="3713773"/>
                  </a:lnTo>
                  <a:lnTo>
                    <a:pt x="7011094" y="4198619"/>
                  </a:lnTo>
                  <a:lnTo>
                    <a:pt x="6100849" y="4461901"/>
                  </a:lnTo>
                  <a:lnTo>
                    <a:pt x="5382604" y="4766896"/>
                  </a:lnTo>
                  <a:lnTo>
                    <a:pt x="4504230" y="5076776"/>
                  </a:lnTo>
                  <a:lnTo>
                    <a:pt x="3774668" y="5122008"/>
                  </a:lnTo>
                  <a:lnTo>
                    <a:pt x="3088178" y="5341816"/>
                  </a:lnTo>
                  <a:lnTo>
                    <a:pt x="2171008" y="5403068"/>
                  </a:lnTo>
                  <a:lnTo>
                    <a:pt x="1364557" y="5549412"/>
                  </a:lnTo>
                  <a:lnTo>
                    <a:pt x="305492" y="5592689"/>
                  </a:lnTo>
                  <a:lnTo>
                    <a:pt x="0" y="5667424"/>
                  </a:lnTo>
                  <a:close/>
                </a:path>
              </a:pathLst>
            </a:custGeom>
            <a:solidFill>
              <a:srgbClr val="666666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cxnSp>
        <p:nvCxnSpPr>
          <p:cNvPr id="2203" name="Google Shape;1257;p30">
            <a:extLst>
              <a:ext uri="{FF2B5EF4-FFF2-40B4-BE49-F238E27FC236}">
                <a16:creationId xmlns:a16="http://schemas.microsoft.com/office/drawing/2014/main" id="{B336BB8A-F283-DFCB-B5A6-9AF636FB6F43}"/>
              </a:ext>
            </a:extLst>
          </p:cNvPr>
          <p:cNvCxnSpPr>
            <a:cxnSpLocks/>
          </p:cNvCxnSpPr>
          <p:nvPr/>
        </p:nvCxnSpPr>
        <p:spPr>
          <a:xfrm>
            <a:off x="3121491" y="4651426"/>
            <a:ext cx="0" cy="1192576"/>
          </a:xfrm>
          <a:prstGeom prst="straightConnector1">
            <a:avLst/>
          </a:prstGeom>
          <a:noFill/>
          <a:ln w="9525" cap="flat" cmpd="sng">
            <a:solidFill>
              <a:srgbClr val="9AAFB2"/>
            </a:solidFill>
            <a:prstDash val="dash"/>
            <a:miter lim="800000"/>
            <a:headEnd type="none" w="sm" len="sm"/>
            <a:tailEnd type="none" w="sm" len="sm"/>
          </a:ln>
        </p:spPr>
      </p:cxnSp>
      <p:cxnSp>
        <p:nvCxnSpPr>
          <p:cNvPr id="2205" name="Google Shape;1257;p30">
            <a:extLst>
              <a:ext uri="{FF2B5EF4-FFF2-40B4-BE49-F238E27FC236}">
                <a16:creationId xmlns:a16="http://schemas.microsoft.com/office/drawing/2014/main" id="{568F71C1-29D8-06D5-D710-884D6CD1A519}"/>
              </a:ext>
            </a:extLst>
          </p:cNvPr>
          <p:cNvCxnSpPr>
            <a:cxnSpLocks/>
          </p:cNvCxnSpPr>
          <p:nvPr/>
        </p:nvCxnSpPr>
        <p:spPr>
          <a:xfrm>
            <a:off x="372146" y="5370083"/>
            <a:ext cx="0" cy="278893"/>
          </a:xfrm>
          <a:prstGeom prst="straightConnector1">
            <a:avLst/>
          </a:prstGeom>
          <a:noFill/>
          <a:ln w="9525" cap="flat" cmpd="sng">
            <a:solidFill>
              <a:srgbClr val="9AAFB2"/>
            </a:solidFill>
            <a:prstDash val="dash"/>
            <a:miter lim="800000"/>
            <a:headEnd type="none" w="sm" len="sm"/>
            <a:tailEnd type="none" w="sm" len="sm"/>
          </a:ln>
        </p:spPr>
      </p:cxnSp>
      <p:cxnSp>
        <p:nvCxnSpPr>
          <p:cNvPr id="2206" name="Google Shape;1257;p30">
            <a:extLst>
              <a:ext uri="{FF2B5EF4-FFF2-40B4-BE49-F238E27FC236}">
                <a16:creationId xmlns:a16="http://schemas.microsoft.com/office/drawing/2014/main" id="{37EE0EE8-9732-6507-4190-3C546C6C026F}"/>
              </a:ext>
            </a:extLst>
          </p:cNvPr>
          <p:cNvCxnSpPr>
            <a:cxnSpLocks/>
          </p:cNvCxnSpPr>
          <p:nvPr/>
        </p:nvCxnSpPr>
        <p:spPr>
          <a:xfrm>
            <a:off x="1124274" y="5236440"/>
            <a:ext cx="0" cy="412536"/>
          </a:xfrm>
          <a:prstGeom prst="straightConnector1">
            <a:avLst/>
          </a:prstGeom>
          <a:noFill/>
          <a:ln w="9525" cap="flat" cmpd="sng">
            <a:solidFill>
              <a:srgbClr val="9AAFB2"/>
            </a:solidFill>
            <a:prstDash val="dash"/>
            <a:miter lim="800000"/>
            <a:headEnd type="none" w="sm" len="sm"/>
            <a:tailEnd type="none" w="sm" len="sm"/>
          </a:ln>
        </p:spPr>
      </p:cxnSp>
      <p:cxnSp>
        <p:nvCxnSpPr>
          <p:cNvPr id="2207" name="Google Shape;1257;p30">
            <a:extLst>
              <a:ext uri="{FF2B5EF4-FFF2-40B4-BE49-F238E27FC236}">
                <a16:creationId xmlns:a16="http://schemas.microsoft.com/office/drawing/2014/main" id="{73C159A4-612D-BB6F-7941-DDA2491AC239}"/>
              </a:ext>
            </a:extLst>
          </p:cNvPr>
          <p:cNvCxnSpPr>
            <a:cxnSpLocks/>
          </p:cNvCxnSpPr>
          <p:nvPr/>
        </p:nvCxnSpPr>
        <p:spPr>
          <a:xfrm>
            <a:off x="1821510" y="4781278"/>
            <a:ext cx="0" cy="867698"/>
          </a:xfrm>
          <a:prstGeom prst="straightConnector1">
            <a:avLst/>
          </a:prstGeom>
          <a:noFill/>
          <a:ln w="9525" cap="flat" cmpd="sng">
            <a:solidFill>
              <a:srgbClr val="9AAFB2"/>
            </a:solidFill>
            <a:prstDash val="dash"/>
            <a:miter lim="800000"/>
            <a:headEnd type="none" w="sm" len="sm"/>
            <a:tailEnd type="none" w="sm" len="sm"/>
          </a:ln>
        </p:spPr>
      </p:cxnSp>
      <p:cxnSp>
        <p:nvCxnSpPr>
          <p:cNvPr id="2208" name="Google Shape;1257;p30">
            <a:extLst>
              <a:ext uri="{FF2B5EF4-FFF2-40B4-BE49-F238E27FC236}">
                <a16:creationId xmlns:a16="http://schemas.microsoft.com/office/drawing/2014/main" id="{C824C0A5-5378-A4D2-2C97-6854375C9A3C}"/>
              </a:ext>
            </a:extLst>
          </p:cNvPr>
          <p:cNvCxnSpPr>
            <a:cxnSpLocks/>
          </p:cNvCxnSpPr>
          <p:nvPr/>
        </p:nvCxnSpPr>
        <p:spPr>
          <a:xfrm>
            <a:off x="2510429" y="4751104"/>
            <a:ext cx="0" cy="897872"/>
          </a:xfrm>
          <a:prstGeom prst="straightConnector1">
            <a:avLst/>
          </a:prstGeom>
          <a:noFill/>
          <a:ln w="9525" cap="flat" cmpd="sng">
            <a:solidFill>
              <a:srgbClr val="9AAFB2"/>
            </a:solidFill>
            <a:prstDash val="dash"/>
            <a:miter lim="800000"/>
            <a:headEnd type="none" w="sm" len="sm"/>
            <a:tailEnd type="none" w="sm" len="sm"/>
          </a:ln>
        </p:spPr>
      </p:cxnSp>
      <p:cxnSp>
        <p:nvCxnSpPr>
          <p:cNvPr id="2209" name="Google Shape;1257;p30">
            <a:extLst>
              <a:ext uri="{FF2B5EF4-FFF2-40B4-BE49-F238E27FC236}">
                <a16:creationId xmlns:a16="http://schemas.microsoft.com/office/drawing/2014/main" id="{B08953B4-8507-5EF4-A902-3B8CB3B808EB}"/>
              </a:ext>
            </a:extLst>
          </p:cNvPr>
          <p:cNvCxnSpPr>
            <a:cxnSpLocks/>
          </p:cNvCxnSpPr>
          <p:nvPr/>
        </p:nvCxnSpPr>
        <p:spPr>
          <a:xfrm>
            <a:off x="3801774" y="4362170"/>
            <a:ext cx="0" cy="1286806"/>
          </a:xfrm>
          <a:prstGeom prst="straightConnector1">
            <a:avLst/>
          </a:prstGeom>
          <a:noFill/>
          <a:ln w="9525" cap="flat" cmpd="sng">
            <a:solidFill>
              <a:srgbClr val="9AAFB2"/>
            </a:solidFill>
            <a:prstDash val="dash"/>
            <a:miter lim="800000"/>
            <a:headEnd type="none" w="sm" len="sm"/>
            <a:tailEnd type="none" w="sm" len="sm"/>
          </a:ln>
        </p:spPr>
      </p:cxnSp>
      <p:cxnSp>
        <p:nvCxnSpPr>
          <p:cNvPr id="2210" name="Google Shape;1257;p30">
            <a:extLst>
              <a:ext uri="{FF2B5EF4-FFF2-40B4-BE49-F238E27FC236}">
                <a16:creationId xmlns:a16="http://schemas.microsoft.com/office/drawing/2014/main" id="{B3FF1B3D-A11D-F5A5-9DEB-E977027930C8}"/>
              </a:ext>
            </a:extLst>
          </p:cNvPr>
          <p:cNvCxnSpPr>
            <a:cxnSpLocks/>
          </p:cNvCxnSpPr>
          <p:nvPr/>
        </p:nvCxnSpPr>
        <p:spPr>
          <a:xfrm>
            <a:off x="4530080" y="4019892"/>
            <a:ext cx="0" cy="1674804"/>
          </a:xfrm>
          <a:prstGeom prst="straightConnector1">
            <a:avLst/>
          </a:prstGeom>
          <a:noFill/>
          <a:ln w="9525" cap="flat" cmpd="sng">
            <a:solidFill>
              <a:srgbClr val="9AAFB2"/>
            </a:solidFill>
            <a:prstDash val="dash"/>
            <a:miter lim="800000"/>
            <a:headEnd type="none" w="sm" len="sm"/>
            <a:tailEnd type="none" w="sm" len="sm"/>
          </a:ln>
        </p:spPr>
      </p:cxnSp>
      <p:cxnSp>
        <p:nvCxnSpPr>
          <p:cNvPr id="2211" name="Google Shape;1257;p30">
            <a:extLst>
              <a:ext uri="{FF2B5EF4-FFF2-40B4-BE49-F238E27FC236}">
                <a16:creationId xmlns:a16="http://schemas.microsoft.com/office/drawing/2014/main" id="{05D177F5-60CA-48DF-E031-91B1FDAD636A}"/>
              </a:ext>
            </a:extLst>
          </p:cNvPr>
          <p:cNvCxnSpPr>
            <a:cxnSpLocks/>
          </p:cNvCxnSpPr>
          <p:nvPr/>
        </p:nvCxnSpPr>
        <p:spPr>
          <a:xfrm>
            <a:off x="5320563" y="3761585"/>
            <a:ext cx="0" cy="1933111"/>
          </a:xfrm>
          <a:prstGeom prst="straightConnector1">
            <a:avLst/>
          </a:prstGeom>
          <a:noFill/>
          <a:ln w="9525" cap="flat" cmpd="sng">
            <a:solidFill>
              <a:srgbClr val="9AAFB2"/>
            </a:solidFill>
            <a:prstDash val="dash"/>
            <a:miter lim="800000"/>
            <a:headEnd type="none" w="sm" len="sm"/>
            <a:tailEnd type="none" w="sm" len="sm"/>
          </a:ln>
        </p:spPr>
      </p:cxnSp>
      <p:cxnSp>
        <p:nvCxnSpPr>
          <p:cNvPr id="2212" name="Google Shape;1257;p30">
            <a:extLst>
              <a:ext uri="{FF2B5EF4-FFF2-40B4-BE49-F238E27FC236}">
                <a16:creationId xmlns:a16="http://schemas.microsoft.com/office/drawing/2014/main" id="{05AD6FAD-4D1A-7B2F-0EF1-0DE630406C82}"/>
              </a:ext>
            </a:extLst>
          </p:cNvPr>
          <p:cNvCxnSpPr>
            <a:cxnSpLocks/>
          </p:cNvCxnSpPr>
          <p:nvPr/>
        </p:nvCxnSpPr>
        <p:spPr>
          <a:xfrm>
            <a:off x="5990374" y="3221838"/>
            <a:ext cx="0" cy="2472858"/>
          </a:xfrm>
          <a:prstGeom prst="straightConnector1">
            <a:avLst/>
          </a:prstGeom>
          <a:noFill/>
          <a:ln w="9525" cap="flat" cmpd="sng">
            <a:solidFill>
              <a:srgbClr val="9AAFB2"/>
            </a:solidFill>
            <a:prstDash val="dash"/>
            <a:miter lim="800000"/>
            <a:headEnd type="none" w="sm" len="sm"/>
            <a:tailEnd type="none" w="sm" len="sm"/>
          </a:ln>
        </p:spPr>
      </p:cxnSp>
      <p:cxnSp>
        <p:nvCxnSpPr>
          <p:cNvPr id="2213" name="Google Shape;1257;p30">
            <a:extLst>
              <a:ext uri="{FF2B5EF4-FFF2-40B4-BE49-F238E27FC236}">
                <a16:creationId xmlns:a16="http://schemas.microsoft.com/office/drawing/2014/main" id="{72EFFDA9-F760-96E1-217E-E71B829A4F13}"/>
              </a:ext>
            </a:extLst>
          </p:cNvPr>
          <p:cNvCxnSpPr>
            <a:cxnSpLocks/>
          </p:cNvCxnSpPr>
          <p:nvPr/>
        </p:nvCxnSpPr>
        <p:spPr>
          <a:xfrm>
            <a:off x="6602496" y="2964264"/>
            <a:ext cx="0" cy="2847326"/>
          </a:xfrm>
          <a:prstGeom prst="straightConnector1">
            <a:avLst/>
          </a:prstGeom>
          <a:noFill/>
          <a:ln w="9525" cap="flat" cmpd="sng">
            <a:solidFill>
              <a:srgbClr val="9AAFB2"/>
            </a:solidFill>
            <a:prstDash val="dash"/>
            <a:miter lim="800000"/>
            <a:headEnd type="none" w="sm" len="sm"/>
            <a:tailEnd type="none" w="sm" len="sm"/>
          </a:ln>
        </p:spPr>
      </p:cxnSp>
      <p:cxnSp>
        <p:nvCxnSpPr>
          <p:cNvPr id="2214" name="Google Shape;1257;p30">
            <a:extLst>
              <a:ext uri="{FF2B5EF4-FFF2-40B4-BE49-F238E27FC236}">
                <a16:creationId xmlns:a16="http://schemas.microsoft.com/office/drawing/2014/main" id="{C5E0839E-1BE9-D00E-0902-0CC0FF0BE603}"/>
              </a:ext>
            </a:extLst>
          </p:cNvPr>
          <p:cNvCxnSpPr>
            <a:cxnSpLocks/>
          </p:cNvCxnSpPr>
          <p:nvPr/>
        </p:nvCxnSpPr>
        <p:spPr>
          <a:xfrm>
            <a:off x="7252127" y="2481943"/>
            <a:ext cx="0" cy="3329647"/>
          </a:xfrm>
          <a:prstGeom prst="straightConnector1">
            <a:avLst/>
          </a:prstGeom>
          <a:noFill/>
          <a:ln w="9525" cap="flat" cmpd="sng">
            <a:solidFill>
              <a:srgbClr val="9AAFB2"/>
            </a:solidFill>
            <a:prstDash val="dash"/>
            <a:miter lim="800000"/>
            <a:headEnd type="none" w="sm" len="sm"/>
            <a:tailEnd type="none" w="sm" len="sm"/>
          </a:ln>
        </p:spPr>
      </p:cxnSp>
      <p:cxnSp>
        <p:nvCxnSpPr>
          <p:cNvPr id="2215" name="Google Shape;1257;p30">
            <a:extLst>
              <a:ext uri="{FF2B5EF4-FFF2-40B4-BE49-F238E27FC236}">
                <a16:creationId xmlns:a16="http://schemas.microsoft.com/office/drawing/2014/main" id="{8043B617-C4E7-1DB8-168F-930EA5D776CB}"/>
              </a:ext>
            </a:extLst>
          </p:cNvPr>
          <p:cNvCxnSpPr>
            <a:cxnSpLocks/>
          </p:cNvCxnSpPr>
          <p:nvPr/>
        </p:nvCxnSpPr>
        <p:spPr>
          <a:xfrm>
            <a:off x="7923052" y="2000385"/>
            <a:ext cx="0" cy="3801157"/>
          </a:xfrm>
          <a:prstGeom prst="straightConnector1">
            <a:avLst/>
          </a:prstGeom>
          <a:noFill/>
          <a:ln w="9525" cap="flat" cmpd="sng">
            <a:solidFill>
              <a:srgbClr val="9AAFB2"/>
            </a:solidFill>
            <a:prstDash val="dash"/>
            <a:miter lim="800000"/>
            <a:headEnd type="none" w="sm" len="sm"/>
            <a:tailEnd type="none" w="sm" len="sm"/>
          </a:ln>
        </p:spPr>
      </p:cxnSp>
      <p:cxnSp>
        <p:nvCxnSpPr>
          <p:cNvPr id="2216" name="Google Shape;1257;p30">
            <a:extLst>
              <a:ext uri="{FF2B5EF4-FFF2-40B4-BE49-F238E27FC236}">
                <a16:creationId xmlns:a16="http://schemas.microsoft.com/office/drawing/2014/main" id="{07318AC3-2B69-FD87-9ADA-4AFF4FF764BF}"/>
              </a:ext>
            </a:extLst>
          </p:cNvPr>
          <p:cNvCxnSpPr>
            <a:cxnSpLocks/>
          </p:cNvCxnSpPr>
          <p:nvPr/>
        </p:nvCxnSpPr>
        <p:spPr>
          <a:xfrm>
            <a:off x="8620296" y="1543512"/>
            <a:ext cx="7033" cy="4242624"/>
          </a:xfrm>
          <a:prstGeom prst="straightConnector1">
            <a:avLst/>
          </a:prstGeom>
          <a:noFill/>
          <a:ln w="9525" cap="flat" cmpd="sng">
            <a:solidFill>
              <a:srgbClr val="9AAFB2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2217" name="Rectangle 2216">
            <a:extLst>
              <a:ext uri="{FF2B5EF4-FFF2-40B4-BE49-F238E27FC236}">
                <a16:creationId xmlns:a16="http://schemas.microsoft.com/office/drawing/2014/main" id="{2AA87BB4-7E3C-FC97-D76B-89ACF25860D2}"/>
              </a:ext>
            </a:extLst>
          </p:cNvPr>
          <p:cNvSpPr>
            <a:spLocks/>
          </p:cNvSpPr>
          <p:nvPr/>
        </p:nvSpPr>
        <p:spPr>
          <a:xfrm>
            <a:off x="1972" y="5831052"/>
            <a:ext cx="12190028" cy="553874"/>
          </a:xfrm>
          <a:prstGeom prst="rect">
            <a:avLst/>
          </a:prstGeom>
          <a:solidFill>
            <a:schemeClr val="bg1">
              <a:alpha val="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gradFill>
                <a:gsLst>
                  <a:gs pos="65000">
                    <a:srgbClr val="00BD4D"/>
                  </a:gs>
                  <a:gs pos="0">
                    <a:srgbClr val="FEDD00"/>
                  </a:gs>
                  <a:gs pos="35000">
                    <a:srgbClr val="00BD4D"/>
                  </a:gs>
                  <a:gs pos="100000">
                    <a:srgbClr val="00E2EC"/>
                  </a:gs>
                </a:gsLst>
                <a:lin ang="2700000" scaled="0"/>
              </a:gradFill>
              <a:effectLst/>
              <a:uLnTx/>
              <a:uFillTx/>
              <a:latin typeface="Lato Light"/>
              <a:ea typeface="Lato Light"/>
              <a:cs typeface="Lato Light"/>
              <a:sym typeface="Arial"/>
            </a:endParaRPr>
          </a:p>
        </p:txBody>
      </p:sp>
      <p:sp>
        <p:nvSpPr>
          <p:cNvPr id="2218" name="Rectangle 2217">
            <a:extLst>
              <a:ext uri="{FF2B5EF4-FFF2-40B4-BE49-F238E27FC236}">
                <a16:creationId xmlns:a16="http://schemas.microsoft.com/office/drawing/2014/main" id="{0B533AA1-2E5A-F8B9-8F4D-F3B10096CE98}"/>
              </a:ext>
            </a:extLst>
          </p:cNvPr>
          <p:cNvSpPr>
            <a:spLocks/>
          </p:cNvSpPr>
          <p:nvPr/>
        </p:nvSpPr>
        <p:spPr>
          <a:xfrm>
            <a:off x="1972" y="5648976"/>
            <a:ext cx="12190028" cy="182880"/>
          </a:xfrm>
          <a:prstGeom prst="rect">
            <a:avLst/>
          </a:prstGeom>
          <a:gradFill>
            <a:gsLst>
              <a:gs pos="0">
                <a:srgbClr val="FFDE00"/>
              </a:gs>
              <a:gs pos="45000">
                <a:srgbClr val="00C02F"/>
              </a:gs>
              <a:gs pos="65000">
                <a:srgbClr val="00C02F"/>
              </a:gs>
              <a:gs pos="100000">
                <a:srgbClr val="00E3ED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gradFill>
                <a:gsLst>
                  <a:gs pos="65000">
                    <a:srgbClr val="00BD4D"/>
                  </a:gs>
                  <a:gs pos="0">
                    <a:srgbClr val="FEDD00"/>
                  </a:gs>
                  <a:gs pos="35000">
                    <a:srgbClr val="00BD4D"/>
                  </a:gs>
                  <a:gs pos="100000">
                    <a:srgbClr val="00E2EC"/>
                  </a:gs>
                </a:gsLst>
                <a:lin ang="2700000" scaled="0"/>
              </a:gradFill>
              <a:effectLst/>
              <a:uLnTx/>
              <a:uFillTx/>
              <a:latin typeface="Lato Light"/>
              <a:ea typeface="Lato Light"/>
              <a:cs typeface="Lato Light"/>
              <a:sym typeface="Arial"/>
            </a:endParaRPr>
          </a:p>
        </p:txBody>
      </p:sp>
      <p:sp>
        <p:nvSpPr>
          <p:cNvPr id="2219" name="Google Shape;1189;p26">
            <a:extLst>
              <a:ext uri="{FF2B5EF4-FFF2-40B4-BE49-F238E27FC236}">
                <a16:creationId xmlns:a16="http://schemas.microsoft.com/office/drawing/2014/main" id="{0184DCFC-FD16-950E-A727-7729B9FED60C}"/>
              </a:ext>
            </a:extLst>
          </p:cNvPr>
          <p:cNvSpPr txBox="1">
            <a:spLocks/>
          </p:cNvSpPr>
          <p:nvPr/>
        </p:nvSpPr>
        <p:spPr>
          <a:xfrm rot="16200000">
            <a:off x="1583839" y="5988182"/>
            <a:ext cx="464148" cy="2396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Lato"/>
                <a:cs typeface="Lato"/>
                <a:sym typeface="Arial"/>
              </a:rPr>
              <a:t>2010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/>
              <a:ea typeface="Lato Light"/>
              <a:cs typeface="Lato Light"/>
              <a:sym typeface="Arial"/>
            </a:endParaRPr>
          </a:p>
        </p:txBody>
      </p:sp>
      <p:sp>
        <p:nvSpPr>
          <p:cNvPr id="2220" name="Google Shape;1189;p26">
            <a:extLst>
              <a:ext uri="{FF2B5EF4-FFF2-40B4-BE49-F238E27FC236}">
                <a16:creationId xmlns:a16="http://schemas.microsoft.com/office/drawing/2014/main" id="{3AD89A79-D939-C9D0-6F36-07F8766A6147}"/>
              </a:ext>
            </a:extLst>
          </p:cNvPr>
          <p:cNvSpPr txBox="1">
            <a:spLocks/>
          </p:cNvSpPr>
          <p:nvPr/>
        </p:nvSpPr>
        <p:spPr>
          <a:xfrm rot="16200000">
            <a:off x="2276846" y="5988182"/>
            <a:ext cx="464148" cy="2396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Lato"/>
                <a:cs typeface="Lato"/>
                <a:sym typeface="Arial"/>
              </a:rPr>
              <a:t>2012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/>
              <a:ea typeface="Lato Light"/>
              <a:cs typeface="Lato Light"/>
              <a:sym typeface="Arial"/>
            </a:endParaRPr>
          </a:p>
        </p:txBody>
      </p:sp>
      <p:sp>
        <p:nvSpPr>
          <p:cNvPr id="2221" name="Google Shape;1189;p26">
            <a:extLst>
              <a:ext uri="{FF2B5EF4-FFF2-40B4-BE49-F238E27FC236}">
                <a16:creationId xmlns:a16="http://schemas.microsoft.com/office/drawing/2014/main" id="{A7226BE5-7816-E175-E094-DF5E0439E30A}"/>
              </a:ext>
            </a:extLst>
          </p:cNvPr>
          <p:cNvSpPr txBox="1">
            <a:spLocks/>
          </p:cNvSpPr>
          <p:nvPr/>
        </p:nvSpPr>
        <p:spPr>
          <a:xfrm rot="16200000">
            <a:off x="2884963" y="5988182"/>
            <a:ext cx="464148" cy="2396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Lato"/>
                <a:cs typeface="Lato"/>
                <a:sym typeface="Arial"/>
              </a:rPr>
              <a:t>2013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/>
              <a:ea typeface="Lato Light"/>
              <a:cs typeface="Lato Light"/>
              <a:sym typeface="Arial"/>
            </a:endParaRPr>
          </a:p>
        </p:txBody>
      </p:sp>
      <p:sp>
        <p:nvSpPr>
          <p:cNvPr id="2222" name="Google Shape;1189;p26">
            <a:extLst>
              <a:ext uri="{FF2B5EF4-FFF2-40B4-BE49-F238E27FC236}">
                <a16:creationId xmlns:a16="http://schemas.microsoft.com/office/drawing/2014/main" id="{C46DCB80-630E-4721-85FE-0A1ED0A3901F}"/>
              </a:ext>
            </a:extLst>
          </p:cNvPr>
          <p:cNvSpPr txBox="1">
            <a:spLocks/>
          </p:cNvSpPr>
          <p:nvPr/>
        </p:nvSpPr>
        <p:spPr>
          <a:xfrm rot="16200000">
            <a:off x="3596654" y="5988182"/>
            <a:ext cx="464148" cy="2396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Lato"/>
                <a:cs typeface="Lato"/>
                <a:sym typeface="Arial"/>
              </a:rPr>
              <a:t>2014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/>
              <a:ea typeface="Lato Light"/>
              <a:cs typeface="Lato Light"/>
              <a:sym typeface="Arial"/>
            </a:endParaRPr>
          </a:p>
        </p:txBody>
      </p:sp>
      <p:sp>
        <p:nvSpPr>
          <p:cNvPr id="2224" name="Google Shape;1189;p26">
            <a:extLst>
              <a:ext uri="{FF2B5EF4-FFF2-40B4-BE49-F238E27FC236}">
                <a16:creationId xmlns:a16="http://schemas.microsoft.com/office/drawing/2014/main" id="{6516511C-0A83-9E6C-31A5-BCCFDEA2781C}"/>
              </a:ext>
            </a:extLst>
          </p:cNvPr>
          <p:cNvSpPr txBox="1">
            <a:spLocks/>
          </p:cNvSpPr>
          <p:nvPr/>
        </p:nvSpPr>
        <p:spPr>
          <a:xfrm rot="16200000">
            <a:off x="4320375" y="5988182"/>
            <a:ext cx="464148" cy="2396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Lato"/>
                <a:cs typeface="Lato"/>
                <a:sym typeface="Arial"/>
              </a:rPr>
              <a:t>2016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/>
              <a:ea typeface="Lato Light"/>
              <a:cs typeface="Lato Light"/>
              <a:sym typeface="Arial"/>
            </a:endParaRPr>
          </a:p>
        </p:txBody>
      </p:sp>
      <p:sp>
        <p:nvSpPr>
          <p:cNvPr id="2225" name="Google Shape;1189;p26">
            <a:extLst>
              <a:ext uri="{FF2B5EF4-FFF2-40B4-BE49-F238E27FC236}">
                <a16:creationId xmlns:a16="http://schemas.microsoft.com/office/drawing/2014/main" id="{AA654942-0C13-4EFB-EF04-9DCC10ED3964}"/>
              </a:ext>
            </a:extLst>
          </p:cNvPr>
          <p:cNvSpPr txBox="1">
            <a:spLocks/>
          </p:cNvSpPr>
          <p:nvPr/>
        </p:nvSpPr>
        <p:spPr>
          <a:xfrm rot="16200000">
            <a:off x="6364915" y="5988181"/>
            <a:ext cx="464148" cy="2396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Lato"/>
                <a:cs typeface="Lato"/>
                <a:sym typeface="Arial"/>
              </a:rPr>
              <a:t>2019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/>
              <a:ea typeface="Lato Light"/>
              <a:cs typeface="Lato Light"/>
              <a:sym typeface="Arial"/>
            </a:endParaRPr>
          </a:p>
        </p:txBody>
      </p:sp>
      <p:sp>
        <p:nvSpPr>
          <p:cNvPr id="2226" name="Google Shape;1189;p26">
            <a:extLst>
              <a:ext uri="{FF2B5EF4-FFF2-40B4-BE49-F238E27FC236}">
                <a16:creationId xmlns:a16="http://schemas.microsoft.com/office/drawing/2014/main" id="{D351BF83-7A0F-4E3D-982D-C93B640B5B6E}"/>
              </a:ext>
            </a:extLst>
          </p:cNvPr>
          <p:cNvSpPr txBox="1">
            <a:spLocks/>
          </p:cNvSpPr>
          <p:nvPr/>
        </p:nvSpPr>
        <p:spPr>
          <a:xfrm rot="16200000">
            <a:off x="7698782" y="6011122"/>
            <a:ext cx="464148" cy="2396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Lato"/>
                <a:cs typeface="Lato"/>
                <a:sym typeface="Arial"/>
              </a:rPr>
              <a:t>2020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/>
              <a:ea typeface="Lato Light"/>
              <a:cs typeface="Lato Light"/>
              <a:sym typeface="Arial"/>
            </a:endParaRPr>
          </a:p>
        </p:txBody>
      </p:sp>
      <p:sp>
        <p:nvSpPr>
          <p:cNvPr id="2227" name="Google Shape;1189;p26">
            <a:extLst>
              <a:ext uri="{FF2B5EF4-FFF2-40B4-BE49-F238E27FC236}">
                <a16:creationId xmlns:a16="http://schemas.microsoft.com/office/drawing/2014/main" id="{1E779BA1-DC0E-55CB-72CD-9E5309325FF2}"/>
              </a:ext>
            </a:extLst>
          </p:cNvPr>
          <p:cNvSpPr txBox="1">
            <a:spLocks/>
          </p:cNvSpPr>
          <p:nvPr/>
        </p:nvSpPr>
        <p:spPr>
          <a:xfrm rot="16200000">
            <a:off x="5772863" y="5988181"/>
            <a:ext cx="464148" cy="2396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Lato"/>
                <a:cs typeface="Lato"/>
                <a:sym typeface="Arial"/>
              </a:rPr>
              <a:t>2017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/>
              <a:ea typeface="Lato Light"/>
              <a:cs typeface="Lato Light"/>
              <a:sym typeface="Arial"/>
            </a:endParaRPr>
          </a:p>
        </p:txBody>
      </p:sp>
      <p:sp>
        <p:nvSpPr>
          <p:cNvPr id="2228" name="Google Shape;1189;p26">
            <a:extLst>
              <a:ext uri="{FF2B5EF4-FFF2-40B4-BE49-F238E27FC236}">
                <a16:creationId xmlns:a16="http://schemas.microsoft.com/office/drawing/2014/main" id="{109AD3C0-552C-7C6A-3161-6FD587982E66}"/>
              </a:ext>
            </a:extLst>
          </p:cNvPr>
          <p:cNvSpPr txBox="1">
            <a:spLocks/>
          </p:cNvSpPr>
          <p:nvPr/>
        </p:nvSpPr>
        <p:spPr>
          <a:xfrm rot="16200000">
            <a:off x="903617" y="5988181"/>
            <a:ext cx="464148" cy="2396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Lato"/>
                <a:cs typeface="Lato"/>
                <a:sym typeface="Arial"/>
              </a:rPr>
              <a:t>2005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/>
              <a:ea typeface="Lato Light"/>
              <a:cs typeface="Lato Light"/>
              <a:sym typeface="Arial"/>
            </a:endParaRPr>
          </a:p>
        </p:txBody>
      </p:sp>
      <p:sp>
        <p:nvSpPr>
          <p:cNvPr id="2229" name="Google Shape;1189;p26">
            <a:extLst>
              <a:ext uri="{FF2B5EF4-FFF2-40B4-BE49-F238E27FC236}">
                <a16:creationId xmlns:a16="http://schemas.microsoft.com/office/drawing/2014/main" id="{8CE4DB3A-C371-7DEC-46F6-1BE4CB8CA742}"/>
              </a:ext>
            </a:extLst>
          </p:cNvPr>
          <p:cNvSpPr txBox="1">
            <a:spLocks/>
          </p:cNvSpPr>
          <p:nvPr/>
        </p:nvSpPr>
        <p:spPr>
          <a:xfrm rot="16200000">
            <a:off x="131403" y="5988181"/>
            <a:ext cx="468789" cy="2396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Lato"/>
                <a:cs typeface="Lato"/>
                <a:sym typeface="Arial"/>
              </a:rPr>
              <a:t>2000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/>
              <a:ea typeface="Lato Light"/>
              <a:cs typeface="Lato Light"/>
              <a:sym typeface="Arial"/>
            </a:endParaRPr>
          </a:p>
        </p:txBody>
      </p:sp>
      <p:sp>
        <p:nvSpPr>
          <p:cNvPr id="2231" name="Google Shape;1252;p30">
            <a:extLst>
              <a:ext uri="{FF2B5EF4-FFF2-40B4-BE49-F238E27FC236}">
                <a16:creationId xmlns:a16="http://schemas.microsoft.com/office/drawing/2014/main" id="{E303401E-6CD6-C20B-1C43-6467DB7D46AE}"/>
              </a:ext>
            </a:extLst>
          </p:cNvPr>
          <p:cNvSpPr txBox="1">
            <a:spLocks/>
          </p:cNvSpPr>
          <p:nvPr/>
        </p:nvSpPr>
        <p:spPr>
          <a:xfrm>
            <a:off x="-134866" y="4722686"/>
            <a:ext cx="1014024" cy="699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  <a:tabLst/>
              <a:defRPr/>
            </a:pPr>
            <a:r>
              <a:rPr kumimoji="0" lang="en-US" sz="9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 Light"/>
              </a:rPr>
              <a:t>Delivere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  <a:tabLst/>
              <a:defRPr/>
            </a:pPr>
            <a:r>
              <a:rPr kumimoji="0" lang="en-US" sz="95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 Light"/>
              </a:rPr>
              <a:t>DN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  <a:tabLst/>
              <a:defRPr/>
            </a:pPr>
            <a:r>
              <a:rPr kumimoji="0" lang="en-US" sz="95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 Light"/>
              </a:rPr>
              <a:t>Appliance</a:t>
            </a:r>
          </a:p>
        </p:txBody>
      </p:sp>
      <p:sp>
        <p:nvSpPr>
          <p:cNvPr id="2232" name="Google Shape;1252;p30">
            <a:extLst>
              <a:ext uri="{FF2B5EF4-FFF2-40B4-BE49-F238E27FC236}">
                <a16:creationId xmlns:a16="http://schemas.microsoft.com/office/drawing/2014/main" id="{31645F49-04B0-3805-2F38-42FE15B3108E}"/>
              </a:ext>
            </a:extLst>
          </p:cNvPr>
          <p:cNvSpPr txBox="1">
            <a:spLocks/>
          </p:cNvSpPr>
          <p:nvPr/>
        </p:nvSpPr>
        <p:spPr>
          <a:xfrm>
            <a:off x="617262" y="4600759"/>
            <a:ext cx="1014024" cy="699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  <a:tabLst/>
              <a:defRPr/>
            </a:pPr>
            <a:r>
              <a:rPr kumimoji="0" lang="en-US" sz="9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 Light"/>
              </a:rPr>
              <a:t>Distribute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  <a:tabLst/>
              <a:defRPr/>
            </a:pPr>
            <a:r>
              <a:rPr kumimoji="0" lang="en-US" sz="95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 Light"/>
              </a:rPr>
              <a:t>DD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  <a:tabLst/>
              <a:defRPr/>
            </a:pPr>
            <a:r>
              <a:rPr kumimoji="0" lang="en-US" sz="95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 Light"/>
              </a:rPr>
              <a:t>Management</a:t>
            </a:r>
          </a:p>
        </p:txBody>
      </p:sp>
      <p:sp>
        <p:nvSpPr>
          <p:cNvPr id="2235" name="Google Shape;1252;p30">
            <a:extLst>
              <a:ext uri="{FF2B5EF4-FFF2-40B4-BE49-F238E27FC236}">
                <a16:creationId xmlns:a16="http://schemas.microsoft.com/office/drawing/2014/main" id="{73BE9632-AC2C-CCBB-30DD-BCF891B1AAF6}"/>
              </a:ext>
            </a:extLst>
          </p:cNvPr>
          <p:cNvSpPr txBox="1">
            <a:spLocks/>
          </p:cNvSpPr>
          <p:nvPr/>
        </p:nvSpPr>
        <p:spPr>
          <a:xfrm>
            <a:off x="6735851" y="2144615"/>
            <a:ext cx="1014024" cy="1828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  <a:tabLst/>
              <a:defRPr/>
            </a:pPr>
            <a:r>
              <a:rPr kumimoji="0" lang="en-US" sz="9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 Light"/>
              </a:rPr>
              <a:t>Acquired</a:t>
            </a:r>
          </a:p>
        </p:txBody>
      </p:sp>
      <p:sp>
        <p:nvSpPr>
          <p:cNvPr id="2236" name="Google Shape;1252;p30">
            <a:extLst>
              <a:ext uri="{FF2B5EF4-FFF2-40B4-BE49-F238E27FC236}">
                <a16:creationId xmlns:a16="http://schemas.microsoft.com/office/drawing/2014/main" id="{7EE986A9-7462-20F6-AA49-247C363747CA}"/>
              </a:ext>
            </a:extLst>
          </p:cNvPr>
          <p:cNvSpPr txBox="1">
            <a:spLocks/>
          </p:cNvSpPr>
          <p:nvPr/>
        </p:nvSpPr>
        <p:spPr>
          <a:xfrm>
            <a:off x="2129540" y="4368933"/>
            <a:ext cx="768151" cy="4123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  <a:tabLst/>
              <a:defRPr/>
            </a:pPr>
            <a:r>
              <a:rPr kumimoji="0" lang="en-US" sz="9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 Light"/>
              </a:rPr>
              <a:t>IPO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  <a:tabLst/>
              <a:defRPr/>
            </a:pPr>
            <a:r>
              <a:rPr kumimoji="0" lang="en-US" sz="95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 Light"/>
              </a:rPr>
              <a:t>NYSE</a:t>
            </a:r>
          </a:p>
        </p:txBody>
      </p:sp>
      <p:pic>
        <p:nvPicPr>
          <p:cNvPr id="2238" name="Graphic 2237">
            <a:extLst>
              <a:ext uri="{FF2B5EF4-FFF2-40B4-BE49-F238E27FC236}">
                <a16:creationId xmlns:a16="http://schemas.microsoft.com/office/drawing/2014/main" id="{5BDD7FF8-B022-4FDA-62F8-1A46382D550A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86958" y="4019892"/>
            <a:ext cx="246942" cy="351892"/>
          </a:xfrm>
          <a:prstGeom prst="rect">
            <a:avLst/>
          </a:prstGeom>
        </p:spPr>
      </p:pic>
      <p:sp>
        <p:nvSpPr>
          <p:cNvPr id="2239" name="Google Shape;1252;p30">
            <a:extLst>
              <a:ext uri="{FF2B5EF4-FFF2-40B4-BE49-F238E27FC236}">
                <a16:creationId xmlns:a16="http://schemas.microsoft.com/office/drawing/2014/main" id="{F9DCC08A-AB5E-06D8-AFC5-3631C1B13DD9}"/>
              </a:ext>
            </a:extLst>
          </p:cNvPr>
          <p:cNvSpPr txBox="1">
            <a:spLocks/>
          </p:cNvSpPr>
          <p:nvPr/>
        </p:nvSpPr>
        <p:spPr>
          <a:xfrm>
            <a:off x="2614479" y="4095451"/>
            <a:ext cx="1014024" cy="699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  <a:tabLst/>
              <a:defRPr/>
            </a:pPr>
            <a:r>
              <a:rPr kumimoji="0" lang="en-US" sz="9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 Light"/>
              </a:rPr>
              <a:t>DN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  <a:tabLst/>
              <a:defRPr/>
            </a:pPr>
            <a:r>
              <a:rPr kumimoji="0" lang="en-US" sz="95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 Light"/>
              </a:rPr>
              <a:t>Firewall</a:t>
            </a:r>
          </a:p>
        </p:txBody>
      </p:sp>
      <p:sp>
        <p:nvSpPr>
          <p:cNvPr id="2241" name="Google Shape;1252;p30">
            <a:extLst>
              <a:ext uri="{FF2B5EF4-FFF2-40B4-BE49-F238E27FC236}">
                <a16:creationId xmlns:a16="http://schemas.microsoft.com/office/drawing/2014/main" id="{6233FACB-D5A6-1F87-AE22-FC5F912F6B11}"/>
              </a:ext>
            </a:extLst>
          </p:cNvPr>
          <p:cNvSpPr txBox="1">
            <a:spLocks/>
          </p:cNvSpPr>
          <p:nvPr/>
        </p:nvSpPr>
        <p:spPr>
          <a:xfrm>
            <a:off x="3357319" y="3853780"/>
            <a:ext cx="888912" cy="5151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  <a:tabLst/>
              <a:defRPr/>
            </a:pPr>
            <a:r>
              <a:rPr kumimoji="0" lang="en-US" sz="95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 Light"/>
              </a:rPr>
              <a:t>Virtual DDI </a:t>
            </a:r>
            <a:br>
              <a:rPr kumimoji="0" lang="en-US" sz="95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 Light"/>
              </a:rPr>
            </a:br>
            <a:r>
              <a:rPr kumimoji="0" lang="en-US" sz="9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 Light"/>
              </a:rPr>
              <a:t>in the Public &amp; Hybrid Cloud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86C3172-2142-07FD-E500-023B14EEABAF}"/>
              </a:ext>
            </a:extLst>
          </p:cNvPr>
          <p:cNvGrpSpPr/>
          <p:nvPr/>
        </p:nvGrpSpPr>
        <p:grpSpPr>
          <a:xfrm>
            <a:off x="4174839" y="3569399"/>
            <a:ext cx="672438" cy="385850"/>
            <a:chOff x="4799872" y="3468916"/>
            <a:chExt cx="672438" cy="385850"/>
          </a:xfrm>
        </p:grpSpPr>
        <p:sp>
          <p:nvSpPr>
            <p:cNvPr id="2246" name="Google Shape;1252;p30">
              <a:extLst>
                <a:ext uri="{FF2B5EF4-FFF2-40B4-BE49-F238E27FC236}">
                  <a16:creationId xmlns:a16="http://schemas.microsoft.com/office/drawing/2014/main" id="{A52AC0E5-35D4-2F86-FA97-9880064EE293}"/>
                </a:ext>
              </a:extLst>
            </p:cNvPr>
            <p:cNvSpPr txBox="1">
              <a:spLocks/>
            </p:cNvSpPr>
            <p:nvPr/>
          </p:nvSpPr>
          <p:spPr>
            <a:xfrm>
              <a:off x="4799872" y="3663128"/>
              <a:ext cx="672438" cy="19163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800"/>
                <a:buFont typeface="Arial"/>
                <a:buNone/>
                <a:tabLst/>
                <a:defRPr/>
              </a:pPr>
              <a:r>
                <a:rPr kumimoji="0" lang="en-US" sz="95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"/>
                  <a:ea typeface="Lato"/>
                  <a:cs typeface="Lato"/>
                  <a:sym typeface="Lato Light"/>
                </a:rPr>
                <a:t>Acquired</a:t>
              </a:r>
            </a:p>
          </p:txBody>
        </p:sp>
        <p:pic>
          <p:nvPicPr>
            <p:cNvPr id="2247" name="Graphic 2246">
              <a:extLst>
                <a:ext uri="{FF2B5EF4-FFF2-40B4-BE49-F238E27FC236}">
                  <a16:creationId xmlns:a16="http://schemas.microsoft.com/office/drawing/2014/main" id="{D9EB445F-9862-BD42-9E27-6ECD2C38C5AB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842930" y="3468916"/>
              <a:ext cx="612594" cy="192186"/>
            </a:xfrm>
            <a:prstGeom prst="rect">
              <a:avLst/>
            </a:prstGeom>
          </p:spPr>
        </p:pic>
      </p:grpSp>
      <p:sp>
        <p:nvSpPr>
          <p:cNvPr id="2249" name="Google Shape;1252;p30">
            <a:extLst>
              <a:ext uri="{FF2B5EF4-FFF2-40B4-BE49-F238E27FC236}">
                <a16:creationId xmlns:a16="http://schemas.microsoft.com/office/drawing/2014/main" id="{7DB7C355-A955-A2C9-BA89-7DF5CDDB1042}"/>
              </a:ext>
            </a:extLst>
          </p:cNvPr>
          <p:cNvSpPr txBox="1">
            <a:spLocks/>
          </p:cNvSpPr>
          <p:nvPr/>
        </p:nvSpPr>
        <p:spPr>
          <a:xfrm>
            <a:off x="4807666" y="3444012"/>
            <a:ext cx="1014024" cy="3484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  <a:tabLst/>
              <a:defRPr/>
            </a:pPr>
            <a:r>
              <a:rPr kumimoji="0" lang="en-US" sz="9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 Light"/>
              </a:rPr>
              <a:t>Vista acquire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  <a:tabLst/>
              <a:defRPr/>
            </a:pPr>
            <a:r>
              <a:rPr kumimoji="0" lang="en-US" sz="9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 Light"/>
              </a:rPr>
              <a:t>Infoblox</a:t>
            </a:r>
          </a:p>
        </p:txBody>
      </p:sp>
      <p:pic>
        <p:nvPicPr>
          <p:cNvPr id="2250" name="Graphic 2249">
            <a:extLst>
              <a:ext uri="{FF2B5EF4-FFF2-40B4-BE49-F238E27FC236}">
                <a16:creationId xmlns:a16="http://schemas.microsoft.com/office/drawing/2014/main" id="{199A9AF3-908E-84DB-9E94-92253D41C3B0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08430" y="3221838"/>
            <a:ext cx="583979" cy="210028"/>
          </a:xfrm>
          <a:prstGeom prst="rect">
            <a:avLst/>
          </a:prstGeom>
        </p:spPr>
      </p:pic>
      <p:sp>
        <p:nvSpPr>
          <p:cNvPr id="2252" name="Google Shape;1252;p30">
            <a:extLst>
              <a:ext uri="{FF2B5EF4-FFF2-40B4-BE49-F238E27FC236}">
                <a16:creationId xmlns:a16="http://schemas.microsoft.com/office/drawing/2014/main" id="{2D8432D2-71B7-12D5-E7CF-DBAB6DADC3AC}"/>
              </a:ext>
            </a:extLst>
          </p:cNvPr>
          <p:cNvSpPr txBox="1">
            <a:spLocks/>
          </p:cNvSpPr>
          <p:nvPr/>
        </p:nvSpPr>
        <p:spPr>
          <a:xfrm>
            <a:off x="5477477" y="2878924"/>
            <a:ext cx="1014024" cy="2658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  <a:tabLst/>
              <a:defRPr/>
            </a:pPr>
            <a:r>
              <a:rPr kumimoji="0" lang="en-US" sz="95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 Light"/>
              </a:rPr>
              <a:t>Secure DNS</a:t>
            </a:r>
            <a:br>
              <a:rPr kumimoji="0" lang="en-US" sz="95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 Light"/>
              </a:rPr>
            </a:br>
            <a:r>
              <a:rPr kumimoji="0" lang="en-US" sz="95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 Light"/>
              </a:rPr>
              <a:t>as a Service</a:t>
            </a:r>
          </a:p>
        </p:txBody>
      </p:sp>
      <p:pic>
        <p:nvPicPr>
          <p:cNvPr id="2258" name="Graphic 2257">
            <a:extLst>
              <a:ext uri="{FF2B5EF4-FFF2-40B4-BE49-F238E27FC236}">
                <a16:creationId xmlns:a16="http://schemas.microsoft.com/office/drawing/2014/main" id="{FFBC1F63-1E51-7F59-CCE1-AF6D64D56176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796052" y="2003281"/>
            <a:ext cx="869285" cy="156910"/>
          </a:xfrm>
          <a:prstGeom prst="rect">
            <a:avLst/>
          </a:prstGeom>
        </p:spPr>
      </p:pic>
      <p:grpSp>
        <p:nvGrpSpPr>
          <p:cNvPr id="2259" name="Group 2258">
            <a:extLst>
              <a:ext uri="{FF2B5EF4-FFF2-40B4-BE49-F238E27FC236}">
                <a16:creationId xmlns:a16="http://schemas.microsoft.com/office/drawing/2014/main" id="{62D2E314-8BB6-DB99-D526-0E77DB438495}"/>
              </a:ext>
            </a:extLst>
          </p:cNvPr>
          <p:cNvGrpSpPr>
            <a:grpSpLocks/>
          </p:cNvGrpSpPr>
          <p:nvPr/>
        </p:nvGrpSpPr>
        <p:grpSpPr>
          <a:xfrm>
            <a:off x="1288138" y="4267807"/>
            <a:ext cx="1053621" cy="440455"/>
            <a:chOff x="2613895" y="4187728"/>
            <a:chExt cx="1053621" cy="440455"/>
          </a:xfrm>
        </p:grpSpPr>
        <p:sp>
          <p:nvSpPr>
            <p:cNvPr id="2263" name="Google Shape;1252;p30">
              <a:extLst>
                <a:ext uri="{FF2B5EF4-FFF2-40B4-BE49-F238E27FC236}">
                  <a16:creationId xmlns:a16="http://schemas.microsoft.com/office/drawing/2014/main" id="{5BF5DAFC-CA3B-43B5-FA57-9284F233DA4E}"/>
                </a:ext>
              </a:extLst>
            </p:cNvPr>
            <p:cNvSpPr txBox="1">
              <a:spLocks/>
            </p:cNvSpPr>
            <p:nvPr/>
          </p:nvSpPr>
          <p:spPr>
            <a:xfrm>
              <a:off x="2613895" y="4187728"/>
              <a:ext cx="1014024" cy="1828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800"/>
                <a:buFont typeface="Arial"/>
                <a:buNone/>
                <a:tabLst/>
                <a:defRPr/>
              </a:pPr>
              <a:r>
                <a:rPr kumimoji="0" lang="en-US" sz="95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"/>
                  <a:ea typeface="Lato"/>
                  <a:cs typeface="Lato"/>
                  <a:sym typeface="Lato Light"/>
                </a:rPr>
                <a:t>Acquired</a:t>
              </a:r>
            </a:p>
          </p:txBody>
        </p:sp>
        <p:pic>
          <p:nvPicPr>
            <p:cNvPr id="2264" name="Graphic 2263">
              <a:extLst>
                <a:ext uri="{FF2B5EF4-FFF2-40B4-BE49-F238E27FC236}">
                  <a16:creationId xmlns:a16="http://schemas.microsoft.com/office/drawing/2014/main" id="{2D250913-042A-C88F-B3E0-6E700A3135CA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739801" y="4231521"/>
              <a:ext cx="927715" cy="396662"/>
            </a:xfrm>
            <a:prstGeom prst="rect">
              <a:avLst/>
            </a:prstGeom>
          </p:spPr>
        </p:pic>
      </p:grpSp>
      <p:sp>
        <p:nvSpPr>
          <p:cNvPr id="2260" name="Google Shape;1252;p30">
            <a:extLst>
              <a:ext uri="{FF2B5EF4-FFF2-40B4-BE49-F238E27FC236}">
                <a16:creationId xmlns:a16="http://schemas.microsoft.com/office/drawing/2014/main" id="{64A8852E-F71D-BE61-0787-975564F6FF93}"/>
              </a:ext>
            </a:extLst>
          </p:cNvPr>
          <p:cNvSpPr txBox="1">
            <a:spLocks/>
          </p:cNvSpPr>
          <p:nvPr/>
        </p:nvSpPr>
        <p:spPr>
          <a:xfrm>
            <a:off x="8276190" y="1245729"/>
            <a:ext cx="715729" cy="1828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  <a:tabLst/>
              <a:defRPr/>
            </a:pPr>
            <a:r>
              <a:rPr kumimoji="0" lang="en-US" sz="9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Lato"/>
                <a:cs typeface="Lato"/>
                <a:sym typeface="Arial"/>
              </a:rPr>
              <a:t>New CEO</a:t>
            </a:r>
            <a:br>
              <a:rPr kumimoji="0" lang="en-US" sz="9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Lato"/>
                <a:cs typeface="Lato"/>
                <a:sym typeface="Arial"/>
              </a:rPr>
            </a:br>
            <a:r>
              <a:rPr kumimoji="0" lang="en-US" sz="9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Lato"/>
                <a:cs typeface="Lato"/>
                <a:sym typeface="Arial"/>
              </a:rPr>
              <a:t>Scott Harrell</a:t>
            </a:r>
            <a:endParaRPr kumimoji="0" lang="en-US" sz="9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Lato"/>
              <a:cs typeface="Lato"/>
              <a:sym typeface="Lato Light"/>
            </a:endParaRPr>
          </a:p>
        </p:txBody>
      </p:sp>
      <p:sp>
        <p:nvSpPr>
          <p:cNvPr id="7" name="Google Shape;1189;p26">
            <a:extLst>
              <a:ext uri="{FF2B5EF4-FFF2-40B4-BE49-F238E27FC236}">
                <a16:creationId xmlns:a16="http://schemas.microsoft.com/office/drawing/2014/main" id="{B12B1C65-EBD7-166A-0249-A5F2FD7FDF14}"/>
              </a:ext>
            </a:extLst>
          </p:cNvPr>
          <p:cNvSpPr txBox="1">
            <a:spLocks/>
          </p:cNvSpPr>
          <p:nvPr/>
        </p:nvSpPr>
        <p:spPr>
          <a:xfrm rot="16200000">
            <a:off x="9118677" y="6037179"/>
            <a:ext cx="464148" cy="2396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Lato"/>
                <a:cs typeface="Lato"/>
                <a:sym typeface="Arial"/>
              </a:rPr>
              <a:t>2023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/>
              <a:ea typeface="Lato Light"/>
              <a:cs typeface="Lato Light"/>
              <a:sym typeface="Arial"/>
            </a:endParaRP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4076026C-4164-4379-E689-33C010EC9A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5343" y="648353"/>
            <a:ext cx="487098" cy="487098"/>
          </a:xfrm>
          <a:prstGeom prst="roundRect">
            <a:avLst>
              <a:gd name="adj" fmla="val 50000"/>
            </a:avLst>
          </a:prstGeom>
          <a:noFill/>
          <a:ln w="19050">
            <a:solidFill>
              <a:srgbClr val="00BD4D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Google Shape;1257;p30">
            <a:extLst>
              <a:ext uri="{FF2B5EF4-FFF2-40B4-BE49-F238E27FC236}">
                <a16:creationId xmlns:a16="http://schemas.microsoft.com/office/drawing/2014/main" id="{52AFBA41-4F89-57A3-FCD7-FB5467C4EFD4}"/>
              </a:ext>
            </a:extLst>
          </p:cNvPr>
          <p:cNvCxnSpPr>
            <a:cxnSpLocks/>
          </p:cNvCxnSpPr>
          <p:nvPr/>
        </p:nvCxnSpPr>
        <p:spPr>
          <a:xfrm flipH="1">
            <a:off x="9365165" y="1337169"/>
            <a:ext cx="545" cy="4417242"/>
          </a:xfrm>
          <a:prstGeom prst="straightConnector1">
            <a:avLst/>
          </a:prstGeom>
          <a:noFill/>
          <a:ln w="9525" cap="flat" cmpd="sng">
            <a:solidFill>
              <a:srgbClr val="9AAFB2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13" name="Google Shape;1252;p30">
            <a:extLst>
              <a:ext uri="{FF2B5EF4-FFF2-40B4-BE49-F238E27FC236}">
                <a16:creationId xmlns:a16="http://schemas.microsoft.com/office/drawing/2014/main" id="{01269B88-177F-D282-B279-BC2D6B0DF16B}"/>
              </a:ext>
            </a:extLst>
          </p:cNvPr>
          <p:cNvSpPr txBox="1">
            <a:spLocks/>
          </p:cNvSpPr>
          <p:nvPr/>
        </p:nvSpPr>
        <p:spPr>
          <a:xfrm>
            <a:off x="7503213" y="1727683"/>
            <a:ext cx="797438" cy="1828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  <a:tabLst/>
              <a:defRPr/>
            </a:pPr>
            <a:r>
              <a:rPr kumimoji="0" lang="en-US" sz="9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 Light"/>
              </a:rPr>
              <a:t>Investment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C0F49374-F355-E83F-1655-34B22ED3CC6E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578320" y="1491173"/>
            <a:ext cx="647226" cy="250260"/>
          </a:xfrm>
          <a:prstGeom prst="rect">
            <a:avLst/>
          </a:prstGeom>
        </p:spPr>
      </p:pic>
      <p:sp>
        <p:nvSpPr>
          <p:cNvPr id="39" name="Google Shape;1252;p30">
            <a:extLst>
              <a:ext uri="{FF2B5EF4-FFF2-40B4-BE49-F238E27FC236}">
                <a16:creationId xmlns:a16="http://schemas.microsoft.com/office/drawing/2014/main" id="{E33333BA-5FE5-3F1C-9A0F-7F96B58B9A56}"/>
              </a:ext>
            </a:extLst>
          </p:cNvPr>
          <p:cNvSpPr txBox="1">
            <a:spLocks/>
          </p:cNvSpPr>
          <p:nvPr/>
        </p:nvSpPr>
        <p:spPr>
          <a:xfrm>
            <a:off x="6116196" y="2435721"/>
            <a:ext cx="972598" cy="3832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  <a:tabLst/>
              <a:defRPr/>
            </a:pPr>
            <a:r>
              <a:rPr kumimoji="0" lang="en-US" sz="8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 Light"/>
              </a:rPr>
              <a:t>Launch of </a:t>
            </a:r>
            <a:br>
              <a:rPr kumimoji="0" lang="en-US" sz="950" b="1" i="0" u="none" strike="noStrike" kern="0" cap="all" spc="-3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  <a:sym typeface="Arial"/>
              </a:rPr>
            </a:br>
            <a:r>
              <a:rPr kumimoji="0" lang="en-US" sz="95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 Light"/>
              </a:rPr>
              <a:t>Threat Defens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  <a:tabLst/>
              <a:defRPr/>
            </a:pPr>
            <a:r>
              <a:rPr kumimoji="0" lang="en-US" sz="84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 Light"/>
              </a:rPr>
              <a:t>security solution</a:t>
            </a:r>
            <a:endParaRPr kumimoji="0" lang="en-US" sz="84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Lato"/>
              <a:cs typeface="Lato"/>
              <a:sym typeface="Lato Light"/>
            </a:endParaRPr>
          </a:p>
        </p:txBody>
      </p:sp>
      <p:sp>
        <p:nvSpPr>
          <p:cNvPr id="2230" name="Google Shape;1239;p30">
            <a:extLst>
              <a:ext uri="{FF2B5EF4-FFF2-40B4-BE49-F238E27FC236}">
                <a16:creationId xmlns:a16="http://schemas.microsoft.com/office/drawing/2014/main" id="{B3381DAA-558B-858D-F2D1-57BDA6F0D5EF}"/>
              </a:ext>
            </a:extLst>
          </p:cNvPr>
          <p:cNvSpPr>
            <a:spLocks/>
          </p:cNvSpPr>
          <p:nvPr/>
        </p:nvSpPr>
        <p:spPr>
          <a:xfrm>
            <a:off x="326426" y="5694696"/>
            <a:ext cx="91440" cy="91440"/>
          </a:xfrm>
          <a:prstGeom prst="ellipse">
            <a:avLst/>
          </a:prstGeom>
          <a:solidFill>
            <a:schemeClr val="lt1"/>
          </a:solidFill>
          <a:ln>
            <a:noFill/>
          </a:ln>
          <a:effectLst>
            <a:outerShdw sx="162000" sy="162000" algn="ctr" rotWithShape="0">
              <a:schemeClr val="dk1">
                <a:alpha val="4705"/>
              </a:scheme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/>
              <a:ea typeface="Lato Light"/>
              <a:cs typeface="Lato Light"/>
              <a:sym typeface="Lato Light"/>
            </a:endParaRPr>
          </a:p>
        </p:txBody>
      </p:sp>
      <p:sp>
        <p:nvSpPr>
          <p:cNvPr id="2233" name="Google Shape;1239;p30">
            <a:extLst>
              <a:ext uri="{FF2B5EF4-FFF2-40B4-BE49-F238E27FC236}">
                <a16:creationId xmlns:a16="http://schemas.microsoft.com/office/drawing/2014/main" id="{362C7A95-9143-DB36-FA7A-699EC7D35907}"/>
              </a:ext>
            </a:extLst>
          </p:cNvPr>
          <p:cNvSpPr>
            <a:spLocks/>
          </p:cNvSpPr>
          <p:nvPr/>
        </p:nvSpPr>
        <p:spPr>
          <a:xfrm>
            <a:off x="1078554" y="5694696"/>
            <a:ext cx="91440" cy="91440"/>
          </a:xfrm>
          <a:prstGeom prst="ellipse">
            <a:avLst/>
          </a:prstGeom>
          <a:solidFill>
            <a:schemeClr val="lt1"/>
          </a:solidFill>
          <a:ln>
            <a:noFill/>
          </a:ln>
          <a:effectLst>
            <a:outerShdw sx="162000" sy="162000" algn="ctr" rotWithShape="0">
              <a:schemeClr val="dk1">
                <a:alpha val="4705"/>
              </a:scheme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/>
              <a:ea typeface="Lato Light"/>
              <a:cs typeface="Lato Light"/>
              <a:sym typeface="Lato Light"/>
            </a:endParaRPr>
          </a:p>
        </p:txBody>
      </p:sp>
      <p:sp>
        <p:nvSpPr>
          <p:cNvPr id="2234" name="Google Shape;1239;p30">
            <a:extLst>
              <a:ext uri="{FF2B5EF4-FFF2-40B4-BE49-F238E27FC236}">
                <a16:creationId xmlns:a16="http://schemas.microsoft.com/office/drawing/2014/main" id="{295469A4-668E-96E8-8656-98B6BDDB87B1}"/>
              </a:ext>
            </a:extLst>
          </p:cNvPr>
          <p:cNvSpPr>
            <a:spLocks/>
          </p:cNvSpPr>
          <p:nvPr/>
        </p:nvSpPr>
        <p:spPr>
          <a:xfrm>
            <a:off x="1775788" y="5694696"/>
            <a:ext cx="91440" cy="91440"/>
          </a:xfrm>
          <a:prstGeom prst="ellipse">
            <a:avLst/>
          </a:prstGeom>
          <a:solidFill>
            <a:schemeClr val="lt1"/>
          </a:solidFill>
          <a:ln>
            <a:noFill/>
          </a:ln>
          <a:effectLst>
            <a:outerShdw sx="162000" sy="162000" algn="ctr" rotWithShape="0">
              <a:schemeClr val="dk1">
                <a:alpha val="4705"/>
              </a:scheme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/>
              <a:ea typeface="Lato Light"/>
              <a:cs typeface="Lato Light"/>
              <a:sym typeface="Lato Light"/>
            </a:endParaRPr>
          </a:p>
        </p:txBody>
      </p:sp>
      <p:sp>
        <p:nvSpPr>
          <p:cNvPr id="2237" name="Google Shape;1239;p30">
            <a:extLst>
              <a:ext uri="{FF2B5EF4-FFF2-40B4-BE49-F238E27FC236}">
                <a16:creationId xmlns:a16="http://schemas.microsoft.com/office/drawing/2014/main" id="{330A57B8-00E6-BE05-6BE7-95724FAC9758}"/>
              </a:ext>
            </a:extLst>
          </p:cNvPr>
          <p:cNvSpPr>
            <a:spLocks/>
          </p:cNvSpPr>
          <p:nvPr/>
        </p:nvSpPr>
        <p:spPr>
          <a:xfrm>
            <a:off x="2471796" y="5694696"/>
            <a:ext cx="91440" cy="91440"/>
          </a:xfrm>
          <a:prstGeom prst="ellipse">
            <a:avLst/>
          </a:prstGeom>
          <a:solidFill>
            <a:schemeClr val="lt1"/>
          </a:solidFill>
          <a:ln>
            <a:noFill/>
          </a:ln>
          <a:effectLst>
            <a:outerShdw sx="162000" sy="162000" algn="ctr" rotWithShape="0">
              <a:schemeClr val="dk1">
                <a:alpha val="4705"/>
              </a:scheme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/>
              <a:ea typeface="Lato Light"/>
              <a:cs typeface="Lato Light"/>
              <a:sym typeface="Lato Light"/>
            </a:endParaRPr>
          </a:p>
        </p:txBody>
      </p:sp>
      <p:sp>
        <p:nvSpPr>
          <p:cNvPr id="2240" name="Google Shape;1239;p30">
            <a:extLst>
              <a:ext uri="{FF2B5EF4-FFF2-40B4-BE49-F238E27FC236}">
                <a16:creationId xmlns:a16="http://schemas.microsoft.com/office/drawing/2014/main" id="{227F9663-9347-81B6-E11A-5DF406C0A30F}"/>
              </a:ext>
            </a:extLst>
          </p:cNvPr>
          <p:cNvSpPr>
            <a:spLocks/>
          </p:cNvSpPr>
          <p:nvPr/>
        </p:nvSpPr>
        <p:spPr>
          <a:xfrm>
            <a:off x="3075772" y="5694696"/>
            <a:ext cx="91440" cy="91440"/>
          </a:xfrm>
          <a:prstGeom prst="ellipse">
            <a:avLst/>
          </a:prstGeom>
          <a:solidFill>
            <a:schemeClr val="lt1"/>
          </a:solidFill>
          <a:ln>
            <a:noFill/>
          </a:ln>
          <a:effectLst>
            <a:outerShdw sx="162000" sy="162000" algn="ctr" rotWithShape="0">
              <a:schemeClr val="dk1">
                <a:alpha val="4705"/>
              </a:scheme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/>
              <a:ea typeface="Lato Light"/>
              <a:cs typeface="Lato Light"/>
              <a:sym typeface="Lato Light"/>
            </a:endParaRPr>
          </a:p>
        </p:txBody>
      </p:sp>
      <p:sp>
        <p:nvSpPr>
          <p:cNvPr id="2242" name="Google Shape;1239;p30">
            <a:extLst>
              <a:ext uri="{FF2B5EF4-FFF2-40B4-BE49-F238E27FC236}">
                <a16:creationId xmlns:a16="http://schemas.microsoft.com/office/drawing/2014/main" id="{97352F2C-31F5-FD4D-D1FC-0FECD615082A}"/>
              </a:ext>
            </a:extLst>
          </p:cNvPr>
          <p:cNvSpPr>
            <a:spLocks/>
          </p:cNvSpPr>
          <p:nvPr/>
        </p:nvSpPr>
        <p:spPr>
          <a:xfrm>
            <a:off x="3756054" y="5694696"/>
            <a:ext cx="91440" cy="91440"/>
          </a:xfrm>
          <a:prstGeom prst="ellipse">
            <a:avLst/>
          </a:prstGeom>
          <a:solidFill>
            <a:schemeClr val="lt1"/>
          </a:solidFill>
          <a:ln>
            <a:noFill/>
          </a:ln>
          <a:effectLst>
            <a:outerShdw sx="162000" sy="162000" algn="ctr" rotWithShape="0">
              <a:schemeClr val="dk1">
                <a:alpha val="4705"/>
              </a:scheme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/>
              <a:ea typeface="Lato Light"/>
              <a:cs typeface="Lato Light"/>
              <a:sym typeface="Lato Light"/>
            </a:endParaRPr>
          </a:p>
        </p:txBody>
      </p:sp>
      <p:sp>
        <p:nvSpPr>
          <p:cNvPr id="2245" name="Google Shape;1239;p30">
            <a:extLst>
              <a:ext uri="{FF2B5EF4-FFF2-40B4-BE49-F238E27FC236}">
                <a16:creationId xmlns:a16="http://schemas.microsoft.com/office/drawing/2014/main" id="{D3505308-5423-3DA2-510F-B94141513D98}"/>
              </a:ext>
            </a:extLst>
          </p:cNvPr>
          <p:cNvSpPr>
            <a:spLocks/>
          </p:cNvSpPr>
          <p:nvPr/>
        </p:nvSpPr>
        <p:spPr>
          <a:xfrm>
            <a:off x="4491393" y="5694696"/>
            <a:ext cx="91440" cy="91440"/>
          </a:xfrm>
          <a:prstGeom prst="ellipse">
            <a:avLst/>
          </a:prstGeom>
          <a:solidFill>
            <a:schemeClr val="lt1"/>
          </a:solidFill>
          <a:ln>
            <a:noFill/>
          </a:ln>
          <a:effectLst>
            <a:outerShdw sx="162000" sy="162000" algn="ctr" rotWithShape="0">
              <a:schemeClr val="dk1">
                <a:alpha val="4705"/>
              </a:scheme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/>
              <a:ea typeface="Lato Light"/>
              <a:cs typeface="Lato Light"/>
              <a:sym typeface="Lato Light"/>
            </a:endParaRPr>
          </a:p>
        </p:txBody>
      </p:sp>
      <p:sp>
        <p:nvSpPr>
          <p:cNvPr id="2248" name="Google Shape;1239;p30">
            <a:extLst>
              <a:ext uri="{FF2B5EF4-FFF2-40B4-BE49-F238E27FC236}">
                <a16:creationId xmlns:a16="http://schemas.microsoft.com/office/drawing/2014/main" id="{5B10DE11-B220-3510-B27E-550AF6A11EE4}"/>
              </a:ext>
            </a:extLst>
          </p:cNvPr>
          <p:cNvSpPr>
            <a:spLocks/>
          </p:cNvSpPr>
          <p:nvPr/>
        </p:nvSpPr>
        <p:spPr>
          <a:xfrm>
            <a:off x="5271828" y="5694696"/>
            <a:ext cx="91440" cy="91440"/>
          </a:xfrm>
          <a:prstGeom prst="ellipse">
            <a:avLst/>
          </a:prstGeom>
          <a:solidFill>
            <a:schemeClr val="lt1"/>
          </a:solidFill>
          <a:ln>
            <a:noFill/>
          </a:ln>
          <a:effectLst>
            <a:outerShdw sx="162000" sy="162000" algn="ctr" rotWithShape="0">
              <a:schemeClr val="dk1">
                <a:alpha val="4705"/>
              </a:scheme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/>
              <a:ea typeface="Lato Light"/>
              <a:cs typeface="Lato Light"/>
              <a:sym typeface="Lato Light"/>
            </a:endParaRPr>
          </a:p>
        </p:txBody>
      </p:sp>
      <p:sp>
        <p:nvSpPr>
          <p:cNvPr id="2251" name="Google Shape;1239;p30">
            <a:extLst>
              <a:ext uri="{FF2B5EF4-FFF2-40B4-BE49-F238E27FC236}">
                <a16:creationId xmlns:a16="http://schemas.microsoft.com/office/drawing/2014/main" id="{928C58C8-C4CB-6DE6-5D83-32B10A22D9B3}"/>
              </a:ext>
            </a:extLst>
          </p:cNvPr>
          <p:cNvSpPr>
            <a:spLocks/>
          </p:cNvSpPr>
          <p:nvPr/>
        </p:nvSpPr>
        <p:spPr>
          <a:xfrm>
            <a:off x="5939527" y="5694696"/>
            <a:ext cx="91440" cy="91440"/>
          </a:xfrm>
          <a:prstGeom prst="ellipse">
            <a:avLst/>
          </a:prstGeom>
          <a:solidFill>
            <a:schemeClr val="lt1"/>
          </a:solidFill>
          <a:ln>
            <a:noFill/>
          </a:ln>
          <a:effectLst>
            <a:outerShdw sx="162000" sy="162000" algn="ctr" rotWithShape="0">
              <a:schemeClr val="dk1">
                <a:alpha val="4705"/>
              </a:scheme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/>
              <a:ea typeface="Lato Light"/>
              <a:cs typeface="Lato Light"/>
              <a:sym typeface="Lato Light"/>
            </a:endParaRPr>
          </a:p>
        </p:txBody>
      </p:sp>
      <p:sp>
        <p:nvSpPr>
          <p:cNvPr id="2253" name="Google Shape;1239;p30">
            <a:extLst>
              <a:ext uri="{FF2B5EF4-FFF2-40B4-BE49-F238E27FC236}">
                <a16:creationId xmlns:a16="http://schemas.microsoft.com/office/drawing/2014/main" id="{9C52F91F-53D7-F501-2C4A-5C0E5FD9B77B}"/>
              </a:ext>
            </a:extLst>
          </p:cNvPr>
          <p:cNvSpPr>
            <a:spLocks/>
          </p:cNvSpPr>
          <p:nvPr/>
        </p:nvSpPr>
        <p:spPr>
          <a:xfrm>
            <a:off x="6552672" y="5694696"/>
            <a:ext cx="91440" cy="91440"/>
          </a:xfrm>
          <a:prstGeom prst="ellipse">
            <a:avLst/>
          </a:prstGeom>
          <a:solidFill>
            <a:schemeClr val="lt1"/>
          </a:solidFill>
          <a:ln>
            <a:noFill/>
          </a:ln>
          <a:effectLst>
            <a:outerShdw sx="162000" sy="162000" algn="ctr" rotWithShape="0">
              <a:schemeClr val="dk1">
                <a:alpha val="4705"/>
              </a:scheme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/>
              <a:ea typeface="Lato Light"/>
              <a:cs typeface="Lato Light"/>
              <a:sym typeface="Lato Light"/>
            </a:endParaRPr>
          </a:p>
        </p:txBody>
      </p:sp>
      <p:sp>
        <p:nvSpPr>
          <p:cNvPr id="2255" name="Google Shape;1239;p30">
            <a:extLst>
              <a:ext uri="{FF2B5EF4-FFF2-40B4-BE49-F238E27FC236}">
                <a16:creationId xmlns:a16="http://schemas.microsoft.com/office/drawing/2014/main" id="{52489384-4822-9E61-5830-93E9D8785E8D}"/>
              </a:ext>
            </a:extLst>
          </p:cNvPr>
          <p:cNvSpPr>
            <a:spLocks/>
          </p:cNvSpPr>
          <p:nvPr/>
        </p:nvSpPr>
        <p:spPr>
          <a:xfrm>
            <a:off x="7194180" y="5694696"/>
            <a:ext cx="91440" cy="91440"/>
          </a:xfrm>
          <a:prstGeom prst="ellipse">
            <a:avLst/>
          </a:prstGeom>
          <a:solidFill>
            <a:schemeClr val="lt1"/>
          </a:solidFill>
          <a:ln>
            <a:noFill/>
          </a:ln>
          <a:effectLst>
            <a:outerShdw sx="162000" sy="162000" algn="ctr" rotWithShape="0">
              <a:schemeClr val="dk1">
                <a:alpha val="4705"/>
              </a:scheme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/>
              <a:ea typeface="Lato Light"/>
              <a:cs typeface="Lato Light"/>
              <a:sym typeface="Lato Light"/>
            </a:endParaRPr>
          </a:p>
        </p:txBody>
      </p:sp>
      <p:sp>
        <p:nvSpPr>
          <p:cNvPr id="2257" name="Google Shape;1239;p30">
            <a:extLst>
              <a:ext uri="{FF2B5EF4-FFF2-40B4-BE49-F238E27FC236}">
                <a16:creationId xmlns:a16="http://schemas.microsoft.com/office/drawing/2014/main" id="{5667FE53-74A3-3184-75B3-D4DE7D9817D5}"/>
              </a:ext>
            </a:extLst>
          </p:cNvPr>
          <p:cNvSpPr>
            <a:spLocks/>
          </p:cNvSpPr>
          <p:nvPr/>
        </p:nvSpPr>
        <p:spPr>
          <a:xfrm>
            <a:off x="7877138" y="5694696"/>
            <a:ext cx="91440" cy="91440"/>
          </a:xfrm>
          <a:prstGeom prst="ellipse">
            <a:avLst/>
          </a:prstGeom>
          <a:solidFill>
            <a:schemeClr val="lt1"/>
          </a:solidFill>
          <a:ln>
            <a:noFill/>
          </a:ln>
          <a:effectLst>
            <a:outerShdw sx="162000" sy="162000" algn="ctr" rotWithShape="0">
              <a:schemeClr val="dk1">
                <a:alpha val="4705"/>
              </a:scheme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/>
              <a:ea typeface="Lato Light"/>
              <a:cs typeface="Lato Light"/>
              <a:sym typeface="Lato Light"/>
            </a:endParaRPr>
          </a:p>
        </p:txBody>
      </p:sp>
      <p:sp>
        <p:nvSpPr>
          <p:cNvPr id="2261" name="Google Shape;1239;p30">
            <a:extLst>
              <a:ext uri="{FF2B5EF4-FFF2-40B4-BE49-F238E27FC236}">
                <a16:creationId xmlns:a16="http://schemas.microsoft.com/office/drawing/2014/main" id="{E366CAA0-3466-62E1-EE6E-A5A1AC3116CF}"/>
              </a:ext>
            </a:extLst>
          </p:cNvPr>
          <p:cNvSpPr>
            <a:spLocks/>
          </p:cNvSpPr>
          <p:nvPr/>
        </p:nvSpPr>
        <p:spPr>
          <a:xfrm>
            <a:off x="8584262" y="5694696"/>
            <a:ext cx="91440" cy="91440"/>
          </a:xfrm>
          <a:prstGeom prst="ellipse">
            <a:avLst/>
          </a:prstGeom>
          <a:solidFill>
            <a:schemeClr val="lt1"/>
          </a:solidFill>
          <a:ln>
            <a:noFill/>
          </a:ln>
          <a:effectLst>
            <a:outerShdw sx="162000" sy="162000" algn="ctr" rotWithShape="0">
              <a:schemeClr val="dk1">
                <a:alpha val="4705"/>
              </a:scheme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/>
              <a:ea typeface="Lato Light"/>
              <a:cs typeface="Lato Light"/>
              <a:sym typeface="Lato Light"/>
            </a:endParaRPr>
          </a:p>
        </p:txBody>
      </p:sp>
      <p:sp>
        <p:nvSpPr>
          <p:cNvPr id="10" name="Google Shape;1239;p30">
            <a:extLst>
              <a:ext uri="{FF2B5EF4-FFF2-40B4-BE49-F238E27FC236}">
                <a16:creationId xmlns:a16="http://schemas.microsoft.com/office/drawing/2014/main" id="{D20C9023-74D2-7D7B-242D-D2AF06C7261F}"/>
              </a:ext>
            </a:extLst>
          </p:cNvPr>
          <p:cNvSpPr>
            <a:spLocks/>
          </p:cNvSpPr>
          <p:nvPr/>
        </p:nvSpPr>
        <p:spPr>
          <a:xfrm>
            <a:off x="9320948" y="5694696"/>
            <a:ext cx="91440" cy="91440"/>
          </a:xfrm>
          <a:prstGeom prst="ellipse">
            <a:avLst/>
          </a:prstGeom>
          <a:solidFill>
            <a:schemeClr val="lt1"/>
          </a:solidFill>
          <a:ln>
            <a:noFill/>
          </a:ln>
          <a:effectLst>
            <a:outerShdw sx="162000" sy="162000" algn="ctr" rotWithShape="0">
              <a:schemeClr val="dk1">
                <a:alpha val="4705"/>
              </a:scheme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/>
              <a:ea typeface="Lato Light"/>
              <a:cs typeface="Lato Light"/>
              <a:sym typeface="Lato Light"/>
            </a:endParaRPr>
          </a:p>
        </p:txBody>
      </p:sp>
      <p:cxnSp>
        <p:nvCxnSpPr>
          <p:cNvPr id="2" name="Google Shape;1257;p30">
            <a:extLst>
              <a:ext uri="{FF2B5EF4-FFF2-40B4-BE49-F238E27FC236}">
                <a16:creationId xmlns:a16="http://schemas.microsoft.com/office/drawing/2014/main" id="{6623558C-729C-C6D6-B0BC-AB964B3F4B8C}"/>
              </a:ext>
            </a:extLst>
          </p:cNvPr>
          <p:cNvCxnSpPr>
            <a:cxnSpLocks/>
          </p:cNvCxnSpPr>
          <p:nvPr/>
        </p:nvCxnSpPr>
        <p:spPr>
          <a:xfrm>
            <a:off x="10046369" y="1110870"/>
            <a:ext cx="0" cy="4643347"/>
          </a:xfrm>
          <a:prstGeom prst="straightConnector1">
            <a:avLst/>
          </a:prstGeom>
          <a:noFill/>
          <a:ln w="9525" cap="flat" cmpd="sng">
            <a:solidFill>
              <a:srgbClr val="9AAFB2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3" name="Google Shape;1239;p30">
            <a:extLst>
              <a:ext uri="{FF2B5EF4-FFF2-40B4-BE49-F238E27FC236}">
                <a16:creationId xmlns:a16="http://schemas.microsoft.com/office/drawing/2014/main" id="{306AE6F3-007B-417D-29FF-BB18D25787C1}"/>
              </a:ext>
            </a:extLst>
          </p:cNvPr>
          <p:cNvSpPr>
            <a:spLocks/>
          </p:cNvSpPr>
          <p:nvPr/>
        </p:nvSpPr>
        <p:spPr>
          <a:xfrm>
            <a:off x="10005946" y="5690316"/>
            <a:ext cx="91440" cy="91440"/>
          </a:xfrm>
          <a:prstGeom prst="ellipse">
            <a:avLst/>
          </a:prstGeom>
          <a:solidFill>
            <a:schemeClr val="lt1"/>
          </a:solidFill>
          <a:ln>
            <a:noFill/>
          </a:ln>
          <a:effectLst>
            <a:outerShdw sx="162000" sy="162000" algn="ctr" rotWithShape="0">
              <a:schemeClr val="dk1">
                <a:alpha val="4705"/>
              </a:scheme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/>
              <a:ea typeface="Lato Light"/>
              <a:cs typeface="Lato Light"/>
              <a:sym typeface="Lato Light"/>
            </a:endParaRPr>
          </a:p>
        </p:txBody>
      </p:sp>
      <p:sp>
        <p:nvSpPr>
          <p:cNvPr id="6" name="Google Shape;1252;p30">
            <a:extLst>
              <a:ext uri="{FF2B5EF4-FFF2-40B4-BE49-F238E27FC236}">
                <a16:creationId xmlns:a16="http://schemas.microsoft.com/office/drawing/2014/main" id="{64BAFC2F-0E57-5DC9-6136-D579B18E0B08}"/>
              </a:ext>
            </a:extLst>
          </p:cNvPr>
          <p:cNvSpPr txBox="1">
            <a:spLocks/>
          </p:cNvSpPr>
          <p:nvPr/>
        </p:nvSpPr>
        <p:spPr>
          <a:xfrm>
            <a:off x="9007846" y="1030509"/>
            <a:ext cx="715729" cy="1828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Lato"/>
                <a:cs typeface="Lato"/>
                <a:sym typeface="Arial"/>
              </a:rPr>
              <a:t> Decoy Dog Threat Intel</a:t>
            </a:r>
            <a:endParaRPr kumimoji="0" lang="en-US" sz="9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1" name="Google Shape;1189;p26">
            <a:extLst>
              <a:ext uri="{FF2B5EF4-FFF2-40B4-BE49-F238E27FC236}">
                <a16:creationId xmlns:a16="http://schemas.microsoft.com/office/drawing/2014/main" id="{42A0543B-FF2E-1636-2957-B5707E2C1830}"/>
              </a:ext>
            </a:extLst>
          </p:cNvPr>
          <p:cNvSpPr txBox="1">
            <a:spLocks/>
          </p:cNvSpPr>
          <p:nvPr/>
        </p:nvSpPr>
        <p:spPr>
          <a:xfrm rot="16200000">
            <a:off x="9821349" y="6033044"/>
            <a:ext cx="464148" cy="2396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Lato"/>
                <a:cs typeface="Lato"/>
                <a:sym typeface="Arial"/>
              </a:rPr>
              <a:t>2024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/>
              <a:ea typeface="Lato Light"/>
              <a:cs typeface="Lato Light"/>
              <a:sym typeface="Arial"/>
            </a:endParaRPr>
          </a:p>
        </p:txBody>
      </p:sp>
      <p:cxnSp>
        <p:nvCxnSpPr>
          <p:cNvPr id="12" name="Google Shape;1257;p30">
            <a:extLst>
              <a:ext uri="{FF2B5EF4-FFF2-40B4-BE49-F238E27FC236}">
                <a16:creationId xmlns:a16="http://schemas.microsoft.com/office/drawing/2014/main" id="{676E7CF7-4187-5754-FA05-E08AD8E26664}"/>
              </a:ext>
            </a:extLst>
          </p:cNvPr>
          <p:cNvCxnSpPr>
            <a:cxnSpLocks/>
          </p:cNvCxnSpPr>
          <p:nvPr/>
        </p:nvCxnSpPr>
        <p:spPr>
          <a:xfrm>
            <a:off x="10694610" y="1030951"/>
            <a:ext cx="0" cy="4723460"/>
          </a:xfrm>
          <a:prstGeom prst="straightConnector1">
            <a:avLst/>
          </a:prstGeom>
          <a:noFill/>
          <a:ln w="9525" cap="flat" cmpd="sng">
            <a:solidFill>
              <a:srgbClr val="9AAFB2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15" name="Google Shape;1239;p30">
            <a:extLst>
              <a:ext uri="{FF2B5EF4-FFF2-40B4-BE49-F238E27FC236}">
                <a16:creationId xmlns:a16="http://schemas.microsoft.com/office/drawing/2014/main" id="{F9C66197-05BA-387F-3DB2-C0A1F3224B16}"/>
              </a:ext>
            </a:extLst>
          </p:cNvPr>
          <p:cNvSpPr>
            <a:spLocks/>
          </p:cNvSpPr>
          <p:nvPr/>
        </p:nvSpPr>
        <p:spPr>
          <a:xfrm>
            <a:off x="10640345" y="5694696"/>
            <a:ext cx="91440" cy="91440"/>
          </a:xfrm>
          <a:prstGeom prst="ellipse">
            <a:avLst/>
          </a:prstGeom>
          <a:solidFill>
            <a:schemeClr val="lt1"/>
          </a:solidFill>
          <a:ln>
            <a:noFill/>
          </a:ln>
          <a:effectLst>
            <a:outerShdw sx="162000" sy="162000" algn="ctr" rotWithShape="0">
              <a:schemeClr val="dk1">
                <a:alpha val="4705"/>
              </a:scheme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/>
              <a:ea typeface="Lato Light"/>
              <a:cs typeface="Lato Light"/>
              <a:sym typeface="Lato Light"/>
            </a:endParaRPr>
          </a:p>
        </p:txBody>
      </p:sp>
      <p:cxnSp>
        <p:nvCxnSpPr>
          <p:cNvPr id="17" name="Google Shape;1257;p30">
            <a:extLst>
              <a:ext uri="{FF2B5EF4-FFF2-40B4-BE49-F238E27FC236}">
                <a16:creationId xmlns:a16="http://schemas.microsoft.com/office/drawing/2014/main" id="{766C147E-C922-6144-803B-BD3EA7B7B984}"/>
              </a:ext>
            </a:extLst>
          </p:cNvPr>
          <p:cNvCxnSpPr>
            <a:cxnSpLocks/>
          </p:cNvCxnSpPr>
          <p:nvPr/>
        </p:nvCxnSpPr>
        <p:spPr>
          <a:xfrm>
            <a:off x="11369520" y="875542"/>
            <a:ext cx="0" cy="4878869"/>
          </a:xfrm>
          <a:prstGeom prst="straightConnector1">
            <a:avLst/>
          </a:prstGeom>
          <a:noFill/>
          <a:ln w="9525" cap="flat" cmpd="sng">
            <a:solidFill>
              <a:srgbClr val="9AAFB2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18" name="Google Shape;1239;p30">
            <a:extLst>
              <a:ext uri="{FF2B5EF4-FFF2-40B4-BE49-F238E27FC236}">
                <a16:creationId xmlns:a16="http://schemas.microsoft.com/office/drawing/2014/main" id="{6C327A22-B272-DD51-2F99-8330063C12EE}"/>
              </a:ext>
            </a:extLst>
          </p:cNvPr>
          <p:cNvSpPr>
            <a:spLocks/>
          </p:cNvSpPr>
          <p:nvPr/>
        </p:nvSpPr>
        <p:spPr>
          <a:xfrm>
            <a:off x="11315255" y="5694696"/>
            <a:ext cx="91440" cy="91440"/>
          </a:xfrm>
          <a:prstGeom prst="ellipse">
            <a:avLst/>
          </a:prstGeom>
          <a:solidFill>
            <a:schemeClr val="lt1"/>
          </a:solidFill>
          <a:ln>
            <a:noFill/>
          </a:ln>
          <a:effectLst>
            <a:outerShdw sx="162000" sy="162000" algn="ctr" rotWithShape="0">
              <a:schemeClr val="dk1">
                <a:alpha val="4705"/>
              </a:scheme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/>
              <a:ea typeface="Lato Light"/>
              <a:cs typeface="Lato Light"/>
              <a:sym typeface="Lato Light"/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7A2DC154-0ECE-38C6-B9BE-2D938FAF025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870836" y="405687"/>
            <a:ext cx="304438" cy="295484"/>
          </a:xfrm>
          <a:prstGeom prst="rect">
            <a:avLst/>
          </a:prstGeom>
        </p:spPr>
      </p:pic>
      <p:sp>
        <p:nvSpPr>
          <p:cNvPr id="34" name="Google Shape;1252;p30">
            <a:extLst>
              <a:ext uri="{FF2B5EF4-FFF2-40B4-BE49-F238E27FC236}">
                <a16:creationId xmlns:a16="http://schemas.microsoft.com/office/drawing/2014/main" id="{AFCE7EF4-AA37-6622-15A9-75B41B2D222E}"/>
              </a:ext>
            </a:extLst>
          </p:cNvPr>
          <p:cNvSpPr txBox="1">
            <a:spLocks/>
          </p:cNvSpPr>
          <p:nvPr/>
        </p:nvSpPr>
        <p:spPr>
          <a:xfrm>
            <a:off x="9757035" y="786983"/>
            <a:ext cx="538014" cy="2101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Lato"/>
                <a:cs typeface="Lato"/>
                <a:sym typeface="Arial"/>
              </a:rPr>
              <a:t>SOC</a:t>
            </a:r>
            <a:br>
              <a:rPr kumimoji="0" lang="en-US" sz="9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Lato"/>
                <a:cs typeface="Lato"/>
                <a:sym typeface="Arial"/>
              </a:rPr>
            </a:br>
            <a:r>
              <a:rPr kumimoji="0" lang="en-US" sz="9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Lato"/>
                <a:cs typeface="Lato"/>
                <a:sym typeface="Arial"/>
              </a:rPr>
              <a:t>Insights</a:t>
            </a:r>
            <a:endParaRPr kumimoji="0" lang="en-US" sz="9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36" name="Graphic 35">
            <a:extLst>
              <a:ext uri="{FF2B5EF4-FFF2-40B4-BE49-F238E27FC236}">
                <a16:creationId xmlns:a16="http://schemas.microsoft.com/office/drawing/2014/main" id="{239DAC84-52C2-2E81-401D-C9B72671614B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477657" y="148109"/>
            <a:ext cx="400462" cy="425264"/>
          </a:xfrm>
          <a:prstGeom prst="rect">
            <a:avLst/>
          </a:prstGeom>
        </p:spPr>
      </p:pic>
      <p:sp>
        <p:nvSpPr>
          <p:cNvPr id="37" name="Google Shape;1252;p30">
            <a:extLst>
              <a:ext uri="{FF2B5EF4-FFF2-40B4-BE49-F238E27FC236}">
                <a16:creationId xmlns:a16="http://schemas.microsoft.com/office/drawing/2014/main" id="{D9DFDADD-A60B-11E9-5741-F541BF03FC91}"/>
              </a:ext>
            </a:extLst>
          </p:cNvPr>
          <p:cNvSpPr txBox="1">
            <a:spLocks/>
          </p:cNvSpPr>
          <p:nvPr/>
        </p:nvSpPr>
        <p:spPr>
          <a:xfrm>
            <a:off x="10383439" y="665398"/>
            <a:ext cx="599811" cy="2101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 Light"/>
              </a:rPr>
              <a:t>Launch of</a:t>
            </a:r>
            <a:endParaRPr kumimoji="0" lang="en-US" sz="8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Lato"/>
              <a:cs typeface="Lato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Lato"/>
                <a:cs typeface="Lato"/>
                <a:sym typeface="Arial"/>
              </a:rPr>
              <a:t>Universa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cs typeface="Arial"/>
                <a:sym typeface="Arial"/>
              </a:rPr>
              <a:t>DDI</a:t>
            </a:r>
            <a:endParaRPr kumimoji="0" lang="en-US" sz="9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" name="Google Shape;1189;p26">
            <a:extLst>
              <a:ext uri="{FF2B5EF4-FFF2-40B4-BE49-F238E27FC236}">
                <a16:creationId xmlns:a16="http://schemas.microsoft.com/office/drawing/2014/main" id="{65F7CDAB-0232-C88C-22FA-226F5AF8BD77}"/>
              </a:ext>
            </a:extLst>
          </p:cNvPr>
          <p:cNvSpPr txBox="1">
            <a:spLocks/>
          </p:cNvSpPr>
          <p:nvPr/>
        </p:nvSpPr>
        <p:spPr>
          <a:xfrm rot="16200000">
            <a:off x="11137446" y="5993418"/>
            <a:ext cx="464148" cy="2396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Lato"/>
                <a:cs typeface="Lato"/>
                <a:sym typeface="Arial"/>
              </a:rPr>
              <a:t>2025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/>
              <a:ea typeface="Lato Light"/>
              <a:cs typeface="Lato Light"/>
              <a:sym typeface="Arial"/>
            </a:endParaRPr>
          </a:p>
        </p:txBody>
      </p:sp>
      <p:sp>
        <p:nvSpPr>
          <p:cNvPr id="16" name="Google Shape;1252;p30">
            <a:extLst>
              <a:ext uri="{FF2B5EF4-FFF2-40B4-BE49-F238E27FC236}">
                <a16:creationId xmlns:a16="http://schemas.microsoft.com/office/drawing/2014/main" id="{14A27DC4-3250-4E87-8120-64104E0769D7}"/>
              </a:ext>
            </a:extLst>
          </p:cNvPr>
          <p:cNvSpPr txBox="1">
            <a:spLocks/>
          </p:cNvSpPr>
          <p:nvPr/>
        </p:nvSpPr>
        <p:spPr>
          <a:xfrm>
            <a:off x="11031190" y="588128"/>
            <a:ext cx="760289" cy="2101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5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 Light"/>
              </a:rPr>
              <a:t>Hyperscaler</a:t>
            </a:r>
            <a:r>
              <a:rPr kumimoji="0" lang="en-US" sz="8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 Light"/>
              </a:rPr>
              <a:t> Partnerships</a:t>
            </a:r>
            <a:endParaRPr kumimoji="0" lang="en-US" sz="9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FCD150EA-ECB3-5A71-890A-53DA313E500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1031191" y="197784"/>
            <a:ext cx="340594" cy="340594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86941249-E651-25B3-1540-54A9C15E4E7E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1423308" y="205202"/>
            <a:ext cx="368171" cy="368171"/>
          </a:xfrm>
          <a:prstGeom prst="rect">
            <a:avLst/>
          </a:prstGeom>
        </p:spPr>
      </p:pic>
      <p:pic>
        <p:nvPicPr>
          <p:cNvPr id="21" name="Picture 20" descr="A black dog with yellow eyes&#10;&#10;AI-generated content may be incorrect.">
            <a:extLst>
              <a:ext uri="{FF2B5EF4-FFF2-40B4-BE49-F238E27FC236}">
                <a16:creationId xmlns:a16="http://schemas.microsoft.com/office/drawing/2014/main" id="{44FFB643-009B-47B5-6F32-18C8AB499CD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125733" y="405687"/>
            <a:ext cx="475236" cy="582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940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45">
          <a:extLst>
            <a:ext uri="{FF2B5EF4-FFF2-40B4-BE49-F238E27FC236}">
              <a16:creationId xmlns:a16="http://schemas.microsoft.com/office/drawing/2014/main" id="{DAABCF58-1698-B392-5823-D539C33807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946;p8">
            <a:extLst>
              <a:ext uri="{FF2B5EF4-FFF2-40B4-BE49-F238E27FC236}">
                <a16:creationId xmlns:a16="http://schemas.microsoft.com/office/drawing/2014/main" id="{474659D7-E5A0-41A2-C65B-996D839D7558}"/>
              </a:ext>
            </a:extLst>
          </p:cNvPr>
          <p:cNvSpPr txBox="1">
            <a:spLocks/>
          </p:cNvSpPr>
          <p:nvPr/>
        </p:nvSpPr>
        <p:spPr>
          <a:xfrm>
            <a:off x="430797" y="701038"/>
            <a:ext cx="6339005" cy="25890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700"/>
              <a:buFont typeface="Arial"/>
              <a:buNone/>
              <a:defRPr sz="1700" b="0" i="0" u="none" strike="noStrike" cap="none">
                <a:solidFill>
                  <a:schemeClr val="lt1"/>
                </a:solidFill>
                <a:latin typeface="Lato Light"/>
                <a:ea typeface="Lato Light"/>
                <a:cs typeface="Lato Light"/>
                <a:sym typeface="Lato Light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88898A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88898A"/>
                </a:solidFill>
                <a:latin typeface="Lato Light"/>
                <a:ea typeface="Lato Light"/>
                <a:cs typeface="Lato Light"/>
                <a:sym typeface="Lato Light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88898A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88898A"/>
                </a:solidFill>
                <a:latin typeface="Lato Light"/>
                <a:ea typeface="Lato Light"/>
                <a:cs typeface="Lato Light"/>
                <a:sym typeface="Lato Light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88898A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98A"/>
                </a:solidFill>
                <a:latin typeface="Lato Light"/>
                <a:ea typeface="Lato Light"/>
                <a:cs typeface="Lato Light"/>
                <a:sym typeface="Lato Light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88898A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98A"/>
                </a:solidFill>
                <a:latin typeface="Lato Light"/>
                <a:ea typeface="Lato Light"/>
                <a:cs typeface="Lato Light"/>
                <a:sym typeface="Lato Light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88898A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98A"/>
                </a:solidFill>
                <a:latin typeface="Lato Light"/>
                <a:ea typeface="Lato Light"/>
                <a:cs typeface="Lato Light"/>
                <a:sym typeface="Lato Light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88898A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98A"/>
                </a:solidFill>
                <a:latin typeface="Lato Light"/>
                <a:ea typeface="Lato Light"/>
                <a:cs typeface="Lato Light"/>
                <a:sym typeface="Lato Light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88898A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98A"/>
                </a:solidFill>
                <a:latin typeface="Lato Light"/>
                <a:ea typeface="Lato Light"/>
                <a:cs typeface="Lato Light"/>
                <a:sym typeface="Lato Light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88898A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98A"/>
                </a:solidFill>
                <a:latin typeface="Lato Light"/>
                <a:ea typeface="Lato Light"/>
                <a:cs typeface="Lato Light"/>
                <a:sym typeface="Lato Light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Arial"/>
              <a:buNone/>
              <a:tabLst/>
              <a:defRPr/>
            </a:pPr>
            <a:r>
              <a:rPr kumimoji="0" lang="en-US" sz="37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Arial"/>
                <a:cs typeface="Arial"/>
                <a:sym typeface="Arial"/>
              </a:rPr>
              <a:t>OUR PROTECTIVE DDI PLATFORM DELIVERS ENTERPRISE</a:t>
            </a:r>
            <a:endParaRPr kumimoji="0" lang="en-US" sz="37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 panose="020F0502020204030203" pitchFamily="34" charset="77"/>
              <a:sym typeface="Lato Light"/>
            </a:endParaRPr>
          </a:p>
        </p:txBody>
      </p:sp>
      <p:sp>
        <p:nvSpPr>
          <p:cNvPr id="5" name="Google Shape;920;p5">
            <a:extLst>
              <a:ext uri="{FF2B5EF4-FFF2-40B4-BE49-F238E27FC236}">
                <a16:creationId xmlns:a16="http://schemas.microsoft.com/office/drawing/2014/main" id="{1AD9CC61-6504-4531-5949-27000ECB8E44}"/>
              </a:ext>
            </a:extLst>
          </p:cNvPr>
          <p:cNvSpPr txBox="1"/>
          <p:nvPr/>
        </p:nvSpPr>
        <p:spPr>
          <a:xfrm>
            <a:off x="430798" y="3151610"/>
            <a:ext cx="4995307" cy="14359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133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rPr>
              <a:t>We seamlessly integrate, secure and automate critical network services, so organizations can move fast without compromise.</a:t>
            </a:r>
            <a:endParaRPr kumimoji="0" sz="2133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" name="Google Shape;24;p61">
            <a:extLst>
              <a:ext uri="{FF2B5EF4-FFF2-40B4-BE49-F238E27FC236}">
                <a16:creationId xmlns:a16="http://schemas.microsoft.com/office/drawing/2014/main" id="{F6F7DF92-D180-34F6-316A-7D1C98B3439F}"/>
              </a:ext>
            </a:extLst>
          </p:cNvPr>
          <p:cNvSpPr txBox="1">
            <a:spLocks/>
          </p:cNvSpPr>
          <p:nvPr/>
        </p:nvSpPr>
        <p:spPr>
          <a:xfrm>
            <a:off x="331944" y="2457577"/>
            <a:ext cx="6339005" cy="5225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800"/>
              <a:buFont typeface="Lato"/>
              <a:buNone/>
              <a:defRPr sz="4800" b="1" i="0" u="none" strike="noStrike" cap="none">
                <a:solidFill>
                  <a:schemeClr val="lt1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  <a:sym typeface="Lat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800"/>
              <a:buFont typeface="Lato"/>
              <a:buNone/>
              <a:tabLst/>
              <a:defRPr/>
            </a:pPr>
            <a:r>
              <a:rPr kumimoji="0" lang="en-US" sz="3733" b="1" i="0" u="none" strike="noStrike" kern="0" cap="none" spc="40" normalizeH="0" baseline="0" noProof="0">
                <a:ln>
                  <a:noFill/>
                </a:ln>
                <a:gradFill>
                  <a:gsLst>
                    <a:gs pos="65000">
                      <a:srgbClr val="00BD4D"/>
                    </a:gs>
                    <a:gs pos="0">
                      <a:srgbClr val="FEDD00"/>
                    </a:gs>
                    <a:gs pos="35000">
                      <a:srgbClr val="00BD4D"/>
                    </a:gs>
                    <a:gs pos="100000">
                      <a:srgbClr val="00E2EC"/>
                    </a:gs>
                  </a:gsLst>
                  <a:lin ang="0" scaled="0"/>
                </a:gradFill>
                <a:effectLst/>
                <a:uLnTx/>
                <a:uFillTx/>
                <a:latin typeface="Lato" panose="020F0502020204030203" pitchFamily="34" charset="77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RESILIENCE AND AGILITY</a:t>
            </a:r>
            <a:endParaRPr kumimoji="0" lang="en-US" sz="3733" b="1" i="0" u="none" strike="noStrike" kern="0" cap="none" spc="4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 panose="020F0502020204030203" pitchFamily="34" charset="77"/>
              <a:ea typeface="Lato" panose="020F0502020204030203" pitchFamily="34" charset="0"/>
              <a:cs typeface="Lato" panose="020F0502020204030203" pitchFamily="34" charset="0"/>
              <a:sym typeface="Lato"/>
            </a:endParaRPr>
          </a:p>
        </p:txBody>
      </p:sp>
      <p:grpSp>
        <p:nvGrpSpPr>
          <p:cNvPr id="286" name="Group 285">
            <a:extLst>
              <a:ext uri="{FF2B5EF4-FFF2-40B4-BE49-F238E27FC236}">
                <a16:creationId xmlns:a16="http://schemas.microsoft.com/office/drawing/2014/main" id="{0AEEBEDF-D452-E0A9-F42E-26AE5FD6B8F5}"/>
              </a:ext>
            </a:extLst>
          </p:cNvPr>
          <p:cNvGrpSpPr/>
          <p:nvPr/>
        </p:nvGrpSpPr>
        <p:grpSpPr>
          <a:xfrm>
            <a:off x="5131359" y="2005488"/>
            <a:ext cx="7220230" cy="4151474"/>
            <a:chOff x="5131359" y="2005488"/>
            <a:chExt cx="7220230" cy="4151474"/>
          </a:xfrm>
        </p:grpSpPr>
        <p:grpSp>
          <p:nvGrpSpPr>
            <p:cNvPr id="162" name="Group 161">
              <a:extLst>
                <a:ext uri="{FF2B5EF4-FFF2-40B4-BE49-F238E27FC236}">
                  <a16:creationId xmlns:a16="http://schemas.microsoft.com/office/drawing/2014/main" id="{7A456DFB-5362-E437-D002-DF8A4830F37E}"/>
                </a:ext>
              </a:extLst>
            </p:cNvPr>
            <p:cNvGrpSpPr/>
            <p:nvPr/>
          </p:nvGrpSpPr>
          <p:grpSpPr>
            <a:xfrm>
              <a:off x="5131359" y="4652425"/>
              <a:ext cx="651859" cy="466420"/>
              <a:chOff x="4213351" y="3951932"/>
              <a:chExt cx="651859" cy="466420"/>
            </a:xfrm>
          </p:grpSpPr>
          <p:sp>
            <p:nvSpPr>
              <p:cNvPr id="274" name="Freeform: Shape 846">
                <a:extLst>
                  <a:ext uri="{FF2B5EF4-FFF2-40B4-BE49-F238E27FC236}">
                    <a16:creationId xmlns:a16="http://schemas.microsoft.com/office/drawing/2014/main" id="{0B876F3A-F802-E399-10C1-2A03036DD105}"/>
                  </a:ext>
                </a:extLst>
              </p:cNvPr>
              <p:cNvSpPr/>
              <p:nvPr/>
            </p:nvSpPr>
            <p:spPr>
              <a:xfrm>
                <a:off x="4213353" y="3976157"/>
                <a:ext cx="492131" cy="284135"/>
              </a:xfrm>
              <a:custGeom>
                <a:avLst/>
                <a:gdLst>
                  <a:gd name="connsiteX0" fmla="*/ 492131 w 492131"/>
                  <a:gd name="connsiteY0" fmla="*/ 188739 h 284135"/>
                  <a:gd name="connsiteX1" fmla="*/ 170503 w 492131"/>
                  <a:gd name="connsiteY1" fmla="*/ 3048 h 284135"/>
                  <a:gd name="connsiteX2" fmla="*/ 144926 w 492131"/>
                  <a:gd name="connsiteY2" fmla="*/ 3048 h 284135"/>
                  <a:gd name="connsiteX3" fmla="*/ 5275 w 492131"/>
                  <a:gd name="connsiteY3" fmla="*/ 83674 h 284135"/>
                  <a:gd name="connsiteX4" fmla="*/ 5275 w 492131"/>
                  <a:gd name="connsiteY4" fmla="*/ 98440 h 284135"/>
                  <a:gd name="connsiteX5" fmla="*/ 326906 w 492131"/>
                  <a:gd name="connsiteY5" fmla="*/ 284136 h 284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2131" h="284135">
                    <a:moveTo>
                      <a:pt x="492131" y="188739"/>
                    </a:moveTo>
                    <a:lnTo>
                      <a:pt x="170503" y="3048"/>
                    </a:lnTo>
                    <a:cubicBezTo>
                      <a:pt x="163469" y="-1016"/>
                      <a:pt x="151959" y="-1016"/>
                      <a:pt x="144926" y="3048"/>
                    </a:cubicBezTo>
                    <a:lnTo>
                      <a:pt x="5275" y="83674"/>
                    </a:lnTo>
                    <a:cubicBezTo>
                      <a:pt x="-1758" y="87732"/>
                      <a:pt x="-1758" y="94381"/>
                      <a:pt x="5275" y="98440"/>
                    </a:cubicBezTo>
                    <a:lnTo>
                      <a:pt x="326906" y="284136"/>
                    </a:lnTo>
                  </a:path>
                </a:pathLst>
              </a:custGeom>
              <a:noFill/>
              <a:ln w="4859" cap="rnd">
                <a:solidFill>
                  <a:srgbClr val="FFFFFF">
                    <a:alpha val="60000"/>
                  </a:srgb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75" name="Freeform: Shape 847">
                <a:extLst>
                  <a:ext uri="{FF2B5EF4-FFF2-40B4-BE49-F238E27FC236}">
                    <a16:creationId xmlns:a16="http://schemas.microsoft.com/office/drawing/2014/main" id="{BAB31C88-9819-7B3F-32AE-8C6D4B8884C6}"/>
                  </a:ext>
                </a:extLst>
              </p:cNvPr>
              <p:cNvSpPr/>
              <p:nvPr/>
            </p:nvSpPr>
            <p:spPr>
              <a:xfrm>
                <a:off x="4421131" y="3951932"/>
                <a:ext cx="429118" cy="127462"/>
              </a:xfrm>
              <a:custGeom>
                <a:avLst/>
                <a:gdLst>
                  <a:gd name="connsiteX0" fmla="*/ 429118 w 429118"/>
                  <a:gd name="connsiteY0" fmla="*/ 127463 h 127462"/>
                  <a:gd name="connsiteX1" fmla="*/ 213632 w 429118"/>
                  <a:gd name="connsiteY1" fmla="*/ 3053 h 127462"/>
                  <a:gd name="connsiteX2" fmla="*/ 193874 w 429118"/>
                  <a:gd name="connsiteY2" fmla="*/ 802 h 127462"/>
                  <a:gd name="connsiteX3" fmla="*/ 0 w 429118"/>
                  <a:gd name="connsiteY3" fmla="*/ 47614 h 127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9118" h="127462">
                    <a:moveTo>
                      <a:pt x="429118" y="127463"/>
                    </a:moveTo>
                    <a:lnTo>
                      <a:pt x="213632" y="3053"/>
                    </a:lnTo>
                    <a:cubicBezTo>
                      <a:pt x="208451" y="64"/>
                      <a:pt x="200650" y="-821"/>
                      <a:pt x="193874" y="802"/>
                    </a:cubicBezTo>
                    <a:lnTo>
                      <a:pt x="0" y="47614"/>
                    </a:lnTo>
                  </a:path>
                </a:pathLst>
              </a:custGeom>
              <a:noFill/>
              <a:ln w="4859" cap="rnd">
                <a:solidFill>
                  <a:srgbClr val="FFFFFF">
                    <a:alpha val="60000"/>
                  </a:srgb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76" name="Freeform: Shape 848">
                <a:extLst>
                  <a:ext uri="{FF2B5EF4-FFF2-40B4-BE49-F238E27FC236}">
                    <a16:creationId xmlns:a16="http://schemas.microsoft.com/office/drawing/2014/main" id="{B04791FF-F850-3267-88FE-6B4E5A6792A3}"/>
                  </a:ext>
                </a:extLst>
              </p:cNvPr>
              <p:cNvSpPr/>
              <p:nvPr/>
            </p:nvSpPr>
            <p:spPr>
              <a:xfrm>
                <a:off x="4510140" y="4147510"/>
                <a:ext cx="140673" cy="81214"/>
              </a:xfrm>
              <a:custGeom>
                <a:avLst/>
                <a:gdLst>
                  <a:gd name="connsiteX0" fmla="*/ 140674 w 140673"/>
                  <a:gd name="connsiteY0" fmla="*/ 47993 h 81214"/>
                  <a:gd name="connsiteX1" fmla="*/ 57549 w 140673"/>
                  <a:gd name="connsiteY1" fmla="*/ 0 h 81214"/>
                  <a:gd name="connsiteX2" fmla="*/ 0 w 140673"/>
                  <a:gd name="connsiteY2" fmla="*/ 33222 h 81214"/>
                  <a:gd name="connsiteX3" fmla="*/ 83125 w 140673"/>
                  <a:gd name="connsiteY3" fmla="*/ 81214 h 812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0673" h="81214">
                    <a:moveTo>
                      <a:pt x="140674" y="47993"/>
                    </a:moveTo>
                    <a:lnTo>
                      <a:pt x="57549" y="0"/>
                    </a:lnTo>
                    <a:lnTo>
                      <a:pt x="0" y="33222"/>
                    </a:lnTo>
                    <a:lnTo>
                      <a:pt x="83125" y="81214"/>
                    </a:lnTo>
                  </a:path>
                </a:pathLst>
              </a:custGeom>
              <a:noFill/>
              <a:ln w="4859" cap="rnd">
                <a:solidFill>
                  <a:srgbClr val="FFFFFF">
                    <a:alpha val="60000"/>
                  </a:srgb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77" name="Freeform: Shape 849">
                <a:extLst>
                  <a:ext uri="{FF2B5EF4-FFF2-40B4-BE49-F238E27FC236}">
                    <a16:creationId xmlns:a16="http://schemas.microsoft.com/office/drawing/2014/main" id="{1BA32CCA-38B9-8462-5C97-E33E47A33EBC}"/>
                  </a:ext>
                </a:extLst>
              </p:cNvPr>
              <p:cNvSpPr/>
              <p:nvPr/>
            </p:nvSpPr>
            <p:spPr>
              <a:xfrm>
                <a:off x="4667057" y="4056914"/>
                <a:ext cx="140673" cy="81214"/>
              </a:xfrm>
              <a:custGeom>
                <a:avLst/>
                <a:gdLst>
                  <a:gd name="connsiteX0" fmla="*/ 140673 w 140673"/>
                  <a:gd name="connsiteY0" fmla="*/ 47993 h 81214"/>
                  <a:gd name="connsiteX1" fmla="*/ 57544 w 140673"/>
                  <a:gd name="connsiteY1" fmla="*/ 0 h 81214"/>
                  <a:gd name="connsiteX2" fmla="*/ 0 w 140673"/>
                  <a:gd name="connsiteY2" fmla="*/ 33222 h 81214"/>
                  <a:gd name="connsiteX3" fmla="*/ 83124 w 140673"/>
                  <a:gd name="connsiteY3" fmla="*/ 81214 h 812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0673" h="81214">
                    <a:moveTo>
                      <a:pt x="140673" y="47993"/>
                    </a:moveTo>
                    <a:lnTo>
                      <a:pt x="57544" y="0"/>
                    </a:lnTo>
                    <a:lnTo>
                      <a:pt x="0" y="33222"/>
                    </a:lnTo>
                    <a:lnTo>
                      <a:pt x="83124" y="81214"/>
                    </a:lnTo>
                  </a:path>
                </a:pathLst>
              </a:custGeom>
              <a:noFill/>
              <a:ln w="4859" cap="rnd">
                <a:solidFill>
                  <a:srgbClr val="FFFFFF">
                    <a:alpha val="60000"/>
                  </a:srgb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78" name="Freeform: Shape 850">
                <a:extLst>
                  <a:ext uri="{FF2B5EF4-FFF2-40B4-BE49-F238E27FC236}">
                    <a16:creationId xmlns:a16="http://schemas.microsoft.com/office/drawing/2014/main" id="{5E3D7837-0E0A-3B4A-484B-D159B077D031}"/>
                  </a:ext>
                </a:extLst>
              </p:cNvPr>
              <p:cNvSpPr/>
              <p:nvPr/>
            </p:nvSpPr>
            <p:spPr>
              <a:xfrm>
                <a:off x="4397667" y="4082573"/>
                <a:ext cx="111259" cy="64231"/>
              </a:xfrm>
              <a:custGeom>
                <a:avLst/>
                <a:gdLst>
                  <a:gd name="connsiteX0" fmla="*/ 74301 w 111259"/>
                  <a:gd name="connsiteY0" fmla="*/ 0 h 64231"/>
                  <a:gd name="connsiteX1" fmla="*/ 111260 w 111259"/>
                  <a:gd name="connsiteY1" fmla="*/ 21338 h 64231"/>
                  <a:gd name="connsiteX2" fmla="*/ 36959 w 111259"/>
                  <a:gd name="connsiteY2" fmla="*/ 64232 h 64231"/>
                  <a:gd name="connsiteX3" fmla="*/ 0 w 111259"/>
                  <a:gd name="connsiteY3" fmla="*/ 42894 h 64231"/>
                  <a:gd name="connsiteX4" fmla="*/ 74301 w 111259"/>
                  <a:gd name="connsiteY4" fmla="*/ 0 h 64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1259" h="64231">
                    <a:moveTo>
                      <a:pt x="74301" y="0"/>
                    </a:moveTo>
                    <a:lnTo>
                      <a:pt x="111260" y="21338"/>
                    </a:lnTo>
                    <a:lnTo>
                      <a:pt x="36959" y="64232"/>
                    </a:lnTo>
                    <a:lnTo>
                      <a:pt x="0" y="42894"/>
                    </a:lnTo>
                    <a:lnTo>
                      <a:pt x="74301" y="0"/>
                    </a:lnTo>
                    <a:close/>
                  </a:path>
                </a:pathLst>
              </a:custGeom>
              <a:noFill/>
              <a:ln w="4859" cap="rnd">
                <a:solidFill>
                  <a:srgbClr val="FFFFFF">
                    <a:alpha val="60000"/>
                  </a:srgb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79" name="Freeform: Shape 851">
                <a:extLst>
                  <a:ext uri="{FF2B5EF4-FFF2-40B4-BE49-F238E27FC236}">
                    <a16:creationId xmlns:a16="http://schemas.microsoft.com/office/drawing/2014/main" id="{49DFD007-A4FE-58B1-7502-83C59FB54E4F}"/>
                  </a:ext>
                </a:extLst>
              </p:cNvPr>
              <p:cNvSpPr/>
              <p:nvPr/>
            </p:nvSpPr>
            <p:spPr>
              <a:xfrm>
                <a:off x="4314540" y="4034580"/>
                <a:ext cx="111259" cy="64236"/>
              </a:xfrm>
              <a:custGeom>
                <a:avLst/>
                <a:gdLst>
                  <a:gd name="connsiteX0" fmla="*/ 74301 w 111259"/>
                  <a:gd name="connsiteY0" fmla="*/ 0 h 64236"/>
                  <a:gd name="connsiteX1" fmla="*/ 111260 w 111259"/>
                  <a:gd name="connsiteY1" fmla="*/ 21338 h 64236"/>
                  <a:gd name="connsiteX2" fmla="*/ 36958 w 111259"/>
                  <a:gd name="connsiteY2" fmla="*/ 64237 h 64236"/>
                  <a:gd name="connsiteX3" fmla="*/ 0 w 111259"/>
                  <a:gd name="connsiteY3" fmla="*/ 42899 h 64236"/>
                  <a:gd name="connsiteX4" fmla="*/ 74301 w 111259"/>
                  <a:gd name="connsiteY4" fmla="*/ 0 h 64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1259" h="64236">
                    <a:moveTo>
                      <a:pt x="74301" y="0"/>
                    </a:moveTo>
                    <a:lnTo>
                      <a:pt x="111260" y="21338"/>
                    </a:lnTo>
                    <a:lnTo>
                      <a:pt x="36958" y="64237"/>
                    </a:lnTo>
                    <a:lnTo>
                      <a:pt x="0" y="42899"/>
                    </a:lnTo>
                    <a:lnTo>
                      <a:pt x="74301" y="0"/>
                    </a:lnTo>
                    <a:close/>
                  </a:path>
                </a:pathLst>
              </a:custGeom>
              <a:noFill/>
              <a:ln w="4859" cap="rnd">
                <a:solidFill>
                  <a:srgbClr val="FFFFFF">
                    <a:alpha val="60000"/>
                  </a:srgb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80" name="Freeform: Shape 852">
                <a:extLst>
                  <a:ext uri="{FF2B5EF4-FFF2-40B4-BE49-F238E27FC236}">
                    <a16:creationId xmlns:a16="http://schemas.microsoft.com/office/drawing/2014/main" id="{B60F785D-B371-1F74-D3A4-DBF6937AAD04}"/>
                  </a:ext>
                </a:extLst>
              </p:cNvPr>
              <p:cNvSpPr/>
              <p:nvPr/>
            </p:nvSpPr>
            <p:spPr>
              <a:xfrm>
                <a:off x="4554580" y="3991978"/>
                <a:ext cx="111262" cy="64236"/>
              </a:xfrm>
              <a:custGeom>
                <a:avLst/>
                <a:gdLst>
                  <a:gd name="connsiteX0" fmla="*/ 74303 w 111262"/>
                  <a:gd name="connsiteY0" fmla="*/ 0 h 64236"/>
                  <a:gd name="connsiteX1" fmla="*/ 111262 w 111262"/>
                  <a:gd name="connsiteY1" fmla="*/ 21338 h 64236"/>
                  <a:gd name="connsiteX2" fmla="*/ 36959 w 111262"/>
                  <a:gd name="connsiteY2" fmla="*/ 64237 h 64236"/>
                  <a:gd name="connsiteX3" fmla="*/ 0 w 111262"/>
                  <a:gd name="connsiteY3" fmla="*/ 42899 h 64236"/>
                  <a:gd name="connsiteX4" fmla="*/ 74303 w 111262"/>
                  <a:gd name="connsiteY4" fmla="*/ 0 h 64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1262" h="64236">
                    <a:moveTo>
                      <a:pt x="74303" y="0"/>
                    </a:moveTo>
                    <a:lnTo>
                      <a:pt x="111262" y="21338"/>
                    </a:lnTo>
                    <a:lnTo>
                      <a:pt x="36959" y="64237"/>
                    </a:lnTo>
                    <a:lnTo>
                      <a:pt x="0" y="42899"/>
                    </a:lnTo>
                    <a:lnTo>
                      <a:pt x="74303" y="0"/>
                    </a:lnTo>
                    <a:close/>
                  </a:path>
                </a:pathLst>
              </a:custGeom>
              <a:noFill/>
              <a:ln w="4859" cap="rnd">
                <a:solidFill>
                  <a:srgbClr val="FFFFFF">
                    <a:alpha val="60000"/>
                  </a:srgb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81" name="Freeform: Shape 853">
                <a:extLst>
                  <a:ext uri="{FF2B5EF4-FFF2-40B4-BE49-F238E27FC236}">
                    <a16:creationId xmlns:a16="http://schemas.microsoft.com/office/drawing/2014/main" id="{E28F1366-DB3D-9F55-5DBE-E8E9F2C6FBD8}"/>
                  </a:ext>
                </a:extLst>
              </p:cNvPr>
              <p:cNvSpPr/>
              <p:nvPr/>
            </p:nvSpPr>
            <p:spPr>
              <a:xfrm>
                <a:off x="4527465" y="4072974"/>
                <a:ext cx="337745" cy="194994"/>
              </a:xfrm>
              <a:custGeom>
                <a:avLst/>
                <a:gdLst>
                  <a:gd name="connsiteX0" fmla="*/ 337745 w 337745"/>
                  <a:gd name="connsiteY0" fmla="*/ 0 h 194994"/>
                  <a:gd name="connsiteX1" fmla="*/ 0 w 337745"/>
                  <a:gd name="connsiteY1" fmla="*/ 194994 h 1949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7745" h="194994">
                    <a:moveTo>
                      <a:pt x="337745" y="0"/>
                    </a:moveTo>
                    <a:lnTo>
                      <a:pt x="0" y="194994"/>
                    </a:lnTo>
                  </a:path>
                </a:pathLst>
              </a:custGeom>
              <a:noFill/>
              <a:ln w="4859" cap="rnd">
                <a:solidFill>
                  <a:srgbClr val="FFFFFF">
                    <a:alpha val="60000"/>
                  </a:srgb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82" name="Freeform: Shape 854">
                <a:extLst>
                  <a:ext uri="{FF2B5EF4-FFF2-40B4-BE49-F238E27FC236}">
                    <a16:creationId xmlns:a16="http://schemas.microsoft.com/office/drawing/2014/main" id="{663BC960-2AF4-7EF1-B730-E6FD72F4A0E1}"/>
                  </a:ext>
                </a:extLst>
              </p:cNvPr>
              <p:cNvSpPr/>
              <p:nvPr/>
            </p:nvSpPr>
            <p:spPr>
              <a:xfrm>
                <a:off x="4213351" y="4052219"/>
                <a:ext cx="492133" cy="284136"/>
              </a:xfrm>
              <a:custGeom>
                <a:avLst/>
                <a:gdLst>
                  <a:gd name="connsiteX0" fmla="*/ 492134 w 492133"/>
                  <a:gd name="connsiteY0" fmla="*/ 188739 h 284136"/>
                  <a:gd name="connsiteX1" fmla="*/ 170503 w 492133"/>
                  <a:gd name="connsiteY1" fmla="*/ 3048 h 284136"/>
                  <a:gd name="connsiteX2" fmla="*/ 144926 w 492133"/>
                  <a:gd name="connsiteY2" fmla="*/ 3048 h 284136"/>
                  <a:gd name="connsiteX3" fmla="*/ 5275 w 492133"/>
                  <a:gd name="connsiteY3" fmla="*/ 83674 h 284136"/>
                  <a:gd name="connsiteX4" fmla="*/ 5275 w 492133"/>
                  <a:gd name="connsiteY4" fmla="*/ 98440 h 284136"/>
                  <a:gd name="connsiteX5" fmla="*/ 326906 w 492133"/>
                  <a:gd name="connsiteY5" fmla="*/ 284136 h 2841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2133" h="284136">
                    <a:moveTo>
                      <a:pt x="492134" y="188739"/>
                    </a:moveTo>
                    <a:lnTo>
                      <a:pt x="170503" y="3048"/>
                    </a:lnTo>
                    <a:cubicBezTo>
                      <a:pt x="163469" y="-1016"/>
                      <a:pt x="151959" y="-1016"/>
                      <a:pt x="144926" y="3048"/>
                    </a:cubicBezTo>
                    <a:lnTo>
                      <a:pt x="5275" y="83674"/>
                    </a:lnTo>
                    <a:cubicBezTo>
                      <a:pt x="-1758" y="87737"/>
                      <a:pt x="-1758" y="94382"/>
                      <a:pt x="5275" y="98440"/>
                    </a:cubicBezTo>
                    <a:lnTo>
                      <a:pt x="326906" y="284136"/>
                    </a:lnTo>
                  </a:path>
                </a:pathLst>
              </a:custGeom>
              <a:noFill/>
              <a:ln w="4859" cap="rnd">
                <a:solidFill>
                  <a:srgbClr val="FFFFFF">
                    <a:alpha val="30000"/>
                  </a:srgb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83" name="Freeform: Shape 855">
                <a:extLst>
                  <a:ext uri="{FF2B5EF4-FFF2-40B4-BE49-F238E27FC236}">
                    <a16:creationId xmlns:a16="http://schemas.microsoft.com/office/drawing/2014/main" id="{D6FB4B6B-A2AA-0083-B2BF-4440853894AC}"/>
                  </a:ext>
                </a:extLst>
              </p:cNvPr>
              <p:cNvSpPr/>
              <p:nvPr/>
            </p:nvSpPr>
            <p:spPr>
              <a:xfrm>
                <a:off x="4213351" y="4126540"/>
                <a:ext cx="492133" cy="284132"/>
              </a:xfrm>
              <a:custGeom>
                <a:avLst/>
                <a:gdLst>
                  <a:gd name="connsiteX0" fmla="*/ 492134 w 492133"/>
                  <a:gd name="connsiteY0" fmla="*/ 188740 h 284132"/>
                  <a:gd name="connsiteX1" fmla="*/ 170503 w 492133"/>
                  <a:gd name="connsiteY1" fmla="*/ 3044 h 284132"/>
                  <a:gd name="connsiteX2" fmla="*/ 144926 w 492133"/>
                  <a:gd name="connsiteY2" fmla="*/ 3044 h 284132"/>
                  <a:gd name="connsiteX3" fmla="*/ 5275 w 492133"/>
                  <a:gd name="connsiteY3" fmla="*/ 83670 h 284132"/>
                  <a:gd name="connsiteX4" fmla="*/ 5275 w 492133"/>
                  <a:gd name="connsiteY4" fmla="*/ 98436 h 284132"/>
                  <a:gd name="connsiteX5" fmla="*/ 326906 w 492133"/>
                  <a:gd name="connsiteY5" fmla="*/ 284132 h 284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2133" h="284132">
                    <a:moveTo>
                      <a:pt x="492134" y="188740"/>
                    </a:moveTo>
                    <a:lnTo>
                      <a:pt x="170503" y="3044"/>
                    </a:lnTo>
                    <a:cubicBezTo>
                      <a:pt x="163469" y="-1015"/>
                      <a:pt x="151959" y="-1015"/>
                      <a:pt x="144926" y="3044"/>
                    </a:cubicBezTo>
                    <a:lnTo>
                      <a:pt x="5275" y="83670"/>
                    </a:lnTo>
                    <a:cubicBezTo>
                      <a:pt x="-1758" y="87734"/>
                      <a:pt x="-1758" y="94378"/>
                      <a:pt x="5275" y="98436"/>
                    </a:cubicBezTo>
                    <a:lnTo>
                      <a:pt x="326906" y="284132"/>
                    </a:lnTo>
                  </a:path>
                </a:pathLst>
              </a:custGeom>
              <a:noFill/>
              <a:ln w="4859" cap="rnd">
                <a:solidFill>
                  <a:srgbClr val="FFFFFF">
                    <a:alpha val="30000"/>
                  </a:srgb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84" name="Freeform: Shape 856">
                <a:extLst>
                  <a:ext uri="{FF2B5EF4-FFF2-40B4-BE49-F238E27FC236}">
                    <a16:creationId xmlns:a16="http://schemas.microsoft.com/office/drawing/2014/main" id="{1EB022A4-C8B7-C8DF-FAB4-1153B96E756F}"/>
                  </a:ext>
                </a:extLst>
              </p:cNvPr>
              <p:cNvSpPr/>
              <p:nvPr/>
            </p:nvSpPr>
            <p:spPr>
              <a:xfrm>
                <a:off x="4527465" y="4149036"/>
                <a:ext cx="337745" cy="194994"/>
              </a:xfrm>
              <a:custGeom>
                <a:avLst/>
                <a:gdLst>
                  <a:gd name="connsiteX0" fmla="*/ 337745 w 337745"/>
                  <a:gd name="connsiteY0" fmla="*/ 0 h 194994"/>
                  <a:gd name="connsiteX1" fmla="*/ 0 w 337745"/>
                  <a:gd name="connsiteY1" fmla="*/ 194994 h 1949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7745" h="194994">
                    <a:moveTo>
                      <a:pt x="337745" y="0"/>
                    </a:moveTo>
                    <a:lnTo>
                      <a:pt x="0" y="194994"/>
                    </a:lnTo>
                  </a:path>
                </a:pathLst>
              </a:custGeom>
              <a:noFill/>
              <a:ln w="4859" cap="rnd">
                <a:solidFill>
                  <a:srgbClr val="FFFFFF">
                    <a:alpha val="30000"/>
                  </a:srgb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85" name="Freeform: Shape 857">
                <a:extLst>
                  <a:ext uri="{FF2B5EF4-FFF2-40B4-BE49-F238E27FC236}">
                    <a16:creationId xmlns:a16="http://schemas.microsoft.com/office/drawing/2014/main" id="{F1CD407D-CB08-63B4-8242-76973FD53FA2}"/>
                  </a:ext>
                </a:extLst>
              </p:cNvPr>
              <p:cNvSpPr/>
              <p:nvPr/>
            </p:nvSpPr>
            <p:spPr>
              <a:xfrm>
                <a:off x="4527465" y="4223353"/>
                <a:ext cx="337745" cy="194999"/>
              </a:xfrm>
              <a:custGeom>
                <a:avLst/>
                <a:gdLst>
                  <a:gd name="connsiteX0" fmla="*/ 337745 w 337745"/>
                  <a:gd name="connsiteY0" fmla="*/ 0 h 194999"/>
                  <a:gd name="connsiteX1" fmla="*/ 0 w 337745"/>
                  <a:gd name="connsiteY1" fmla="*/ 194999 h 194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7745" h="194999">
                    <a:moveTo>
                      <a:pt x="337745" y="0"/>
                    </a:moveTo>
                    <a:lnTo>
                      <a:pt x="0" y="194999"/>
                    </a:lnTo>
                  </a:path>
                </a:pathLst>
              </a:custGeom>
              <a:noFill/>
              <a:ln w="4859" cap="rnd">
                <a:solidFill>
                  <a:srgbClr val="FFFFFF">
                    <a:alpha val="30000"/>
                  </a:srgb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164" name="Group 163">
              <a:extLst>
                <a:ext uri="{FF2B5EF4-FFF2-40B4-BE49-F238E27FC236}">
                  <a16:creationId xmlns:a16="http://schemas.microsoft.com/office/drawing/2014/main" id="{06C5E396-965E-2365-B6FE-B18302D2F832}"/>
                </a:ext>
              </a:extLst>
            </p:cNvPr>
            <p:cNvGrpSpPr/>
            <p:nvPr/>
          </p:nvGrpSpPr>
          <p:grpSpPr>
            <a:xfrm>
              <a:off x="5714559" y="3639162"/>
              <a:ext cx="6289551" cy="2156402"/>
              <a:chOff x="4796551" y="2938669"/>
              <a:chExt cx="6289551" cy="2156402"/>
            </a:xfrm>
          </p:grpSpPr>
          <p:sp>
            <p:nvSpPr>
              <p:cNvPr id="260" name="Freeform: Shape 909">
                <a:extLst>
                  <a:ext uri="{FF2B5EF4-FFF2-40B4-BE49-F238E27FC236}">
                    <a16:creationId xmlns:a16="http://schemas.microsoft.com/office/drawing/2014/main" id="{C6F9966A-A2E8-8259-034A-E90532F4F582}"/>
                  </a:ext>
                </a:extLst>
              </p:cNvPr>
              <p:cNvSpPr/>
              <p:nvPr/>
            </p:nvSpPr>
            <p:spPr>
              <a:xfrm>
                <a:off x="5684698" y="4401700"/>
                <a:ext cx="867601" cy="297803"/>
              </a:xfrm>
              <a:custGeom>
                <a:avLst/>
                <a:gdLst>
                  <a:gd name="connsiteX0" fmla="*/ 867602 w 867601"/>
                  <a:gd name="connsiteY0" fmla="*/ 297804 h 297803"/>
                  <a:gd name="connsiteX1" fmla="*/ 351794 w 867601"/>
                  <a:gd name="connsiteY1" fmla="*/ 0 h 297803"/>
                  <a:gd name="connsiteX2" fmla="*/ 0 w 867601"/>
                  <a:gd name="connsiteY2" fmla="*/ 185409 h 2978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67601" h="297803">
                    <a:moveTo>
                      <a:pt x="867602" y="297804"/>
                    </a:moveTo>
                    <a:lnTo>
                      <a:pt x="351794" y="0"/>
                    </a:lnTo>
                    <a:lnTo>
                      <a:pt x="0" y="185409"/>
                    </a:lnTo>
                  </a:path>
                </a:pathLst>
              </a:custGeom>
              <a:noFill/>
              <a:ln w="29152" cap="flat">
                <a:solidFill>
                  <a:srgbClr val="FFFFFF">
                    <a:alpha val="10000"/>
                  </a:srgb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61" name="Freeform: Shape 910">
                <a:extLst>
                  <a:ext uri="{FF2B5EF4-FFF2-40B4-BE49-F238E27FC236}">
                    <a16:creationId xmlns:a16="http://schemas.microsoft.com/office/drawing/2014/main" id="{79F939A7-913E-4030-1933-EFFC9CAB06D3}"/>
                  </a:ext>
                </a:extLst>
              </p:cNvPr>
              <p:cNvSpPr/>
              <p:nvPr/>
            </p:nvSpPr>
            <p:spPr>
              <a:xfrm>
                <a:off x="5660926" y="4354159"/>
                <a:ext cx="891374" cy="297803"/>
              </a:xfrm>
              <a:custGeom>
                <a:avLst/>
                <a:gdLst>
                  <a:gd name="connsiteX0" fmla="*/ 891375 w 891374"/>
                  <a:gd name="connsiteY0" fmla="*/ 297804 h 297803"/>
                  <a:gd name="connsiteX1" fmla="*/ 375567 w 891374"/>
                  <a:gd name="connsiteY1" fmla="*/ 0 h 297803"/>
                  <a:gd name="connsiteX2" fmla="*/ 0 w 891374"/>
                  <a:gd name="connsiteY2" fmla="*/ 209177 h 2978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91374" h="297803">
                    <a:moveTo>
                      <a:pt x="891375" y="297804"/>
                    </a:moveTo>
                    <a:lnTo>
                      <a:pt x="375567" y="0"/>
                    </a:lnTo>
                    <a:lnTo>
                      <a:pt x="0" y="209177"/>
                    </a:lnTo>
                  </a:path>
                </a:pathLst>
              </a:custGeom>
              <a:noFill/>
              <a:ln w="29152" cap="flat">
                <a:solidFill>
                  <a:srgbClr val="FFFFFF">
                    <a:alpha val="10000"/>
                  </a:srgb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62" name="Freeform: Shape 911">
                <a:extLst>
                  <a:ext uri="{FF2B5EF4-FFF2-40B4-BE49-F238E27FC236}">
                    <a16:creationId xmlns:a16="http://schemas.microsoft.com/office/drawing/2014/main" id="{5F4E4D08-FD4B-D08C-898B-F799F8503E41}"/>
                  </a:ext>
                </a:extLst>
              </p:cNvPr>
              <p:cNvSpPr/>
              <p:nvPr/>
            </p:nvSpPr>
            <p:spPr>
              <a:xfrm>
                <a:off x="4858352" y="3523196"/>
                <a:ext cx="1742339" cy="551464"/>
              </a:xfrm>
              <a:custGeom>
                <a:avLst/>
                <a:gdLst>
                  <a:gd name="connsiteX0" fmla="*/ 1742339 w 1742339"/>
                  <a:gd name="connsiteY0" fmla="*/ 492720 h 551464"/>
                  <a:gd name="connsiteX1" fmla="*/ 931785 w 1742339"/>
                  <a:gd name="connsiteY1" fmla="*/ 0 h 551464"/>
                  <a:gd name="connsiteX2" fmla="*/ 0 w 1742339"/>
                  <a:gd name="connsiteY2" fmla="*/ 551464 h 551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42339" h="551464">
                    <a:moveTo>
                      <a:pt x="1742339" y="492720"/>
                    </a:moveTo>
                    <a:lnTo>
                      <a:pt x="931785" y="0"/>
                    </a:lnTo>
                    <a:lnTo>
                      <a:pt x="0" y="551464"/>
                    </a:lnTo>
                  </a:path>
                </a:pathLst>
              </a:custGeom>
              <a:noFill/>
              <a:ln w="29152" cap="flat">
                <a:solidFill>
                  <a:srgbClr val="FFFFFF">
                    <a:alpha val="10000"/>
                  </a:srgb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63" name="Freeform: Shape 912">
                <a:extLst>
                  <a:ext uri="{FF2B5EF4-FFF2-40B4-BE49-F238E27FC236}">
                    <a16:creationId xmlns:a16="http://schemas.microsoft.com/office/drawing/2014/main" id="{F93095E4-FBB0-1451-56D7-CDF46EC47D58}"/>
                  </a:ext>
                </a:extLst>
              </p:cNvPr>
              <p:cNvSpPr/>
              <p:nvPr/>
            </p:nvSpPr>
            <p:spPr>
              <a:xfrm>
                <a:off x="4796551" y="3461394"/>
                <a:ext cx="1799387" cy="599004"/>
              </a:xfrm>
              <a:custGeom>
                <a:avLst/>
                <a:gdLst>
                  <a:gd name="connsiteX0" fmla="*/ 1799387 w 1799387"/>
                  <a:gd name="connsiteY0" fmla="*/ 492720 h 599004"/>
                  <a:gd name="connsiteX1" fmla="*/ 988833 w 1799387"/>
                  <a:gd name="connsiteY1" fmla="*/ 0 h 599004"/>
                  <a:gd name="connsiteX2" fmla="*/ 0 w 1799387"/>
                  <a:gd name="connsiteY2" fmla="*/ 599005 h 5990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99387" h="599004">
                    <a:moveTo>
                      <a:pt x="1799387" y="492720"/>
                    </a:moveTo>
                    <a:lnTo>
                      <a:pt x="988833" y="0"/>
                    </a:lnTo>
                    <a:lnTo>
                      <a:pt x="0" y="599005"/>
                    </a:lnTo>
                  </a:path>
                </a:pathLst>
              </a:custGeom>
              <a:noFill/>
              <a:ln w="29152" cap="flat">
                <a:solidFill>
                  <a:srgbClr val="FFFFFF">
                    <a:alpha val="10000"/>
                  </a:srgb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64" name="Freeform: Shape 913">
                <a:extLst>
                  <a:ext uri="{FF2B5EF4-FFF2-40B4-BE49-F238E27FC236}">
                    <a16:creationId xmlns:a16="http://schemas.microsoft.com/office/drawing/2014/main" id="{69C0F42E-0F48-5DD0-A5D9-FF59B1F8549C}"/>
                  </a:ext>
                </a:extLst>
              </p:cNvPr>
              <p:cNvSpPr/>
              <p:nvPr/>
            </p:nvSpPr>
            <p:spPr>
              <a:xfrm>
                <a:off x="5477013" y="2938669"/>
                <a:ext cx="1285956" cy="801728"/>
              </a:xfrm>
              <a:custGeom>
                <a:avLst/>
                <a:gdLst>
                  <a:gd name="connsiteX0" fmla="*/ 1285956 w 1285956"/>
                  <a:gd name="connsiteY0" fmla="*/ 801728 h 801728"/>
                  <a:gd name="connsiteX1" fmla="*/ 0 w 1285956"/>
                  <a:gd name="connsiteY1" fmla="*/ 0 h 801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85956" h="801728">
                    <a:moveTo>
                      <a:pt x="1285956" y="801728"/>
                    </a:moveTo>
                    <a:lnTo>
                      <a:pt x="0" y="0"/>
                    </a:lnTo>
                  </a:path>
                </a:pathLst>
              </a:custGeom>
              <a:noFill/>
              <a:ln w="29152" cap="flat">
                <a:solidFill>
                  <a:srgbClr val="FFFFFF">
                    <a:alpha val="10000"/>
                  </a:srgb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65" name="Freeform: Shape 914">
                <a:extLst>
                  <a:ext uri="{FF2B5EF4-FFF2-40B4-BE49-F238E27FC236}">
                    <a16:creationId xmlns:a16="http://schemas.microsoft.com/office/drawing/2014/main" id="{21007E30-6FA4-35E2-AF34-17CAA814A40E}"/>
                  </a:ext>
                </a:extLst>
              </p:cNvPr>
              <p:cNvSpPr/>
              <p:nvPr/>
            </p:nvSpPr>
            <p:spPr>
              <a:xfrm>
                <a:off x="5438129" y="2966979"/>
                <a:ext cx="1285956" cy="801726"/>
              </a:xfrm>
              <a:custGeom>
                <a:avLst/>
                <a:gdLst>
                  <a:gd name="connsiteX0" fmla="*/ 1285956 w 1285956"/>
                  <a:gd name="connsiteY0" fmla="*/ 801726 h 801726"/>
                  <a:gd name="connsiteX1" fmla="*/ 0 w 1285956"/>
                  <a:gd name="connsiteY1" fmla="*/ 0 h 801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85956" h="801726">
                    <a:moveTo>
                      <a:pt x="1285956" y="801726"/>
                    </a:moveTo>
                    <a:lnTo>
                      <a:pt x="0" y="0"/>
                    </a:lnTo>
                  </a:path>
                </a:pathLst>
              </a:custGeom>
              <a:noFill/>
              <a:ln w="29152" cap="flat">
                <a:solidFill>
                  <a:srgbClr val="FFFFFF">
                    <a:alpha val="10000"/>
                  </a:srgb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66" name="Freeform: Shape 915">
                <a:extLst>
                  <a:ext uri="{FF2B5EF4-FFF2-40B4-BE49-F238E27FC236}">
                    <a16:creationId xmlns:a16="http://schemas.microsoft.com/office/drawing/2014/main" id="{A4D82312-4A20-AB79-9819-0F48AF764676}"/>
                  </a:ext>
                </a:extLst>
              </p:cNvPr>
              <p:cNvSpPr/>
              <p:nvPr/>
            </p:nvSpPr>
            <p:spPr>
              <a:xfrm>
                <a:off x="9041866" y="3561229"/>
                <a:ext cx="1742349" cy="551464"/>
              </a:xfrm>
              <a:custGeom>
                <a:avLst/>
                <a:gdLst>
                  <a:gd name="connsiteX0" fmla="*/ 1742350 w 1742349"/>
                  <a:gd name="connsiteY0" fmla="*/ 492715 h 551464"/>
                  <a:gd name="connsiteX1" fmla="*/ 931810 w 1742349"/>
                  <a:gd name="connsiteY1" fmla="*/ 0 h 551464"/>
                  <a:gd name="connsiteX2" fmla="*/ 0 w 1742349"/>
                  <a:gd name="connsiteY2" fmla="*/ 551464 h 551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42349" h="551464">
                    <a:moveTo>
                      <a:pt x="1742350" y="492715"/>
                    </a:moveTo>
                    <a:lnTo>
                      <a:pt x="931810" y="0"/>
                    </a:lnTo>
                    <a:lnTo>
                      <a:pt x="0" y="551464"/>
                    </a:lnTo>
                  </a:path>
                </a:pathLst>
              </a:custGeom>
              <a:noFill/>
              <a:ln w="29152" cap="flat">
                <a:solidFill>
                  <a:srgbClr val="FFFFFF">
                    <a:alpha val="10000"/>
                  </a:srgb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67" name="Freeform: Shape 916">
                <a:extLst>
                  <a:ext uri="{FF2B5EF4-FFF2-40B4-BE49-F238E27FC236}">
                    <a16:creationId xmlns:a16="http://schemas.microsoft.com/office/drawing/2014/main" id="{E7BE1C97-CF6B-9143-ED32-4231AB6E9175}"/>
                  </a:ext>
                </a:extLst>
              </p:cNvPr>
              <p:cNvSpPr/>
              <p:nvPr/>
            </p:nvSpPr>
            <p:spPr>
              <a:xfrm>
                <a:off x="9041866" y="4125472"/>
                <a:ext cx="1026881" cy="492715"/>
              </a:xfrm>
              <a:custGeom>
                <a:avLst/>
                <a:gdLst>
                  <a:gd name="connsiteX0" fmla="*/ 0 w 1026881"/>
                  <a:gd name="connsiteY0" fmla="*/ 0 h 492715"/>
                  <a:gd name="connsiteX1" fmla="*/ 810540 w 1026881"/>
                  <a:gd name="connsiteY1" fmla="*/ 492715 h 492715"/>
                  <a:gd name="connsiteX2" fmla="*/ 1026881 w 1026881"/>
                  <a:gd name="connsiteY2" fmla="*/ 367834 h 492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26881" h="492715">
                    <a:moveTo>
                      <a:pt x="0" y="0"/>
                    </a:moveTo>
                    <a:lnTo>
                      <a:pt x="810540" y="492715"/>
                    </a:lnTo>
                    <a:lnTo>
                      <a:pt x="1026881" y="367834"/>
                    </a:lnTo>
                  </a:path>
                </a:pathLst>
              </a:custGeom>
              <a:noFill/>
              <a:ln w="29152" cap="flat">
                <a:solidFill>
                  <a:srgbClr val="FFFFFF">
                    <a:alpha val="10000"/>
                  </a:srgb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68" name="Freeform: Shape 917">
                <a:extLst>
                  <a:ext uri="{FF2B5EF4-FFF2-40B4-BE49-F238E27FC236}">
                    <a16:creationId xmlns:a16="http://schemas.microsoft.com/office/drawing/2014/main" id="{67A09764-C9B8-5238-B8E5-5F347F6AF85A}"/>
                  </a:ext>
                </a:extLst>
              </p:cNvPr>
              <p:cNvSpPr/>
              <p:nvPr/>
            </p:nvSpPr>
            <p:spPr>
              <a:xfrm>
                <a:off x="9046727" y="4193519"/>
                <a:ext cx="1087637" cy="492715"/>
              </a:xfrm>
              <a:custGeom>
                <a:avLst/>
                <a:gdLst>
                  <a:gd name="connsiteX0" fmla="*/ 0 w 1087637"/>
                  <a:gd name="connsiteY0" fmla="*/ 0 h 492715"/>
                  <a:gd name="connsiteX1" fmla="*/ 810540 w 1087637"/>
                  <a:gd name="connsiteY1" fmla="*/ 492715 h 492715"/>
                  <a:gd name="connsiteX2" fmla="*/ 1087638 w 1087637"/>
                  <a:gd name="connsiteY2" fmla="*/ 334904 h 492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87637" h="492715">
                    <a:moveTo>
                      <a:pt x="0" y="0"/>
                    </a:moveTo>
                    <a:lnTo>
                      <a:pt x="810540" y="492715"/>
                    </a:lnTo>
                    <a:lnTo>
                      <a:pt x="1087638" y="334904"/>
                    </a:lnTo>
                  </a:path>
                </a:pathLst>
              </a:custGeom>
              <a:noFill/>
              <a:ln w="29152" cap="flat">
                <a:solidFill>
                  <a:srgbClr val="FFFFFF">
                    <a:alpha val="10000"/>
                  </a:srgb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69" name="Freeform: Shape 918">
                <a:extLst>
                  <a:ext uri="{FF2B5EF4-FFF2-40B4-BE49-F238E27FC236}">
                    <a16:creationId xmlns:a16="http://schemas.microsoft.com/office/drawing/2014/main" id="{F4667B3E-FC23-B84F-563C-7B3378039D32}"/>
                  </a:ext>
                </a:extLst>
              </p:cNvPr>
              <p:cNvSpPr/>
              <p:nvPr/>
            </p:nvSpPr>
            <p:spPr>
              <a:xfrm>
                <a:off x="8980089" y="3328284"/>
                <a:ext cx="2106013" cy="770148"/>
              </a:xfrm>
              <a:custGeom>
                <a:avLst/>
                <a:gdLst>
                  <a:gd name="connsiteX0" fmla="*/ 2106013 w 2106013"/>
                  <a:gd name="connsiteY0" fmla="*/ 513431 h 770148"/>
                  <a:gd name="connsiteX1" fmla="*/ 1272289 w 2106013"/>
                  <a:gd name="connsiteY1" fmla="*/ 0 h 770148"/>
                  <a:gd name="connsiteX2" fmla="*/ 0 w 2106013"/>
                  <a:gd name="connsiteY2" fmla="*/ 770149 h 7701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106013" h="770148">
                    <a:moveTo>
                      <a:pt x="2106013" y="513431"/>
                    </a:moveTo>
                    <a:lnTo>
                      <a:pt x="1272289" y="0"/>
                    </a:lnTo>
                    <a:lnTo>
                      <a:pt x="0" y="770149"/>
                    </a:lnTo>
                  </a:path>
                </a:pathLst>
              </a:custGeom>
              <a:noFill/>
              <a:ln w="29152" cap="flat">
                <a:solidFill>
                  <a:srgbClr val="FFFFFF">
                    <a:alpha val="10000"/>
                  </a:srgb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70" name="Freeform: Shape 919">
                <a:extLst>
                  <a:ext uri="{FF2B5EF4-FFF2-40B4-BE49-F238E27FC236}">
                    <a16:creationId xmlns:a16="http://schemas.microsoft.com/office/drawing/2014/main" id="{73EC38CD-6969-6DA5-81BA-55318196B43C}"/>
                  </a:ext>
                </a:extLst>
              </p:cNvPr>
              <p:cNvSpPr/>
              <p:nvPr/>
            </p:nvSpPr>
            <p:spPr>
              <a:xfrm>
                <a:off x="6499156" y="4797268"/>
                <a:ext cx="515807" cy="297803"/>
              </a:xfrm>
              <a:custGeom>
                <a:avLst/>
                <a:gdLst>
                  <a:gd name="connsiteX0" fmla="*/ 515808 w 515807"/>
                  <a:gd name="connsiteY0" fmla="*/ 0 h 297803"/>
                  <a:gd name="connsiteX1" fmla="*/ 0 w 515807"/>
                  <a:gd name="connsiteY1" fmla="*/ 297804 h 2978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5807" h="297803">
                    <a:moveTo>
                      <a:pt x="515808" y="0"/>
                    </a:moveTo>
                    <a:lnTo>
                      <a:pt x="0" y="297804"/>
                    </a:lnTo>
                  </a:path>
                </a:pathLst>
              </a:custGeom>
              <a:noFill/>
              <a:ln w="29152" cap="flat">
                <a:solidFill>
                  <a:srgbClr val="FFFFFF">
                    <a:alpha val="10000"/>
                  </a:srgb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71" name="Freeform: Shape 920">
                <a:extLst>
                  <a:ext uri="{FF2B5EF4-FFF2-40B4-BE49-F238E27FC236}">
                    <a16:creationId xmlns:a16="http://schemas.microsoft.com/office/drawing/2014/main" id="{AB9611F5-605F-2167-8F8F-0CF57BF8E723}"/>
                  </a:ext>
                </a:extLst>
              </p:cNvPr>
              <p:cNvSpPr/>
              <p:nvPr/>
            </p:nvSpPr>
            <p:spPr>
              <a:xfrm>
                <a:off x="6468253" y="4768747"/>
                <a:ext cx="515812" cy="297798"/>
              </a:xfrm>
              <a:custGeom>
                <a:avLst/>
                <a:gdLst>
                  <a:gd name="connsiteX0" fmla="*/ 515812 w 515812"/>
                  <a:gd name="connsiteY0" fmla="*/ 0 h 297798"/>
                  <a:gd name="connsiteX1" fmla="*/ 0 w 515812"/>
                  <a:gd name="connsiteY1" fmla="*/ 297799 h 297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5812" h="297798">
                    <a:moveTo>
                      <a:pt x="515812" y="0"/>
                    </a:moveTo>
                    <a:lnTo>
                      <a:pt x="0" y="297799"/>
                    </a:lnTo>
                  </a:path>
                </a:pathLst>
              </a:custGeom>
              <a:noFill/>
              <a:ln w="29152" cap="flat">
                <a:solidFill>
                  <a:srgbClr val="FFFFFF">
                    <a:alpha val="10000"/>
                  </a:srgb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72" name="Freeform: Shape 921">
                <a:extLst>
                  <a:ext uri="{FF2B5EF4-FFF2-40B4-BE49-F238E27FC236}">
                    <a16:creationId xmlns:a16="http://schemas.microsoft.com/office/drawing/2014/main" id="{BDC3E090-2D60-1017-1C9E-D94C6DE0C276}"/>
                  </a:ext>
                </a:extLst>
              </p:cNvPr>
              <p:cNvSpPr/>
              <p:nvPr/>
            </p:nvSpPr>
            <p:spPr>
              <a:xfrm>
                <a:off x="8533189" y="4645144"/>
                <a:ext cx="515822" cy="297798"/>
              </a:xfrm>
              <a:custGeom>
                <a:avLst/>
                <a:gdLst>
                  <a:gd name="connsiteX0" fmla="*/ 0 w 515822"/>
                  <a:gd name="connsiteY0" fmla="*/ 0 h 297798"/>
                  <a:gd name="connsiteX1" fmla="*/ 515823 w 515822"/>
                  <a:gd name="connsiteY1" fmla="*/ 297799 h 297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5822" h="297798">
                    <a:moveTo>
                      <a:pt x="0" y="0"/>
                    </a:moveTo>
                    <a:lnTo>
                      <a:pt x="515823" y="297799"/>
                    </a:lnTo>
                  </a:path>
                </a:pathLst>
              </a:custGeom>
              <a:noFill/>
              <a:ln w="29152" cap="flat">
                <a:solidFill>
                  <a:srgbClr val="FFFFFF">
                    <a:alpha val="10000"/>
                  </a:srgb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73" name="Freeform: Shape 922">
                <a:extLst>
                  <a:ext uri="{FF2B5EF4-FFF2-40B4-BE49-F238E27FC236}">
                    <a16:creationId xmlns:a16="http://schemas.microsoft.com/office/drawing/2014/main" id="{56ECC11B-79DD-1112-D062-2ED750716EC7}"/>
                  </a:ext>
                </a:extLst>
              </p:cNvPr>
              <p:cNvSpPr/>
              <p:nvPr/>
            </p:nvSpPr>
            <p:spPr>
              <a:xfrm>
                <a:off x="8564092" y="4616617"/>
                <a:ext cx="515832" cy="297803"/>
              </a:xfrm>
              <a:custGeom>
                <a:avLst/>
                <a:gdLst>
                  <a:gd name="connsiteX0" fmla="*/ 0 w 515832"/>
                  <a:gd name="connsiteY0" fmla="*/ 0 h 297803"/>
                  <a:gd name="connsiteX1" fmla="*/ 515832 w 515832"/>
                  <a:gd name="connsiteY1" fmla="*/ 297804 h 2978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5832" h="297803">
                    <a:moveTo>
                      <a:pt x="0" y="0"/>
                    </a:moveTo>
                    <a:lnTo>
                      <a:pt x="515832" y="297804"/>
                    </a:lnTo>
                  </a:path>
                </a:pathLst>
              </a:custGeom>
              <a:noFill/>
              <a:ln w="29152" cap="flat">
                <a:solidFill>
                  <a:srgbClr val="FFFFFF">
                    <a:alpha val="10000"/>
                  </a:srgb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165" name="Freeform: Shape 801">
              <a:extLst>
                <a:ext uri="{FF2B5EF4-FFF2-40B4-BE49-F238E27FC236}">
                  <a16:creationId xmlns:a16="http://schemas.microsoft.com/office/drawing/2014/main" id="{E0B947B5-E6FF-E819-D796-A6B4364E9538}"/>
                </a:ext>
              </a:extLst>
            </p:cNvPr>
            <p:cNvSpPr/>
            <p:nvPr/>
          </p:nvSpPr>
          <p:spPr>
            <a:xfrm>
              <a:off x="5942109" y="5254922"/>
              <a:ext cx="708087" cy="387623"/>
            </a:xfrm>
            <a:custGeom>
              <a:avLst/>
              <a:gdLst>
                <a:gd name="connsiteX0" fmla="*/ 491957 w 708087"/>
                <a:gd name="connsiteY0" fmla="*/ 26614 h 387623"/>
                <a:gd name="connsiteX1" fmla="*/ 345481 w 708087"/>
                <a:gd name="connsiteY1" fmla="*/ 3318 h 387623"/>
                <a:gd name="connsiteX2" fmla="*/ 246083 w 708087"/>
                <a:gd name="connsiteY2" fmla="*/ 66349 h 387623"/>
                <a:gd name="connsiteX3" fmla="*/ 222412 w 708087"/>
                <a:gd name="connsiteY3" fmla="*/ 64201 h 387623"/>
                <a:gd name="connsiteX4" fmla="*/ 29669 w 708087"/>
                <a:gd name="connsiteY4" fmla="*/ 116694 h 387623"/>
                <a:gd name="connsiteX5" fmla="*/ 39137 w 708087"/>
                <a:gd name="connsiteY5" fmla="*/ 243748 h 387623"/>
                <a:gd name="connsiteX6" fmla="*/ 39448 w 708087"/>
                <a:gd name="connsiteY6" fmla="*/ 253746 h 387623"/>
                <a:gd name="connsiteX7" fmla="*/ 70837 w 708087"/>
                <a:gd name="connsiteY7" fmla="*/ 366704 h 387623"/>
                <a:gd name="connsiteX8" fmla="*/ 269943 w 708087"/>
                <a:gd name="connsiteY8" fmla="*/ 363638 h 387623"/>
                <a:gd name="connsiteX9" fmla="*/ 670999 w 708087"/>
                <a:gd name="connsiteY9" fmla="*/ 132121 h 387623"/>
                <a:gd name="connsiteX10" fmla="*/ 673877 w 708087"/>
                <a:gd name="connsiteY10" fmla="*/ 31178 h 387623"/>
                <a:gd name="connsiteX11" fmla="*/ 495714 w 708087"/>
                <a:gd name="connsiteY11" fmla="*/ 25103 h 387623"/>
                <a:gd name="connsiteX12" fmla="*/ 491957 w 708087"/>
                <a:gd name="connsiteY12" fmla="*/ 26619 h 387623"/>
                <a:gd name="connsiteX13" fmla="*/ 491957 w 708087"/>
                <a:gd name="connsiteY13" fmla="*/ 26614 h 387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08087" h="387623">
                  <a:moveTo>
                    <a:pt x="491957" y="26614"/>
                  </a:moveTo>
                  <a:cubicBezTo>
                    <a:pt x="449238" y="3405"/>
                    <a:pt x="400171" y="-5436"/>
                    <a:pt x="345481" y="3318"/>
                  </a:cubicBezTo>
                  <a:cubicBezTo>
                    <a:pt x="290707" y="12081"/>
                    <a:pt x="258779" y="34119"/>
                    <a:pt x="246083" y="66349"/>
                  </a:cubicBezTo>
                  <a:cubicBezTo>
                    <a:pt x="238160" y="65620"/>
                    <a:pt x="230316" y="64657"/>
                    <a:pt x="222412" y="64201"/>
                  </a:cubicBezTo>
                  <a:cubicBezTo>
                    <a:pt x="138768" y="59374"/>
                    <a:pt x="72038" y="75905"/>
                    <a:pt x="29669" y="116694"/>
                  </a:cubicBezTo>
                  <a:cubicBezTo>
                    <a:pt x="-13532" y="158286"/>
                    <a:pt x="-8856" y="201525"/>
                    <a:pt x="39137" y="243748"/>
                  </a:cubicBezTo>
                  <a:cubicBezTo>
                    <a:pt x="43434" y="247534"/>
                    <a:pt x="43531" y="250135"/>
                    <a:pt x="39448" y="253746"/>
                  </a:cubicBezTo>
                  <a:cubicBezTo>
                    <a:pt x="-1128" y="289636"/>
                    <a:pt x="12803" y="339301"/>
                    <a:pt x="70837" y="366704"/>
                  </a:cubicBezTo>
                  <a:cubicBezTo>
                    <a:pt x="132128" y="395649"/>
                    <a:pt x="216400" y="394492"/>
                    <a:pt x="269943" y="363638"/>
                  </a:cubicBezTo>
                  <a:cubicBezTo>
                    <a:pt x="403749" y="286535"/>
                    <a:pt x="537364" y="209321"/>
                    <a:pt x="670999" y="132121"/>
                  </a:cubicBezTo>
                  <a:cubicBezTo>
                    <a:pt x="719352" y="104188"/>
                    <a:pt x="720547" y="59549"/>
                    <a:pt x="673877" y="31178"/>
                  </a:cubicBezTo>
                  <a:cubicBezTo>
                    <a:pt x="623828" y="752"/>
                    <a:pt x="548432" y="-1815"/>
                    <a:pt x="495714" y="25103"/>
                  </a:cubicBezTo>
                  <a:cubicBezTo>
                    <a:pt x="494927" y="25501"/>
                    <a:pt x="493984" y="25807"/>
                    <a:pt x="491957" y="26619"/>
                  </a:cubicBezTo>
                  <a:lnTo>
                    <a:pt x="491957" y="26614"/>
                  </a:lnTo>
                  <a:close/>
                </a:path>
              </a:pathLst>
            </a:custGeom>
            <a:noFill/>
            <a:ln w="6316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66" name="Freeform: Shape 802">
              <a:extLst>
                <a:ext uri="{FF2B5EF4-FFF2-40B4-BE49-F238E27FC236}">
                  <a16:creationId xmlns:a16="http://schemas.microsoft.com/office/drawing/2014/main" id="{EA0FC491-E183-DCAB-E800-F3285894C1D4}"/>
                </a:ext>
              </a:extLst>
            </p:cNvPr>
            <p:cNvSpPr/>
            <p:nvPr/>
          </p:nvSpPr>
          <p:spPr>
            <a:xfrm>
              <a:off x="6716159" y="5769340"/>
              <a:ext cx="708087" cy="387622"/>
            </a:xfrm>
            <a:custGeom>
              <a:avLst/>
              <a:gdLst>
                <a:gd name="connsiteX0" fmla="*/ 491959 w 708087"/>
                <a:gd name="connsiteY0" fmla="*/ 26618 h 387622"/>
                <a:gd name="connsiteX1" fmla="*/ 345477 w 708087"/>
                <a:gd name="connsiteY1" fmla="*/ 3317 h 387622"/>
                <a:gd name="connsiteX2" fmla="*/ 246085 w 708087"/>
                <a:gd name="connsiteY2" fmla="*/ 66348 h 387622"/>
                <a:gd name="connsiteX3" fmla="*/ 222414 w 708087"/>
                <a:gd name="connsiteY3" fmla="*/ 64200 h 387622"/>
                <a:gd name="connsiteX4" fmla="*/ 29670 w 708087"/>
                <a:gd name="connsiteY4" fmla="*/ 116693 h 387622"/>
                <a:gd name="connsiteX5" fmla="*/ 39139 w 708087"/>
                <a:gd name="connsiteY5" fmla="*/ 243752 h 387622"/>
                <a:gd name="connsiteX6" fmla="*/ 39450 w 708087"/>
                <a:gd name="connsiteY6" fmla="*/ 253745 h 387622"/>
                <a:gd name="connsiteX7" fmla="*/ 70834 w 708087"/>
                <a:gd name="connsiteY7" fmla="*/ 366704 h 387622"/>
                <a:gd name="connsiteX8" fmla="*/ 269940 w 708087"/>
                <a:gd name="connsiteY8" fmla="*/ 363637 h 387622"/>
                <a:gd name="connsiteX9" fmla="*/ 671001 w 708087"/>
                <a:gd name="connsiteY9" fmla="*/ 132121 h 387622"/>
                <a:gd name="connsiteX10" fmla="*/ 673873 w 708087"/>
                <a:gd name="connsiteY10" fmla="*/ 31177 h 387622"/>
                <a:gd name="connsiteX11" fmla="*/ 495716 w 708087"/>
                <a:gd name="connsiteY11" fmla="*/ 25102 h 387622"/>
                <a:gd name="connsiteX12" fmla="*/ 491959 w 708087"/>
                <a:gd name="connsiteY12" fmla="*/ 26618 h 387622"/>
                <a:gd name="connsiteX13" fmla="*/ 491959 w 708087"/>
                <a:gd name="connsiteY13" fmla="*/ 26618 h 387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08087" h="387622">
                  <a:moveTo>
                    <a:pt x="491959" y="26618"/>
                  </a:moveTo>
                  <a:cubicBezTo>
                    <a:pt x="449240" y="3409"/>
                    <a:pt x="400168" y="-5437"/>
                    <a:pt x="345477" y="3317"/>
                  </a:cubicBezTo>
                  <a:cubicBezTo>
                    <a:pt x="290709" y="12081"/>
                    <a:pt x="258776" y="34118"/>
                    <a:pt x="246085" y="66348"/>
                  </a:cubicBezTo>
                  <a:cubicBezTo>
                    <a:pt x="238157" y="65619"/>
                    <a:pt x="230312" y="64657"/>
                    <a:pt x="222414" y="64200"/>
                  </a:cubicBezTo>
                  <a:cubicBezTo>
                    <a:pt x="138770" y="59373"/>
                    <a:pt x="72039" y="75904"/>
                    <a:pt x="29670" y="116693"/>
                  </a:cubicBezTo>
                  <a:cubicBezTo>
                    <a:pt x="-13530" y="158290"/>
                    <a:pt x="-8859" y="201524"/>
                    <a:pt x="39139" y="243752"/>
                  </a:cubicBezTo>
                  <a:cubicBezTo>
                    <a:pt x="43435" y="247534"/>
                    <a:pt x="43528" y="250134"/>
                    <a:pt x="39450" y="253745"/>
                  </a:cubicBezTo>
                  <a:cubicBezTo>
                    <a:pt x="-1131" y="289635"/>
                    <a:pt x="12800" y="339300"/>
                    <a:pt x="70834" y="366704"/>
                  </a:cubicBezTo>
                  <a:cubicBezTo>
                    <a:pt x="132130" y="395648"/>
                    <a:pt x="216402" y="394491"/>
                    <a:pt x="269940" y="363637"/>
                  </a:cubicBezTo>
                  <a:cubicBezTo>
                    <a:pt x="403750" y="286539"/>
                    <a:pt x="537361" y="209320"/>
                    <a:pt x="671001" y="132121"/>
                  </a:cubicBezTo>
                  <a:cubicBezTo>
                    <a:pt x="719348" y="104187"/>
                    <a:pt x="720549" y="59548"/>
                    <a:pt x="673873" y="31177"/>
                  </a:cubicBezTo>
                  <a:cubicBezTo>
                    <a:pt x="623830" y="756"/>
                    <a:pt x="548433" y="-1816"/>
                    <a:pt x="495716" y="25102"/>
                  </a:cubicBezTo>
                  <a:cubicBezTo>
                    <a:pt x="494924" y="25505"/>
                    <a:pt x="493981" y="25807"/>
                    <a:pt x="491959" y="26618"/>
                  </a:cubicBezTo>
                  <a:lnTo>
                    <a:pt x="491959" y="26618"/>
                  </a:lnTo>
                  <a:close/>
                </a:path>
              </a:pathLst>
            </a:custGeom>
            <a:noFill/>
            <a:ln w="6316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67" name="Freeform: Shape 803">
              <a:extLst>
                <a:ext uri="{FF2B5EF4-FFF2-40B4-BE49-F238E27FC236}">
                  <a16:creationId xmlns:a16="http://schemas.microsoft.com/office/drawing/2014/main" id="{2AD0E7E7-BF4A-5189-0B24-F28CEA0C2B64}"/>
                </a:ext>
              </a:extLst>
            </p:cNvPr>
            <p:cNvSpPr/>
            <p:nvPr/>
          </p:nvSpPr>
          <p:spPr>
            <a:xfrm>
              <a:off x="9969603" y="5498362"/>
              <a:ext cx="708089" cy="387623"/>
            </a:xfrm>
            <a:custGeom>
              <a:avLst/>
              <a:gdLst>
                <a:gd name="connsiteX0" fmla="*/ 491975 w 708089"/>
                <a:gd name="connsiteY0" fmla="*/ 26618 h 387623"/>
                <a:gd name="connsiteX1" fmla="*/ 345479 w 708089"/>
                <a:gd name="connsiteY1" fmla="*/ 3317 h 387623"/>
                <a:gd name="connsiteX2" fmla="*/ 246081 w 708089"/>
                <a:gd name="connsiteY2" fmla="*/ 66348 h 387623"/>
                <a:gd name="connsiteX3" fmla="*/ 222410 w 708089"/>
                <a:gd name="connsiteY3" fmla="*/ 64200 h 387623"/>
                <a:gd name="connsiteX4" fmla="*/ 29642 w 708089"/>
                <a:gd name="connsiteY4" fmla="*/ 116698 h 387623"/>
                <a:gd name="connsiteX5" fmla="*/ 39120 w 708089"/>
                <a:gd name="connsiteY5" fmla="*/ 243752 h 387623"/>
                <a:gd name="connsiteX6" fmla="*/ 39461 w 708089"/>
                <a:gd name="connsiteY6" fmla="*/ 253745 h 387623"/>
                <a:gd name="connsiteX7" fmla="*/ 70811 w 708089"/>
                <a:gd name="connsiteY7" fmla="*/ 366704 h 387623"/>
                <a:gd name="connsiteX8" fmla="*/ 269946 w 708089"/>
                <a:gd name="connsiteY8" fmla="*/ 363642 h 387623"/>
                <a:gd name="connsiteX9" fmla="*/ 670987 w 708089"/>
                <a:gd name="connsiteY9" fmla="*/ 132121 h 387623"/>
                <a:gd name="connsiteX10" fmla="*/ 673855 w 708089"/>
                <a:gd name="connsiteY10" fmla="*/ 31178 h 387623"/>
                <a:gd name="connsiteX11" fmla="*/ 495717 w 708089"/>
                <a:gd name="connsiteY11" fmla="*/ 25102 h 387623"/>
                <a:gd name="connsiteX12" fmla="*/ 491975 w 708089"/>
                <a:gd name="connsiteY12" fmla="*/ 26623 h 387623"/>
                <a:gd name="connsiteX13" fmla="*/ 491975 w 708089"/>
                <a:gd name="connsiteY13" fmla="*/ 26618 h 387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08089" h="387623">
                  <a:moveTo>
                    <a:pt x="491975" y="26618"/>
                  </a:moveTo>
                  <a:cubicBezTo>
                    <a:pt x="449250" y="3409"/>
                    <a:pt x="400159" y="-5437"/>
                    <a:pt x="345479" y="3317"/>
                  </a:cubicBezTo>
                  <a:cubicBezTo>
                    <a:pt x="290700" y="12085"/>
                    <a:pt x="258767" y="34118"/>
                    <a:pt x="246081" y="66348"/>
                  </a:cubicBezTo>
                  <a:cubicBezTo>
                    <a:pt x="238158" y="65619"/>
                    <a:pt x="230284" y="64657"/>
                    <a:pt x="222410" y="64200"/>
                  </a:cubicBezTo>
                  <a:cubicBezTo>
                    <a:pt x="138761" y="59373"/>
                    <a:pt x="72026" y="75904"/>
                    <a:pt x="29642" y="116698"/>
                  </a:cubicBezTo>
                  <a:cubicBezTo>
                    <a:pt x="-13519" y="158290"/>
                    <a:pt x="-8853" y="201524"/>
                    <a:pt x="39120" y="243752"/>
                  </a:cubicBezTo>
                  <a:cubicBezTo>
                    <a:pt x="43446" y="247534"/>
                    <a:pt x="43543" y="250134"/>
                    <a:pt x="39461" y="253745"/>
                  </a:cubicBezTo>
                  <a:cubicBezTo>
                    <a:pt x="-1125" y="289635"/>
                    <a:pt x="12776" y="339300"/>
                    <a:pt x="70811" y="366704"/>
                  </a:cubicBezTo>
                  <a:cubicBezTo>
                    <a:pt x="132102" y="395648"/>
                    <a:pt x="216383" y="394491"/>
                    <a:pt x="269946" y="363642"/>
                  </a:cubicBezTo>
                  <a:cubicBezTo>
                    <a:pt x="403756" y="286539"/>
                    <a:pt x="537372" y="209320"/>
                    <a:pt x="670987" y="132121"/>
                  </a:cubicBezTo>
                  <a:cubicBezTo>
                    <a:pt x="719349" y="104192"/>
                    <a:pt x="720564" y="59548"/>
                    <a:pt x="673855" y="31178"/>
                  </a:cubicBezTo>
                  <a:cubicBezTo>
                    <a:pt x="623840" y="756"/>
                    <a:pt x="548405" y="-1816"/>
                    <a:pt x="495717" y="25102"/>
                  </a:cubicBezTo>
                  <a:cubicBezTo>
                    <a:pt x="494939" y="25505"/>
                    <a:pt x="493967" y="25812"/>
                    <a:pt x="491975" y="26623"/>
                  </a:cubicBezTo>
                  <a:lnTo>
                    <a:pt x="491975" y="26618"/>
                  </a:lnTo>
                  <a:close/>
                </a:path>
              </a:pathLst>
            </a:custGeom>
            <a:noFill/>
            <a:ln w="6316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68" name="Freeform: Shape 804">
              <a:extLst>
                <a:ext uri="{FF2B5EF4-FFF2-40B4-BE49-F238E27FC236}">
                  <a16:creationId xmlns:a16="http://schemas.microsoft.com/office/drawing/2014/main" id="{4B45942B-2413-77A6-05C8-A60A21E7F6E5}"/>
                </a:ext>
              </a:extLst>
            </p:cNvPr>
            <p:cNvSpPr/>
            <p:nvPr/>
          </p:nvSpPr>
          <p:spPr>
            <a:xfrm>
              <a:off x="6602706" y="5102193"/>
              <a:ext cx="867601" cy="297803"/>
            </a:xfrm>
            <a:custGeom>
              <a:avLst/>
              <a:gdLst>
                <a:gd name="connsiteX0" fmla="*/ 867602 w 867601"/>
                <a:gd name="connsiteY0" fmla="*/ 297804 h 297803"/>
                <a:gd name="connsiteX1" fmla="*/ 351794 w 867601"/>
                <a:gd name="connsiteY1" fmla="*/ 0 h 297803"/>
                <a:gd name="connsiteX2" fmla="*/ 0 w 867601"/>
                <a:gd name="connsiteY2" fmla="*/ 185409 h 297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67601" h="297803">
                  <a:moveTo>
                    <a:pt x="867602" y="297804"/>
                  </a:moveTo>
                  <a:lnTo>
                    <a:pt x="351794" y="0"/>
                  </a:lnTo>
                  <a:lnTo>
                    <a:pt x="0" y="185409"/>
                  </a:lnTo>
                </a:path>
              </a:pathLst>
            </a:custGeom>
            <a:noFill/>
            <a:ln w="6350" cap="flat">
              <a:solidFill>
                <a:srgbClr val="FFFFFF">
                  <a:alpha val="75000"/>
                </a:srgbClr>
              </a:solidFill>
              <a:custDash>
                <a:ds d="225000" sp="300000"/>
              </a:custDash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69" name="Freeform: Shape 805">
              <a:extLst>
                <a:ext uri="{FF2B5EF4-FFF2-40B4-BE49-F238E27FC236}">
                  <a16:creationId xmlns:a16="http://schemas.microsoft.com/office/drawing/2014/main" id="{6BF24BE7-8294-3387-36F2-EFA619942868}"/>
                </a:ext>
              </a:extLst>
            </p:cNvPr>
            <p:cNvSpPr/>
            <p:nvPr/>
          </p:nvSpPr>
          <p:spPr>
            <a:xfrm>
              <a:off x="6578934" y="5054652"/>
              <a:ext cx="891374" cy="297803"/>
            </a:xfrm>
            <a:custGeom>
              <a:avLst/>
              <a:gdLst>
                <a:gd name="connsiteX0" fmla="*/ 891375 w 891374"/>
                <a:gd name="connsiteY0" fmla="*/ 297804 h 297803"/>
                <a:gd name="connsiteX1" fmla="*/ 375567 w 891374"/>
                <a:gd name="connsiteY1" fmla="*/ 0 h 297803"/>
                <a:gd name="connsiteX2" fmla="*/ 0 w 891374"/>
                <a:gd name="connsiteY2" fmla="*/ 209177 h 297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91374" h="297803">
                  <a:moveTo>
                    <a:pt x="891375" y="297804"/>
                  </a:moveTo>
                  <a:lnTo>
                    <a:pt x="375567" y="0"/>
                  </a:lnTo>
                  <a:lnTo>
                    <a:pt x="0" y="209177"/>
                  </a:lnTo>
                </a:path>
              </a:pathLst>
            </a:custGeom>
            <a:noFill/>
            <a:ln w="6350" cap="flat">
              <a:solidFill>
                <a:srgbClr val="FFFFFF">
                  <a:alpha val="75000"/>
                </a:srgbClr>
              </a:solidFill>
              <a:custDash>
                <a:ds d="225000" sp="300000"/>
              </a:custDash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70" name="Freeform: Shape 806">
              <a:extLst>
                <a:ext uri="{FF2B5EF4-FFF2-40B4-BE49-F238E27FC236}">
                  <a16:creationId xmlns:a16="http://schemas.microsoft.com/office/drawing/2014/main" id="{51FA3E59-0C73-3F68-2470-366048C911BD}"/>
                </a:ext>
              </a:extLst>
            </p:cNvPr>
            <p:cNvSpPr/>
            <p:nvPr/>
          </p:nvSpPr>
          <p:spPr>
            <a:xfrm>
              <a:off x="5776360" y="4223689"/>
              <a:ext cx="1742339" cy="551464"/>
            </a:xfrm>
            <a:custGeom>
              <a:avLst/>
              <a:gdLst>
                <a:gd name="connsiteX0" fmla="*/ 1742339 w 1742339"/>
                <a:gd name="connsiteY0" fmla="*/ 492720 h 551464"/>
                <a:gd name="connsiteX1" fmla="*/ 931785 w 1742339"/>
                <a:gd name="connsiteY1" fmla="*/ 0 h 551464"/>
                <a:gd name="connsiteX2" fmla="*/ 0 w 1742339"/>
                <a:gd name="connsiteY2" fmla="*/ 551464 h 551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2339" h="551464">
                  <a:moveTo>
                    <a:pt x="1742339" y="492720"/>
                  </a:moveTo>
                  <a:lnTo>
                    <a:pt x="931785" y="0"/>
                  </a:lnTo>
                  <a:lnTo>
                    <a:pt x="0" y="551464"/>
                  </a:lnTo>
                </a:path>
              </a:pathLst>
            </a:custGeom>
            <a:noFill/>
            <a:ln w="6350" cap="flat">
              <a:solidFill>
                <a:srgbClr val="FFFFFF">
                  <a:alpha val="75000"/>
                </a:srgbClr>
              </a:solidFill>
              <a:custDash>
                <a:ds d="225000" sp="300000"/>
              </a:custDash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71" name="Freeform: Shape 807">
              <a:extLst>
                <a:ext uri="{FF2B5EF4-FFF2-40B4-BE49-F238E27FC236}">
                  <a16:creationId xmlns:a16="http://schemas.microsoft.com/office/drawing/2014/main" id="{E6C2FB4E-8017-5732-C05B-C5D226CDFB56}"/>
                </a:ext>
              </a:extLst>
            </p:cNvPr>
            <p:cNvSpPr/>
            <p:nvPr/>
          </p:nvSpPr>
          <p:spPr>
            <a:xfrm>
              <a:off x="5714559" y="4161887"/>
              <a:ext cx="1799387" cy="599004"/>
            </a:xfrm>
            <a:custGeom>
              <a:avLst/>
              <a:gdLst>
                <a:gd name="connsiteX0" fmla="*/ 1799387 w 1799387"/>
                <a:gd name="connsiteY0" fmla="*/ 492720 h 599004"/>
                <a:gd name="connsiteX1" fmla="*/ 988833 w 1799387"/>
                <a:gd name="connsiteY1" fmla="*/ 0 h 599004"/>
                <a:gd name="connsiteX2" fmla="*/ 0 w 1799387"/>
                <a:gd name="connsiteY2" fmla="*/ 599005 h 599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99387" h="599004">
                  <a:moveTo>
                    <a:pt x="1799387" y="492720"/>
                  </a:moveTo>
                  <a:lnTo>
                    <a:pt x="988833" y="0"/>
                  </a:lnTo>
                  <a:lnTo>
                    <a:pt x="0" y="599005"/>
                  </a:lnTo>
                </a:path>
              </a:pathLst>
            </a:custGeom>
            <a:noFill/>
            <a:ln w="6350" cap="flat">
              <a:solidFill>
                <a:srgbClr val="FFFFFF">
                  <a:alpha val="75000"/>
                </a:srgbClr>
              </a:solidFill>
              <a:custDash>
                <a:ds d="225000" sp="300000"/>
              </a:custDash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72" name="Freeform: Shape 808">
              <a:extLst>
                <a:ext uri="{FF2B5EF4-FFF2-40B4-BE49-F238E27FC236}">
                  <a16:creationId xmlns:a16="http://schemas.microsoft.com/office/drawing/2014/main" id="{D5E57AB8-8BEE-2A32-6059-9155E3D9C699}"/>
                </a:ext>
              </a:extLst>
            </p:cNvPr>
            <p:cNvSpPr/>
            <p:nvPr/>
          </p:nvSpPr>
          <p:spPr>
            <a:xfrm>
              <a:off x="6395021" y="3639162"/>
              <a:ext cx="1285956" cy="801728"/>
            </a:xfrm>
            <a:custGeom>
              <a:avLst/>
              <a:gdLst>
                <a:gd name="connsiteX0" fmla="*/ 1285956 w 1285956"/>
                <a:gd name="connsiteY0" fmla="*/ 801728 h 801728"/>
                <a:gd name="connsiteX1" fmla="*/ 0 w 1285956"/>
                <a:gd name="connsiteY1" fmla="*/ 0 h 801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5956" h="801728">
                  <a:moveTo>
                    <a:pt x="1285956" y="801728"/>
                  </a:move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rgbClr val="FFFFFF">
                  <a:alpha val="75000"/>
                </a:srgbClr>
              </a:solidFill>
              <a:custDash>
                <a:ds d="225000" sp="300000"/>
              </a:custDash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73" name="Freeform: Shape 809">
              <a:extLst>
                <a:ext uri="{FF2B5EF4-FFF2-40B4-BE49-F238E27FC236}">
                  <a16:creationId xmlns:a16="http://schemas.microsoft.com/office/drawing/2014/main" id="{65408D83-0C1A-42D8-54C1-999A13603589}"/>
                </a:ext>
              </a:extLst>
            </p:cNvPr>
            <p:cNvSpPr/>
            <p:nvPr/>
          </p:nvSpPr>
          <p:spPr>
            <a:xfrm>
              <a:off x="6356137" y="3667472"/>
              <a:ext cx="1285956" cy="801726"/>
            </a:xfrm>
            <a:custGeom>
              <a:avLst/>
              <a:gdLst>
                <a:gd name="connsiteX0" fmla="*/ 1285956 w 1285956"/>
                <a:gd name="connsiteY0" fmla="*/ 801726 h 801726"/>
                <a:gd name="connsiteX1" fmla="*/ 0 w 1285956"/>
                <a:gd name="connsiteY1" fmla="*/ 0 h 801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5956" h="801726">
                  <a:moveTo>
                    <a:pt x="1285956" y="801726"/>
                  </a:move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rgbClr val="FFFFFF">
                  <a:alpha val="75000"/>
                </a:srgbClr>
              </a:solidFill>
              <a:custDash>
                <a:ds d="225000" sp="300000"/>
              </a:custDash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74" name="Freeform: Shape 810">
              <a:extLst>
                <a:ext uri="{FF2B5EF4-FFF2-40B4-BE49-F238E27FC236}">
                  <a16:creationId xmlns:a16="http://schemas.microsoft.com/office/drawing/2014/main" id="{9040952D-E8AB-54E7-1E8A-4471ACAE27B4}"/>
                </a:ext>
              </a:extLst>
            </p:cNvPr>
            <p:cNvSpPr/>
            <p:nvPr/>
          </p:nvSpPr>
          <p:spPr>
            <a:xfrm>
              <a:off x="9959874" y="4261722"/>
              <a:ext cx="1742349" cy="551464"/>
            </a:xfrm>
            <a:custGeom>
              <a:avLst/>
              <a:gdLst>
                <a:gd name="connsiteX0" fmla="*/ 1742350 w 1742349"/>
                <a:gd name="connsiteY0" fmla="*/ 492715 h 551464"/>
                <a:gd name="connsiteX1" fmla="*/ 931810 w 1742349"/>
                <a:gd name="connsiteY1" fmla="*/ 0 h 551464"/>
                <a:gd name="connsiteX2" fmla="*/ 0 w 1742349"/>
                <a:gd name="connsiteY2" fmla="*/ 551464 h 551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2349" h="551464">
                  <a:moveTo>
                    <a:pt x="1742350" y="492715"/>
                  </a:moveTo>
                  <a:lnTo>
                    <a:pt x="931810" y="0"/>
                  </a:lnTo>
                  <a:lnTo>
                    <a:pt x="0" y="551464"/>
                  </a:lnTo>
                </a:path>
              </a:pathLst>
            </a:custGeom>
            <a:noFill/>
            <a:ln w="6350" cap="flat">
              <a:solidFill>
                <a:srgbClr val="FFFFFF">
                  <a:alpha val="75000"/>
                </a:srgbClr>
              </a:solidFill>
              <a:custDash>
                <a:ds d="225000" sp="300000"/>
              </a:custDash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75" name="Freeform: Shape 811">
              <a:extLst>
                <a:ext uri="{FF2B5EF4-FFF2-40B4-BE49-F238E27FC236}">
                  <a16:creationId xmlns:a16="http://schemas.microsoft.com/office/drawing/2014/main" id="{BF9DE064-009A-6BD0-B111-22AD83372A28}"/>
                </a:ext>
              </a:extLst>
            </p:cNvPr>
            <p:cNvSpPr/>
            <p:nvPr/>
          </p:nvSpPr>
          <p:spPr>
            <a:xfrm>
              <a:off x="9959874" y="4825965"/>
              <a:ext cx="1026881" cy="492715"/>
            </a:xfrm>
            <a:custGeom>
              <a:avLst/>
              <a:gdLst>
                <a:gd name="connsiteX0" fmla="*/ 0 w 1026881"/>
                <a:gd name="connsiteY0" fmla="*/ 0 h 492715"/>
                <a:gd name="connsiteX1" fmla="*/ 810540 w 1026881"/>
                <a:gd name="connsiteY1" fmla="*/ 492715 h 492715"/>
                <a:gd name="connsiteX2" fmla="*/ 1026881 w 1026881"/>
                <a:gd name="connsiteY2" fmla="*/ 367834 h 492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26881" h="492715">
                  <a:moveTo>
                    <a:pt x="0" y="0"/>
                  </a:moveTo>
                  <a:lnTo>
                    <a:pt x="810540" y="492715"/>
                  </a:lnTo>
                  <a:lnTo>
                    <a:pt x="1026881" y="367834"/>
                  </a:lnTo>
                </a:path>
              </a:pathLst>
            </a:custGeom>
            <a:noFill/>
            <a:ln w="6350" cap="flat">
              <a:solidFill>
                <a:srgbClr val="FFFFFF">
                  <a:alpha val="75000"/>
                </a:srgbClr>
              </a:solidFill>
              <a:custDash>
                <a:ds d="225000" sp="300000"/>
              </a:custDash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76" name="Freeform: Shape 812">
              <a:extLst>
                <a:ext uri="{FF2B5EF4-FFF2-40B4-BE49-F238E27FC236}">
                  <a16:creationId xmlns:a16="http://schemas.microsoft.com/office/drawing/2014/main" id="{5826DD3F-F3D2-DCC4-C23E-2233C57DA162}"/>
                </a:ext>
              </a:extLst>
            </p:cNvPr>
            <p:cNvSpPr/>
            <p:nvPr/>
          </p:nvSpPr>
          <p:spPr>
            <a:xfrm>
              <a:off x="9964735" y="4894012"/>
              <a:ext cx="1087637" cy="492715"/>
            </a:xfrm>
            <a:custGeom>
              <a:avLst/>
              <a:gdLst>
                <a:gd name="connsiteX0" fmla="*/ 0 w 1087637"/>
                <a:gd name="connsiteY0" fmla="*/ 0 h 492715"/>
                <a:gd name="connsiteX1" fmla="*/ 810540 w 1087637"/>
                <a:gd name="connsiteY1" fmla="*/ 492715 h 492715"/>
                <a:gd name="connsiteX2" fmla="*/ 1087638 w 1087637"/>
                <a:gd name="connsiteY2" fmla="*/ 334904 h 492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87637" h="492715">
                  <a:moveTo>
                    <a:pt x="0" y="0"/>
                  </a:moveTo>
                  <a:lnTo>
                    <a:pt x="810540" y="492715"/>
                  </a:lnTo>
                  <a:lnTo>
                    <a:pt x="1087638" y="334904"/>
                  </a:lnTo>
                </a:path>
              </a:pathLst>
            </a:custGeom>
            <a:noFill/>
            <a:ln w="6350" cap="flat">
              <a:solidFill>
                <a:srgbClr val="FFFFFF">
                  <a:alpha val="75000"/>
                </a:srgbClr>
              </a:solidFill>
              <a:custDash>
                <a:ds d="225000" sp="300000"/>
              </a:custDash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77" name="Freeform: Shape 813">
              <a:extLst>
                <a:ext uri="{FF2B5EF4-FFF2-40B4-BE49-F238E27FC236}">
                  <a16:creationId xmlns:a16="http://schemas.microsoft.com/office/drawing/2014/main" id="{84B444B1-DEF1-171D-D316-F814165F7CCB}"/>
                </a:ext>
              </a:extLst>
            </p:cNvPr>
            <p:cNvSpPr/>
            <p:nvPr/>
          </p:nvSpPr>
          <p:spPr>
            <a:xfrm>
              <a:off x="9898097" y="4028777"/>
              <a:ext cx="2106013" cy="770148"/>
            </a:xfrm>
            <a:custGeom>
              <a:avLst/>
              <a:gdLst>
                <a:gd name="connsiteX0" fmla="*/ 2106013 w 2106013"/>
                <a:gd name="connsiteY0" fmla="*/ 513431 h 770148"/>
                <a:gd name="connsiteX1" fmla="*/ 1272289 w 2106013"/>
                <a:gd name="connsiteY1" fmla="*/ 0 h 770148"/>
                <a:gd name="connsiteX2" fmla="*/ 0 w 2106013"/>
                <a:gd name="connsiteY2" fmla="*/ 770149 h 770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06013" h="770148">
                  <a:moveTo>
                    <a:pt x="2106013" y="513431"/>
                  </a:moveTo>
                  <a:lnTo>
                    <a:pt x="1272289" y="0"/>
                  </a:lnTo>
                  <a:lnTo>
                    <a:pt x="0" y="770149"/>
                  </a:lnTo>
                </a:path>
              </a:pathLst>
            </a:custGeom>
            <a:noFill/>
            <a:ln w="6350" cap="flat">
              <a:solidFill>
                <a:srgbClr val="FFFFFF">
                  <a:alpha val="75000"/>
                </a:srgbClr>
              </a:solidFill>
              <a:custDash>
                <a:ds d="225000" sp="300000"/>
              </a:custDash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78" name="Freeform: Shape 814">
              <a:extLst>
                <a:ext uri="{FF2B5EF4-FFF2-40B4-BE49-F238E27FC236}">
                  <a16:creationId xmlns:a16="http://schemas.microsoft.com/office/drawing/2014/main" id="{9A004E6D-E498-A9EF-CF5C-BAB18F7863B4}"/>
                </a:ext>
              </a:extLst>
            </p:cNvPr>
            <p:cNvSpPr/>
            <p:nvPr/>
          </p:nvSpPr>
          <p:spPr>
            <a:xfrm>
              <a:off x="7417164" y="5497761"/>
              <a:ext cx="515807" cy="297803"/>
            </a:xfrm>
            <a:custGeom>
              <a:avLst/>
              <a:gdLst>
                <a:gd name="connsiteX0" fmla="*/ 515808 w 515807"/>
                <a:gd name="connsiteY0" fmla="*/ 0 h 297803"/>
                <a:gd name="connsiteX1" fmla="*/ 0 w 515807"/>
                <a:gd name="connsiteY1" fmla="*/ 297804 h 297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5807" h="297803">
                  <a:moveTo>
                    <a:pt x="515808" y="0"/>
                  </a:moveTo>
                  <a:lnTo>
                    <a:pt x="0" y="297804"/>
                  </a:lnTo>
                </a:path>
              </a:pathLst>
            </a:custGeom>
            <a:noFill/>
            <a:ln w="6350" cap="flat">
              <a:solidFill>
                <a:srgbClr val="FFFFFF">
                  <a:alpha val="75000"/>
                </a:srgbClr>
              </a:solidFill>
              <a:custDash>
                <a:ds d="225000" sp="300000"/>
              </a:custDash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79" name="Freeform: Shape 815">
              <a:extLst>
                <a:ext uri="{FF2B5EF4-FFF2-40B4-BE49-F238E27FC236}">
                  <a16:creationId xmlns:a16="http://schemas.microsoft.com/office/drawing/2014/main" id="{08C87BD8-1468-91CE-0618-8DA9FFA0F6EC}"/>
                </a:ext>
              </a:extLst>
            </p:cNvPr>
            <p:cNvSpPr/>
            <p:nvPr/>
          </p:nvSpPr>
          <p:spPr>
            <a:xfrm>
              <a:off x="7386261" y="5469240"/>
              <a:ext cx="515812" cy="297798"/>
            </a:xfrm>
            <a:custGeom>
              <a:avLst/>
              <a:gdLst>
                <a:gd name="connsiteX0" fmla="*/ 515812 w 515812"/>
                <a:gd name="connsiteY0" fmla="*/ 0 h 297798"/>
                <a:gd name="connsiteX1" fmla="*/ 0 w 515812"/>
                <a:gd name="connsiteY1" fmla="*/ 297799 h 297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5812" h="297798">
                  <a:moveTo>
                    <a:pt x="515812" y="0"/>
                  </a:moveTo>
                  <a:lnTo>
                    <a:pt x="0" y="297799"/>
                  </a:lnTo>
                </a:path>
              </a:pathLst>
            </a:custGeom>
            <a:noFill/>
            <a:ln w="6350" cap="flat">
              <a:solidFill>
                <a:srgbClr val="FFFFFF">
                  <a:alpha val="75000"/>
                </a:srgbClr>
              </a:solidFill>
              <a:custDash>
                <a:ds d="225000" sp="300000"/>
              </a:custDash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80" name="Freeform: Shape 816">
              <a:extLst>
                <a:ext uri="{FF2B5EF4-FFF2-40B4-BE49-F238E27FC236}">
                  <a16:creationId xmlns:a16="http://schemas.microsoft.com/office/drawing/2014/main" id="{01F2E1F1-559A-5DFE-ED0C-84D40CC17015}"/>
                </a:ext>
              </a:extLst>
            </p:cNvPr>
            <p:cNvSpPr/>
            <p:nvPr/>
          </p:nvSpPr>
          <p:spPr>
            <a:xfrm>
              <a:off x="9451197" y="5345637"/>
              <a:ext cx="515822" cy="297798"/>
            </a:xfrm>
            <a:custGeom>
              <a:avLst/>
              <a:gdLst>
                <a:gd name="connsiteX0" fmla="*/ 0 w 515822"/>
                <a:gd name="connsiteY0" fmla="*/ 0 h 297798"/>
                <a:gd name="connsiteX1" fmla="*/ 515823 w 515822"/>
                <a:gd name="connsiteY1" fmla="*/ 297799 h 297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5822" h="297798">
                  <a:moveTo>
                    <a:pt x="0" y="0"/>
                  </a:moveTo>
                  <a:lnTo>
                    <a:pt x="515823" y="297799"/>
                  </a:lnTo>
                </a:path>
              </a:pathLst>
            </a:custGeom>
            <a:noFill/>
            <a:ln w="6350" cap="flat">
              <a:solidFill>
                <a:srgbClr val="FFFFFF">
                  <a:alpha val="75000"/>
                </a:srgbClr>
              </a:solidFill>
              <a:custDash>
                <a:ds d="225000" sp="300000"/>
              </a:custDash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81" name="Freeform: Shape 817">
              <a:extLst>
                <a:ext uri="{FF2B5EF4-FFF2-40B4-BE49-F238E27FC236}">
                  <a16:creationId xmlns:a16="http://schemas.microsoft.com/office/drawing/2014/main" id="{71AF7290-1931-E9E4-F103-452485486050}"/>
                </a:ext>
              </a:extLst>
            </p:cNvPr>
            <p:cNvSpPr/>
            <p:nvPr/>
          </p:nvSpPr>
          <p:spPr>
            <a:xfrm>
              <a:off x="9482100" y="5317110"/>
              <a:ext cx="515832" cy="297803"/>
            </a:xfrm>
            <a:custGeom>
              <a:avLst/>
              <a:gdLst>
                <a:gd name="connsiteX0" fmla="*/ 0 w 515832"/>
                <a:gd name="connsiteY0" fmla="*/ 0 h 297803"/>
                <a:gd name="connsiteX1" fmla="*/ 515832 w 515832"/>
                <a:gd name="connsiteY1" fmla="*/ 297804 h 297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5832" h="297803">
                  <a:moveTo>
                    <a:pt x="0" y="0"/>
                  </a:moveTo>
                  <a:lnTo>
                    <a:pt x="515832" y="297804"/>
                  </a:lnTo>
                </a:path>
              </a:pathLst>
            </a:custGeom>
            <a:noFill/>
            <a:ln w="6350" cap="flat">
              <a:solidFill>
                <a:srgbClr val="FFFFFF">
                  <a:alpha val="75000"/>
                </a:srgbClr>
              </a:solidFill>
              <a:custDash>
                <a:ds d="225000" sp="300000"/>
              </a:custDash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grpSp>
          <p:nvGrpSpPr>
            <p:cNvPr id="182" name="Group 181">
              <a:extLst>
                <a:ext uri="{FF2B5EF4-FFF2-40B4-BE49-F238E27FC236}">
                  <a16:creationId xmlns:a16="http://schemas.microsoft.com/office/drawing/2014/main" id="{582A2E06-0AD7-C770-2D2E-D731ACBBBB85}"/>
                </a:ext>
              </a:extLst>
            </p:cNvPr>
            <p:cNvGrpSpPr/>
            <p:nvPr/>
          </p:nvGrpSpPr>
          <p:grpSpPr>
            <a:xfrm>
              <a:off x="10869702" y="4949242"/>
              <a:ext cx="574391" cy="516871"/>
              <a:chOff x="9951694" y="4248749"/>
              <a:chExt cx="574391" cy="516871"/>
            </a:xfrm>
          </p:grpSpPr>
          <p:grpSp>
            <p:nvGrpSpPr>
              <p:cNvPr id="209" name="Graphic 188">
                <a:extLst>
                  <a:ext uri="{FF2B5EF4-FFF2-40B4-BE49-F238E27FC236}">
                    <a16:creationId xmlns:a16="http://schemas.microsoft.com/office/drawing/2014/main" id="{0AF8CAA5-739C-EA06-E747-D74FC45CEA43}"/>
                  </a:ext>
                </a:extLst>
              </p:cNvPr>
              <p:cNvGrpSpPr/>
              <p:nvPr/>
            </p:nvGrpSpPr>
            <p:grpSpPr>
              <a:xfrm>
                <a:off x="9951694" y="4434009"/>
                <a:ext cx="574391" cy="331611"/>
                <a:chOff x="9951694" y="4434009"/>
                <a:chExt cx="574391" cy="331611"/>
              </a:xfrm>
            </p:grpSpPr>
            <p:sp>
              <p:nvSpPr>
                <p:cNvPr id="244" name="Freeform: Shape 893">
                  <a:extLst>
                    <a:ext uri="{FF2B5EF4-FFF2-40B4-BE49-F238E27FC236}">
                      <a16:creationId xmlns:a16="http://schemas.microsoft.com/office/drawing/2014/main" id="{EBD76844-CFC4-21A0-3EBB-2EEE5ED2A939}"/>
                    </a:ext>
                  </a:extLst>
                </p:cNvPr>
                <p:cNvSpPr/>
                <p:nvPr/>
              </p:nvSpPr>
              <p:spPr>
                <a:xfrm>
                  <a:off x="9951694" y="4434009"/>
                  <a:ext cx="355267" cy="205102"/>
                </a:xfrm>
                <a:custGeom>
                  <a:avLst/>
                  <a:gdLst>
                    <a:gd name="connsiteX0" fmla="*/ 8858 w 355267"/>
                    <a:gd name="connsiteY0" fmla="*/ 153445 h 205102"/>
                    <a:gd name="connsiteX1" fmla="*/ 265785 w 355267"/>
                    <a:gd name="connsiteY1" fmla="*/ 5122 h 205102"/>
                    <a:gd name="connsiteX2" fmla="*/ 308606 w 355267"/>
                    <a:gd name="connsiteY2" fmla="*/ 5122 h 205102"/>
                    <a:gd name="connsiteX3" fmla="*/ 346373 w 355267"/>
                    <a:gd name="connsiteY3" fmla="*/ 26936 h 205102"/>
                    <a:gd name="connsiteX4" fmla="*/ 346373 w 355267"/>
                    <a:gd name="connsiteY4" fmla="*/ 51656 h 205102"/>
                    <a:gd name="connsiteX5" fmla="*/ 89494 w 355267"/>
                    <a:gd name="connsiteY5" fmla="*/ 199985 h 205102"/>
                    <a:gd name="connsiteX6" fmla="*/ 46673 w 355267"/>
                    <a:gd name="connsiteY6" fmla="*/ 199985 h 205102"/>
                    <a:gd name="connsiteX7" fmla="*/ 8858 w 355267"/>
                    <a:gd name="connsiteY7" fmla="*/ 178166 h 205102"/>
                    <a:gd name="connsiteX8" fmla="*/ 8858 w 355267"/>
                    <a:gd name="connsiteY8" fmla="*/ 153445 h 2051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55267" h="205102">
                      <a:moveTo>
                        <a:pt x="8858" y="153445"/>
                      </a:moveTo>
                      <a:lnTo>
                        <a:pt x="265785" y="5122"/>
                      </a:lnTo>
                      <a:cubicBezTo>
                        <a:pt x="277596" y="-1707"/>
                        <a:pt x="296795" y="-1707"/>
                        <a:pt x="308606" y="5122"/>
                      </a:cubicBezTo>
                      <a:lnTo>
                        <a:pt x="346373" y="26936"/>
                      </a:lnTo>
                      <a:cubicBezTo>
                        <a:pt x="358232" y="33765"/>
                        <a:pt x="358232" y="44832"/>
                        <a:pt x="346373" y="51656"/>
                      </a:cubicBezTo>
                      <a:lnTo>
                        <a:pt x="89494" y="199985"/>
                      </a:lnTo>
                      <a:cubicBezTo>
                        <a:pt x="77683" y="206809"/>
                        <a:pt x="58484" y="206809"/>
                        <a:pt x="46673" y="199985"/>
                      </a:cubicBezTo>
                      <a:lnTo>
                        <a:pt x="8858" y="178166"/>
                      </a:lnTo>
                      <a:cubicBezTo>
                        <a:pt x="-2953" y="171342"/>
                        <a:pt x="-2953" y="160274"/>
                        <a:pt x="8858" y="153445"/>
                      </a:cubicBezTo>
                      <a:close/>
                    </a:path>
                  </a:pathLst>
                </a:custGeom>
                <a:noFill/>
                <a:ln w="9717" cap="flat">
                  <a:solidFill>
                    <a:srgbClr val="FFFFFF">
                      <a:alpha val="20000"/>
                    </a:srgb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45" name="Freeform: Shape 894">
                  <a:extLst>
                    <a:ext uri="{FF2B5EF4-FFF2-40B4-BE49-F238E27FC236}">
                      <a16:creationId xmlns:a16="http://schemas.microsoft.com/office/drawing/2014/main" id="{B598D409-4B20-9E26-6D61-E9A1944C5A80}"/>
                    </a:ext>
                  </a:extLst>
                </p:cNvPr>
                <p:cNvSpPr/>
                <p:nvPr/>
              </p:nvSpPr>
              <p:spPr>
                <a:xfrm>
                  <a:off x="10061263" y="4497264"/>
                  <a:ext cx="355254" cy="205101"/>
                </a:xfrm>
                <a:custGeom>
                  <a:avLst/>
                  <a:gdLst>
                    <a:gd name="connsiteX0" fmla="*/ 8895 w 355254"/>
                    <a:gd name="connsiteY0" fmla="*/ 153445 h 205101"/>
                    <a:gd name="connsiteX1" fmla="*/ 265773 w 355254"/>
                    <a:gd name="connsiteY1" fmla="*/ 5122 h 205101"/>
                    <a:gd name="connsiteX2" fmla="*/ 308594 w 355254"/>
                    <a:gd name="connsiteY2" fmla="*/ 5122 h 205101"/>
                    <a:gd name="connsiteX3" fmla="*/ 346360 w 355254"/>
                    <a:gd name="connsiteY3" fmla="*/ 26936 h 205101"/>
                    <a:gd name="connsiteX4" fmla="*/ 346360 w 355254"/>
                    <a:gd name="connsiteY4" fmla="*/ 51656 h 205101"/>
                    <a:gd name="connsiteX5" fmla="*/ 89482 w 355254"/>
                    <a:gd name="connsiteY5" fmla="*/ 199980 h 205101"/>
                    <a:gd name="connsiteX6" fmla="*/ 46661 w 355254"/>
                    <a:gd name="connsiteY6" fmla="*/ 199980 h 205101"/>
                    <a:gd name="connsiteX7" fmla="*/ 8895 w 355254"/>
                    <a:gd name="connsiteY7" fmla="*/ 178166 h 205101"/>
                    <a:gd name="connsiteX8" fmla="*/ 8895 w 355254"/>
                    <a:gd name="connsiteY8" fmla="*/ 153445 h 2051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55254" h="205101">
                      <a:moveTo>
                        <a:pt x="8895" y="153445"/>
                      </a:moveTo>
                      <a:lnTo>
                        <a:pt x="265773" y="5122"/>
                      </a:lnTo>
                      <a:cubicBezTo>
                        <a:pt x="277584" y="-1707"/>
                        <a:pt x="296783" y="-1707"/>
                        <a:pt x="308594" y="5122"/>
                      </a:cubicBezTo>
                      <a:lnTo>
                        <a:pt x="346360" y="26936"/>
                      </a:lnTo>
                      <a:cubicBezTo>
                        <a:pt x="358220" y="33765"/>
                        <a:pt x="358220" y="44832"/>
                        <a:pt x="346360" y="51656"/>
                      </a:cubicBezTo>
                      <a:lnTo>
                        <a:pt x="89482" y="199980"/>
                      </a:lnTo>
                      <a:cubicBezTo>
                        <a:pt x="77671" y="206809"/>
                        <a:pt x="58472" y="206809"/>
                        <a:pt x="46661" y="199980"/>
                      </a:cubicBezTo>
                      <a:lnTo>
                        <a:pt x="8895" y="178166"/>
                      </a:lnTo>
                      <a:cubicBezTo>
                        <a:pt x="-2965" y="171342"/>
                        <a:pt x="-2965" y="160269"/>
                        <a:pt x="8895" y="153445"/>
                      </a:cubicBezTo>
                      <a:close/>
                    </a:path>
                  </a:pathLst>
                </a:custGeom>
                <a:noFill/>
                <a:ln w="9717" cap="flat">
                  <a:solidFill>
                    <a:srgbClr val="FFFFFF">
                      <a:alpha val="20000"/>
                    </a:srgb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46" name="Freeform: Shape 895">
                  <a:extLst>
                    <a:ext uri="{FF2B5EF4-FFF2-40B4-BE49-F238E27FC236}">
                      <a16:creationId xmlns:a16="http://schemas.microsoft.com/office/drawing/2014/main" id="{FF735E2E-F3EB-98F6-A1DA-64CA4F7911A5}"/>
                    </a:ext>
                  </a:extLst>
                </p:cNvPr>
                <p:cNvSpPr/>
                <p:nvPr/>
              </p:nvSpPr>
              <p:spPr>
                <a:xfrm>
                  <a:off x="10009510" y="4584559"/>
                  <a:ext cx="33161" cy="19143"/>
                </a:xfrm>
                <a:custGeom>
                  <a:avLst/>
                  <a:gdLst>
                    <a:gd name="connsiteX0" fmla="*/ 28276 w 33161"/>
                    <a:gd name="connsiteY0" fmla="*/ 16340 h 19143"/>
                    <a:gd name="connsiteX1" fmla="*/ 4849 w 33161"/>
                    <a:gd name="connsiteY1" fmla="*/ 16340 h 19143"/>
                    <a:gd name="connsiteX2" fmla="*/ 4849 w 33161"/>
                    <a:gd name="connsiteY2" fmla="*/ 2803 h 19143"/>
                    <a:gd name="connsiteX3" fmla="*/ 28276 w 33161"/>
                    <a:gd name="connsiteY3" fmla="*/ 2803 h 19143"/>
                    <a:gd name="connsiteX4" fmla="*/ 28276 w 33161"/>
                    <a:gd name="connsiteY4" fmla="*/ 16340 h 191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161" h="19143">
                      <a:moveTo>
                        <a:pt x="28276" y="16340"/>
                      </a:moveTo>
                      <a:cubicBezTo>
                        <a:pt x="21812" y="20078"/>
                        <a:pt x="11313" y="20078"/>
                        <a:pt x="4849" y="16340"/>
                      </a:cubicBezTo>
                      <a:cubicBezTo>
                        <a:pt x="-1616" y="12602"/>
                        <a:pt x="-1616" y="6541"/>
                        <a:pt x="4849" y="2803"/>
                      </a:cubicBezTo>
                      <a:cubicBezTo>
                        <a:pt x="11313" y="-934"/>
                        <a:pt x="21812" y="-934"/>
                        <a:pt x="28276" y="2803"/>
                      </a:cubicBezTo>
                      <a:cubicBezTo>
                        <a:pt x="34790" y="6541"/>
                        <a:pt x="34790" y="12602"/>
                        <a:pt x="28276" y="16340"/>
                      </a:cubicBezTo>
                      <a:close/>
                    </a:path>
                  </a:pathLst>
                </a:custGeom>
                <a:solidFill>
                  <a:srgbClr val="FFFFFF">
                    <a:alpha val="20000"/>
                  </a:srgbClr>
                </a:solidFill>
                <a:ln w="48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47" name="Freeform: Shape 896">
                  <a:extLst>
                    <a:ext uri="{FF2B5EF4-FFF2-40B4-BE49-F238E27FC236}">
                      <a16:creationId xmlns:a16="http://schemas.microsoft.com/office/drawing/2014/main" id="{4863AF8F-5BC3-756E-DFBA-0D22D4A885FC}"/>
                    </a:ext>
                  </a:extLst>
                </p:cNvPr>
                <p:cNvSpPr/>
                <p:nvPr/>
              </p:nvSpPr>
              <p:spPr>
                <a:xfrm>
                  <a:off x="10120476" y="4648615"/>
                  <a:ext cx="33124" cy="19143"/>
                </a:xfrm>
                <a:custGeom>
                  <a:avLst/>
                  <a:gdLst>
                    <a:gd name="connsiteX0" fmla="*/ 28276 w 33124"/>
                    <a:gd name="connsiteY0" fmla="*/ 16340 h 19143"/>
                    <a:gd name="connsiteX1" fmla="*/ 4848 w 33124"/>
                    <a:gd name="connsiteY1" fmla="*/ 16340 h 19143"/>
                    <a:gd name="connsiteX2" fmla="*/ 4848 w 33124"/>
                    <a:gd name="connsiteY2" fmla="*/ 2803 h 19143"/>
                    <a:gd name="connsiteX3" fmla="*/ 28276 w 33124"/>
                    <a:gd name="connsiteY3" fmla="*/ 2803 h 19143"/>
                    <a:gd name="connsiteX4" fmla="*/ 28276 w 33124"/>
                    <a:gd name="connsiteY4" fmla="*/ 16340 h 191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124" h="19143">
                      <a:moveTo>
                        <a:pt x="28276" y="16340"/>
                      </a:moveTo>
                      <a:cubicBezTo>
                        <a:pt x="21811" y="20078"/>
                        <a:pt x="11313" y="20078"/>
                        <a:pt x="4848" y="16340"/>
                      </a:cubicBezTo>
                      <a:cubicBezTo>
                        <a:pt x="-1616" y="12602"/>
                        <a:pt x="-1616" y="6541"/>
                        <a:pt x="4848" y="2803"/>
                      </a:cubicBezTo>
                      <a:cubicBezTo>
                        <a:pt x="11313" y="-934"/>
                        <a:pt x="21811" y="-934"/>
                        <a:pt x="28276" y="2803"/>
                      </a:cubicBezTo>
                      <a:cubicBezTo>
                        <a:pt x="34740" y="6541"/>
                        <a:pt x="34740" y="12602"/>
                        <a:pt x="28276" y="16340"/>
                      </a:cubicBezTo>
                      <a:close/>
                    </a:path>
                  </a:pathLst>
                </a:custGeom>
                <a:solidFill>
                  <a:srgbClr val="FFFFFF">
                    <a:alpha val="20000"/>
                  </a:srgbClr>
                </a:solidFill>
                <a:ln w="48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48" name="Freeform: Shape 897">
                  <a:extLst>
                    <a:ext uri="{FF2B5EF4-FFF2-40B4-BE49-F238E27FC236}">
                      <a16:creationId xmlns:a16="http://schemas.microsoft.com/office/drawing/2014/main" id="{27ADCDB9-BEAE-5D94-0EA3-C75E98E37845}"/>
                    </a:ext>
                  </a:extLst>
                </p:cNvPr>
                <p:cNvSpPr/>
                <p:nvPr/>
              </p:nvSpPr>
              <p:spPr>
                <a:xfrm>
                  <a:off x="10231344" y="4712643"/>
                  <a:ext cx="33172" cy="19143"/>
                </a:xfrm>
                <a:custGeom>
                  <a:avLst/>
                  <a:gdLst>
                    <a:gd name="connsiteX0" fmla="*/ 28325 w 33172"/>
                    <a:gd name="connsiteY0" fmla="*/ 16340 h 19143"/>
                    <a:gd name="connsiteX1" fmla="*/ 4849 w 33172"/>
                    <a:gd name="connsiteY1" fmla="*/ 16340 h 19143"/>
                    <a:gd name="connsiteX2" fmla="*/ 4849 w 33172"/>
                    <a:gd name="connsiteY2" fmla="*/ 2803 h 19143"/>
                    <a:gd name="connsiteX3" fmla="*/ 28325 w 33172"/>
                    <a:gd name="connsiteY3" fmla="*/ 2803 h 19143"/>
                    <a:gd name="connsiteX4" fmla="*/ 28325 w 33172"/>
                    <a:gd name="connsiteY4" fmla="*/ 16340 h 191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172" h="19143">
                      <a:moveTo>
                        <a:pt x="28325" y="16340"/>
                      </a:moveTo>
                      <a:cubicBezTo>
                        <a:pt x="21860" y="20078"/>
                        <a:pt x="11362" y="20078"/>
                        <a:pt x="4849" y="16340"/>
                      </a:cubicBezTo>
                      <a:cubicBezTo>
                        <a:pt x="-1616" y="12602"/>
                        <a:pt x="-1616" y="6541"/>
                        <a:pt x="4849" y="2803"/>
                      </a:cubicBezTo>
                      <a:cubicBezTo>
                        <a:pt x="11362" y="-934"/>
                        <a:pt x="21860" y="-934"/>
                        <a:pt x="28325" y="2803"/>
                      </a:cubicBezTo>
                      <a:cubicBezTo>
                        <a:pt x="34789" y="6541"/>
                        <a:pt x="34789" y="12602"/>
                        <a:pt x="28325" y="16340"/>
                      </a:cubicBezTo>
                      <a:close/>
                    </a:path>
                  </a:pathLst>
                </a:custGeom>
                <a:solidFill>
                  <a:srgbClr val="FFFFFF">
                    <a:alpha val="20000"/>
                  </a:srgbClr>
                </a:solidFill>
                <a:ln w="48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49" name="Freeform: Shape 898">
                  <a:extLst>
                    <a:ext uri="{FF2B5EF4-FFF2-40B4-BE49-F238E27FC236}">
                      <a16:creationId xmlns:a16="http://schemas.microsoft.com/office/drawing/2014/main" id="{D4577B85-5E9C-4EAA-A381-8BDFC6ED42F7}"/>
                    </a:ext>
                  </a:extLst>
                </p:cNvPr>
                <p:cNvSpPr/>
                <p:nvPr/>
              </p:nvSpPr>
              <p:spPr>
                <a:xfrm>
                  <a:off x="10215693" y="4466025"/>
                  <a:ext cx="33124" cy="19138"/>
                </a:xfrm>
                <a:custGeom>
                  <a:avLst/>
                  <a:gdLst>
                    <a:gd name="connsiteX0" fmla="*/ 28276 w 33124"/>
                    <a:gd name="connsiteY0" fmla="*/ 16335 h 19138"/>
                    <a:gd name="connsiteX1" fmla="*/ 4848 w 33124"/>
                    <a:gd name="connsiteY1" fmla="*/ 16335 h 19138"/>
                    <a:gd name="connsiteX2" fmla="*/ 4848 w 33124"/>
                    <a:gd name="connsiteY2" fmla="*/ 2803 h 19138"/>
                    <a:gd name="connsiteX3" fmla="*/ 28276 w 33124"/>
                    <a:gd name="connsiteY3" fmla="*/ 2803 h 19138"/>
                    <a:gd name="connsiteX4" fmla="*/ 28276 w 33124"/>
                    <a:gd name="connsiteY4" fmla="*/ 16335 h 191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124" h="19138">
                      <a:moveTo>
                        <a:pt x="28276" y="16335"/>
                      </a:moveTo>
                      <a:cubicBezTo>
                        <a:pt x="21812" y="20073"/>
                        <a:pt x="11313" y="20073"/>
                        <a:pt x="4848" y="16335"/>
                      </a:cubicBezTo>
                      <a:cubicBezTo>
                        <a:pt x="-1616" y="12597"/>
                        <a:pt x="-1616" y="6536"/>
                        <a:pt x="4848" y="2803"/>
                      </a:cubicBezTo>
                      <a:cubicBezTo>
                        <a:pt x="11313" y="-934"/>
                        <a:pt x="21812" y="-934"/>
                        <a:pt x="28276" y="2803"/>
                      </a:cubicBezTo>
                      <a:cubicBezTo>
                        <a:pt x="34740" y="6536"/>
                        <a:pt x="34740" y="12597"/>
                        <a:pt x="28276" y="16335"/>
                      </a:cubicBezTo>
                      <a:close/>
                    </a:path>
                  </a:pathLst>
                </a:custGeom>
                <a:solidFill>
                  <a:srgbClr val="FFFFFF">
                    <a:alpha val="20000"/>
                  </a:srgbClr>
                </a:solidFill>
                <a:ln w="48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50" name="Freeform: Shape 899">
                  <a:extLst>
                    <a:ext uri="{FF2B5EF4-FFF2-40B4-BE49-F238E27FC236}">
                      <a16:creationId xmlns:a16="http://schemas.microsoft.com/office/drawing/2014/main" id="{3510B72E-0AF9-8967-565B-EB7682339D1B}"/>
                    </a:ext>
                  </a:extLst>
                </p:cNvPr>
                <p:cNvSpPr/>
                <p:nvPr/>
              </p:nvSpPr>
              <p:spPr>
                <a:xfrm>
                  <a:off x="10326610" y="4530082"/>
                  <a:ext cx="33172" cy="19138"/>
                </a:xfrm>
                <a:custGeom>
                  <a:avLst/>
                  <a:gdLst>
                    <a:gd name="connsiteX0" fmla="*/ 28324 w 33172"/>
                    <a:gd name="connsiteY0" fmla="*/ 16335 h 19138"/>
                    <a:gd name="connsiteX1" fmla="*/ 4848 w 33172"/>
                    <a:gd name="connsiteY1" fmla="*/ 16335 h 19138"/>
                    <a:gd name="connsiteX2" fmla="*/ 4848 w 33172"/>
                    <a:gd name="connsiteY2" fmla="*/ 2803 h 19138"/>
                    <a:gd name="connsiteX3" fmla="*/ 28324 w 33172"/>
                    <a:gd name="connsiteY3" fmla="*/ 2803 h 19138"/>
                    <a:gd name="connsiteX4" fmla="*/ 28324 w 33172"/>
                    <a:gd name="connsiteY4" fmla="*/ 16335 h 191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172" h="19138">
                      <a:moveTo>
                        <a:pt x="28324" y="16335"/>
                      </a:moveTo>
                      <a:cubicBezTo>
                        <a:pt x="21860" y="20073"/>
                        <a:pt x="11361" y="20073"/>
                        <a:pt x="4848" y="16335"/>
                      </a:cubicBezTo>
                      <a:cubicBezTo>
                        <a:pt x="-1616" y="12597"/>
                        <a:pt x="-1616" y="6541"/>
                        <a:pt x="4848" y="2803"/>
                      </a:cubicBezTo>
                      <a:cubicBezTo>
                        <a:pt x="11361" y="-934"/>
                        <a:pt x="21860" y="-934"/>
                        <a:pt x="28324" y="2803"/>
                      </a:cubicBezTo>
                      <a:cubicBezTo>
                        <a:pt x="34789" y="6541"/>
                        <a:pt x="34789" y="12597"/>
                        <a:pt x="28324" y="16335"/>
                      </a:cubicBezTo>
                      <a:close/>
                    </a:path>
                  </a:pathLst>
                </a:custGeom>
                <a:solidFill>
                  <a:srgbClr val="FFFFFF">
                    <a:alpha val="20000"/>
                  </a:srgbClr>
                </a:solidFill>
                <a:ln w="48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51" name="Freeform: Shape 900">
                  <a:extLst>
                    <a:ext uri="{FF2B5EF4-FFF2-40B4-BE49-F238E27FC236}">
                      <a16:creationId xmlns:a16="http://schemas.microsoft.com/office/drawing/2014/main" id="{37F4A88B-081F-B9FE-9507-20E5B9B4F63C}"/>
                    </a:ext>
                  </a:extLst>
                </p:cNvPr>
                <p:cNvSpPr/>
                <p:nvPr/>
              </p:nvSpPr>
              <p:spPr>
                <a:xfrm>
                  <a:off x="10437576" y="4594139"/>
                  <a:ext cx="33160" cy="19139"/>
                </a:xfrm>
                <a:custGeom>
                  <a:avLst/>
                  <a:gdLst>
                    <a:gd name="connsiteX0" fmla="*/ 28276 w 33160"/>
                    <a:gd name="connsiteY0" fmla="*/ 16340 h 19139"/>
                    <a:gd name="connsiteX1" fmla="*/ 4848 w 33160"/>
                    <a:gd name="connsiteY1" fmla="*/ 16340 h 19139"/>
                    <a:gd name="connsiteX2" fmla="*/ 4848 w 33160"/>
                    <a:gd name="connsiteY2" fmla="*/ 2803 h 19139"/>
                    <a:gd name="connsiteX3" fmla="*/ 28276 w 33160"/>
                    <a:gd name="connsiteY3" fmla="*/ 2803 h 19139"/>
                    <a:gd name="connsiteX4" fmla="*/ 28276 w 33160"/>
                    <a:gd name="connsiteY4" fmla="*/ 16340 h 191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160" h="19139">
                      <a:moveTo>
                        <a:pt x="28276" y="16340"/>
                      </a:moveTo>
                      <a:cubicBezTo>
                        <a:pt x="21811" y="20073"/>
                        <a:pt x="11313" y="20073"/>
                        <a:pt x="4848" y="16340"/>
                      </a:cubicBezTo>
                      <a:cubicBezTo>
                        <a:pt x="-1616" y="12602"/>
                        <a:pt x="-1616" y="6541"/>
                        <a:pt x="4848" y="2803"/>
                      </a:cubicBezTo>
                      <a:cubicBezTo>
                        <a:pt x="11313" y="-934"/>
                        <a:pt x="21811" y="-934"/>
                        <a:pt x="28276" y="2803"/>
                      </a:cubicBezTo>
                      <a:cubicBezTo>
                        <a:pt x="34789" y="6541"/>
                        <a:pt x="34789" y="12602"/>
                        <a:pt x="28276" y="16340"/>
                      </a:cubicBezTo>
                      <a:close/>
                    </a:path>
                  </a:pathLst>
                </a:custGeom>
                <a:solidFill>
                  <a:srgbClr val="FFFFFF">
                    <a:alpha val="20000"/>
                  </a:srgbClr>
                </a:solidFill>
                <a:ln w="48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52" name="Freeform: Shape 901">
                  <a:extLst>
                    <a:ext uri="{FF2B5EF4-FFF2-40B4-BE49-F238E27FC236}">
                      <a16:creationId xmlns:a16="http://schemas.microsoft.com/office/drawing/2014/main" id="{FF85DADE-9EA6-648B-D2BC-C4FD8DFEA9C9}"/>
                    </a:ext>
                  </a:extLst>
                </p:cNvPr>
                <p:cNvSpPr/>
                <p:nvPr/>
              </p:nvSpPr>
              <p:spPr>
                <a:xfrm>
                  <a:off x="10175545" y="4489200"/>
                  <a:ext cx="33124" cy="19138"/>
                </a:xfrm>
                <a:custGeom>
                  <a:avLst/>
                  <a:gdLst>
                    <a:gd name="connsiteX0" fmla="*/ 28276 w 33124"/>
                    <a:gd name="connsiteY0" fmla="*/ 16335 h 19138"/>
                    <a:gd name="connsiteX1" fmla="*/ 4849 w 33124"/>
                    <a:gd name="connsiteY1" fmla="*/ 16335 h 19138"/>
                    <a:gd name="connsiteX2" fmla="*/ 4849 w 33124"/>
                    <a:gd name="connsiteY2" fmla="*/ 2803 h 19138"/>
                    <a:gd name="connsiteX3" fmla="*/ 28276 w 33124"/>
                    <a:gd name="connsiteY3" fmla="*/ 2803 h 19138"/>
                    <a:gd name="connsiteX4" fmla="*/ 28276 w 33124"/>
                    <a:gd name="connsiteY4" fmla="*/ 16335 h 191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124" h="19138">
                      <a:moveTo>
                        <a:pt x="28276" y="16335"/>
                      </a:moveTo>
                      <a:cubicBezTo>
                        <a:pt x="21812" y="20073"/>
                        <a:pt x="11313" y="20073"/>
                        <a:pt x="4849" y="16335"/>
                      </a:cubicBezTo>
                      <a:cubicBezTo>
                        <a:pt x="-1616" y="12597"/>
                        <a:pt x="-1616" y="6541"/>
                        <a:pt x="4849" y="2803"/>
                      </a:cubicBezTo>
                      <a:cubicBezTo>
                        <a:pt x="11313" y="-934"/>
                        <a:pt x="21812" y="-934"/>
                        <a:pt x="28276" y="2803"/>
                      </a:cubicBezTo>
                      <a:cubicBezTo>
                        <a:pt x="34740" y="6541"/>
                        <a:pt x="34740" y="12597"/>
                        <a:pt x="28276" y="16335"/>
                      </a:cubicBezTo>
                      <a:close/>
                    </a:path>
                  </a:pathLst>
                </a:custGeom>
                <a:solidFill>
                  <a:srgbClr val="FFFFFF">
                    <a:alpha val="20000"/>
                  </a:srgbClr>
                </a:solidFill>
                <a:ln w="48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53" name="Freeform: Shape 902">
                  <a:extLst>
                    <a:ext uri="{FF2B5EF4-FFF2-40B4-BE49-F238E27FC236}">
                      <a16:creationId xmlns:a16="http://schemas.microsoft.com/office/drawing/2014/main" id="{3F32AA3F-B436-E431-2710-41849F340810}"/>
                    </a:ext>
                  </a:extLst>
                </p:cNvPr>
                <p:cNvSpPr/>
                <p:nvPr/>
              </p:nvSpPr>
              <p:spPr>
                <a:xfrm>
                  <a:off x="10286475" y="4553257"/>
                  <a:ext cx="33160" cy="19139"/>
                </a:xfrm>
                <a:custGeom>
                  <a:avLst/>
                  <a:gdLst>
                    <a:gd name="connsiteX0" fmla="*/ 28312 w 33160"/>
                    <a:gd name="connsiteY0" fmla="*/ 16340 h 19139"/>
                    <a:gd name="connsiteX1" fmla="*/ 4885 w 33160"/>
                    <a:gd name="connsiteY1" fmla="*/ 16340 h 19139"/>
                    <a:gd name="connsiteX2" fmla="*/ 4885 w 33160"/>
                    <a:gd name="connsiteY2" fmla="*/ 2803 h 19139"/>
                    <a:gd name="connsiteX3" fmla="*/ 28312 w 33160"/>
                    <a:gd name="connsiteY3" fmla="*/ 2803 h 19139"/>
                    <a:gd name="connsiteX4" fmla="*/ 28312 w 33160"/>
                    <a:gd name="connsiteY4" fmla="*/ 16340 h 191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160" h="19139">
                      <a:moveTo>
                        <a:pt x="28312" y="16340"/>
                      </a:moveTo>
                      <a:cubicBezTo>
                        <a:pt x="21848" y="20073"/>
                        <a:pt x="11349" y="20073"/>
                        <a:pt x="4885" y="16340"/>
                      </a:cubicBezTo>
                      <a:cubicBezTo>
                        <a:pt x="-1628" y="12602"/>
                        <a:pt x="-1628" y="6541"/>
                        <a:pt x="4885" y="2803"/>
                      </a:cubicBezTo>
                      <a:cubicBezTo>
                        <a:pt x="11349" y="-934"/>
                        <a:pt x="21848" y="-934"/>
                        <a:pt x="28312" y="2803"/>
                      </a:cubicBezTo>
                      <a:cubicBezTo>
                        <a:pt x="34777" y="6541"/>
                        <a:pt x="34777" y="12602"/>
                        <a:pt x="28312" y="16340"/>
                      </a:cubicBezTo>
                      <a:close/>
                    </a:path>
                  </a:pathLst>
                </a:custGeom>
                <a:solidFill>
                  <a:srgbClr val="FFFFFF">
                    <a:alpha val="20000"/>
                  </a:srgbClr>
                </a:solidFill>
                <a:ln w="48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54" name="Freeform: Shape 903">
                  <a:extLst>
                    <a:ext uri="{FF2B5EF4-FFF2-40B4-BE49-F238E27FC236}">
                      <a16:creationId xmlns:a16="http://schemas.microsoft.com/office/drawing/2014/main" id="{5EB3A863-CFB5-FD34-3106-0B13E8DA29C6}"/>
                    </a:ext>
                  </a:extLst>
                </p:cNvPr>
                <p:cNvSpPr/>
                <p:nvPr/>
              </p:nvSpPr>
              <p:spPr>
                <a:xfrm>
                  <a:off x="10397428" y="4617314"/>
                  <a:ext cx="33173" cy="19143"/>
                </a:xfrm>
                <a:custGeom>
                  <a:avLst/>
                  <a:gdLst>
                    <a:gd name="connsiteX0" fmla="*/ 28325 w 33173"/>
                    <a:gd name="connsiteY0" fmla="*/ 16340 h 19143"/>
                    <a:gd name="connsiteX1" fmla="*/ 4848 w 33173"/>
                    <a:gd name="connsiteY1" fmla="*/ 16340 h 19143"/>
                    <a:gd name="connsiteX2" fmla="*/ 4848 w 33173"/>
                    <a:gd name="connsiteY2" fmla="*/ 2803 h 19143"/>
                    <a:gd name="connsiteX3" fmla="*/ 28325 w 33173"/>
                    <a:gd name="connsiteY3" fmla="*/ 2803 h 19143"/>
                    <a:gd name="connsiteX4" fmla="*/ 28325 w 33173"/>
                    <a:gd name="connsiteY4" fmla="*/ 16340 h 191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173" h="19143">
                      <a:moveTo>
                        <a:pt x="28325" y="16340"/>
                      </a:moveTo>
                      <a:cubicBezTo>
                        <a:pt x="21811" y="20078"/>
                        <a:pt x="11313" y="20078"/>
                        <a:pt x="4848" y="16340"/>
                      </a:cubicBezTo>
                      <a:cubicBezTo>
                        <a:pt x="-1616" y="12602"/>
                        <a:pt x="-1616" y="6541"/>
                        <a:pt x="4848" y="2803"/>
                      </a:cubicBezTo>
                      <a:cubicBezTo>
                        <a:pt x="11313" y="-934"/>
                        <a:pt x="21811" y="-934"/>
                        <a:pt x="28325" y="2803"/>
                      </a:cubicBezTo>
                      <a:cubicBezTo>
                        <a:pt x="34789" y="6541"/>
                        <a:pt x="34789" y="12602"/>
                        <a:pt x="28325" y="16340"/>
                      </a:cubicBezTo>
                      <a:close/>
                    </a:path>
                  </a:pathLst>
                </a:custGeom>
                <a:solidFill>
                  <a:srgbClr val="FFFFFF">
                    <a:alpha val="20000"/>
                  </a:srgbClr>
                </a:solidFill>
                <a:ln w="48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55" name="Freeform: Shape 904">
                  <a:extLst>
                    <a:ext uri="{FF2B5EF4-FFF2-40B4-BE49-F238E27FC236}">
                      <a16:creationId xmlns:a16="http://schemas.microsoft.com/office/drawing/2014/main" id="{874B587C-B77D-C979-D35B-FBED00B97139}"/>
                    </a:ext>
                  </a:extLst>
                </p:cNvPr>
                <p:cNvSpPr/>
                <p:nvPr/>
              </p:nvSpPr>
              <p:spPr>
                <a:xfrm>
                  <a:off x="10170818" y="4560518"/>
                  <a:ext cx="355267" cy="205101"/>
                </a:xfrm>
                <a:custGeom>
                  <a:avLst/>
                  <a:gdLst>
                    <a:gd name="connsiteX0" fmla="*/ 8895 w 355267"/>
                    <a:gd name="connsiteY0" fmla="*/ 153445 h 205101"/>
                    <a:gd name="connsiteX1" fmla="*/ 265773 w 355267"/>
                    <a:gd name="connsiteY1" fmla="*/ 5122 h 205101"/>
                    <a:gd name="connsiteX2" fmla="*/ 308594 w 355267"/>
                    <a:gd name="connsiteY2" fmla="*/ 5122 h 205101"/>
                    <a:gd name="connsiteX3" fmla="*/ 346409 w 355267"/>
                    <a:gd name="connsiteY3" fmla="*/ 26936 h 205101"/>
                    <a:gd name="connsiteX4" fmla="*/ 346409 w 355267"/>
                    <a:gd name="connsiteY4" fmla="*/ 51656 h 205101"/>
                    <a:gd name="connsiteX5" fmla="*/ 89482 w 355267"/>
                    <a:gd name="connsiteY5" fmla="*/ 199980 h 205101"/>
                    <a:gd name="connsiteX6" fmla="*/ 46661 w 355267"/>
                    <a:gd name="connsiteY6" fmla="*/ 199980 h 205101"/>
                    <a:gd name="connsiteX7" fmla="*/ 8895 w 355267"/>
                    <a:gd name="connsiteY7" fmla="*/ 178166 h 205101"/>
                    <a:gd name="connsiteX8" fmla="*/ 8895 w 355267"/>
                    <a:gd name="connsiteY8" fmla="*/ 153445 h 2051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55267" h="205101">
                      <a:moveTo>
                        <a:pt x="8895" y="153445"/>
                      </a:moveTo>
                      <a:lnTo>
                        <a:pt x="265773" y="5122"/>
                      </a:lnTo>
                      <a:cubicBezTo>
                        <a:pt x="277584" y="-1707"/>
                        <a:pt x="296783" y="-1707"/>
                        <a:pt x="308594" y="5122"/>
                      </a:cubicBezTo>
                      <a:lnTo>
                        <a:pt x="346409" y="26936"/>
                      </a:lnTo>
                      <a:cubicBezTo>
                        <a:pt x="358220" y="33760"/>
                        <a:pt x="358220" y="44832"/>
                        <a:pt x="346409" y="51656"/>
                      </a:cubicBezTo>
                      <a:lnTo>
                        <a:pt x="89482" y="199980"/>
                      </a:lnTo>
                      <a:cubicBezTo>
                        <a:pt x="77671" y="206809"/>
                        <a:pt x="58472" y="206809"/>
                        <a:pt x="46661" y="199980"/>
                      </a:cubicBezTo>
                      <a:lnTo>
                        <a:pt x="8895" y="178166"/>
                      </a:lnTo>
                      <a:cubicBezTo>
                        <a:pt x="-2965" y="171337"/>
                        <a:pt x="-2965" y="160269"/>
                        <a:pt x="8895" y="153445"/>
                      </a:cubicBezTo>
                      <a:close/>
                    </a:path>
                  </a:pathLst>
                </a:custGeom>
                <a:noFill/>
                <a:ln w="9717" cap="flat">
                  <a:solidFill>
                    <a:srgbClr val="FFFFFF">
                      <a:alpha val="20000"/>
                    </a:srgb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56" name="Freeform: Shape 905">
                  <a:extLst>
                    <a:ext uri="{FF2B5EF4-FFF2-40B4-BE49-F238E27FC236}">
                      <a16:creationId xmlns:a16="http://schemas.microsoft.com/office/drawing/2014/main" id="{43DD346F-308E-3180-6692-76FCAA4BF660}"/>
                    </a:ext>
                  </a:extLst>
                </p:cNvPr>
                <p:cNvSpPr/>
                <p:nvPr/>
              </p:nvSpPr>
              <p:spPr>
                <a:xfrm>
                  <a:off x="10278430" y="4497010"/>
                  <a:ext cx="28969" cy="16715"/>
                </a:xfrm>
                <a:custGeom>
                  <a:avLst/>
                  <a:gdLst>
                    <a:gd name="connsiteX0" fmla="*/ 0 w 28969"/>
                    <a:gd name="connsiteY0" fmla="*/ 0 h 16715"/>
                    <a:gd name="connsiteX1" fmla="*/ 28969 w 28969"/>
                    <a:gd name="connsiteY1" fmla="*/ 16715 h 167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969" h="16715">
                      <a:moveTo>
                        <a:pt x="0" y="0"/>
                      </a:moveTo>
                      <a:lnTo>
                        <a:pt x="28969" y="16715"/>
                      </a:lnTo>
                    </a:path>
                  </a:pathLst>
                </a:custGeom>
                <a:noFill/>
                <a:ln w="9717" cap="flat">
                  <a:solidFill>
                    <a:srgbClr val="FFFFFF">
                      <a:alpha val="20000"/>
                    </a:srgb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57" name="Freeform: Shape 906">
                  <a:extLst>
                    <a:ext uri="{FF2B5EF4-FFF2-40B4-BE49-F238E27FC236}">
                      <a16:creationId xmlns:a16="http://schemas.microsoft.com/office/drawing/2014/main" id="{79940B38-8FA4-ED99-B097-D6688B07A10F}"/>
                    </a:ext>
                  </a:extLst>
                </p:cNvPr>
                <p:cNvSpPr/>
                <p:nvPr/>
              </p:nvSpPr>
              <p:spPr>
                <a:xfrm>
                  <a:off x="10377342" y="4563074"/>
                  <a:ext cx="26927" cy="15543"/>
                </a:xfrm>
                <a:custGeom>
                  <a:avLst/>
                  <a:gdLst>
                    <a:gd name="connsiteX0" fmla="*/ 0 w 26927"/>
                    <a:gd name="connsiteY0" fmla="*/ 0 h 15543"/>
                    <a:gd name="connsiteX1" fmla="*/ 26927 w 26927"/>
                    <a:gd name="connsiteY1" fmla="*/ 15544 h 155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927" h="15543">
                      <a:moveTo>
                        <a:pt x="0" y="0"/>
                      </a:moveTo>
                      <a:lnTo>
                        <a:pt x="26927" y="15544"/>
                      </a:lnTo>
                    </a:path>
                  </a:pathLst>
                </a:custGeom>
                <a:noFill/>
                <a:ln w="9717" cap="flat">
                  <a:solidFill>
                    <a:srgbClr val="FFFFFF">
                      <a:alpha val="20000"/>
                    </a:srgb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58" name="Freeform: Shape 907">
                  <a:extLst>
                    <a:ext uri="{FF2B5EF4-FFF2-40B4-BE49-F238E27FC236}">
                      <a16:creationId xmlns:a16="http://schemas.microsoft.com/office/drawing/2014/main" id="{AFF1113B-D799-B39A-74A1-7A73E4617A41}"/>
                    </a:ext>
                  </a:extLst>
                </p:cNvPr>
                <p:cNvSpPr/>
                <p:nvPr/>
              </p:nvSpPr>
              <p:spPr>
                <a:xfrm>
                  <a:off x="10071421" y="4620301"/>
                  <a:ext cx="29017" cy="16749"/>
                </a:xfrm>
                <a:custGeom>
                  <a:avLst/>
                  <a:gdLst>
                    <a:gd name="connsiteX0" fmla="*/ 0 w 29017"/>
                    <a:gd name="connsiteY0" fmla="*/ 0 h 16749"/>
                    <a:gd name="connsiteX1" fmla="*/ 29017 w 29017"/>
                    <a:gd name="connsiteY1" fmla="*/ 16749 h 167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017" h="16749">
                      <a:moveTo>
                        <a:pt x="0" y="0"/>
                      </a:moveTo>
                      <a:lnTo>
                        <a:pt x="29017" y="16749"/>
                      </a:lnTo>
                    </a:path>
                  </a:pathLst>
                </a:custGeom>
                <a:noFill/>
                <a:ln w="9717" cap="flat">
                  <a:solidFill>
                    <a:srgbClr val="FFFFFF">
                      <a:alpha val="20000"/>
                    </a:srgb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59" name="Freeform: Shape 908">
                  <a:extLst>
                    <a:ext uri="{FF2B5EF4-FFF2-40B4-BE49-F238E27FC236}">
                      <a16:creationId xmlns:a16="http://schemas.microsoft.com/office/drawing/2014/main" id="{7FAA1D08-02FB-8EB4-D57A-FEB8EA70BF10}"/>
                    </a:ext>
                  </a:extLst>
                </p:cNvPr>
                <p:cNvSpPr/>
                <p:nvPr/>
              </p:nvSpPr>
              <p:spPr>
                <a:xfrm>
                  <a:off x="10185157" y="4677563"/>
                  <a:ext cx="26926" cy="15543"/>
                </a:xfrm>
                <a:custGeom>
                  <a:avLst/>
                  <a:gdLst>
                    <a:gd name="connsiteX0" fmla="*/ 0 w 26926"/>
                    <a:gd name="connsiteY0" fmla="*/ 0 h 15543"/>
                    <a:gd name="connsiteX1" fmla="*/ 26927 w 26926"/>
                    <a:gd name="connsiteY1" fmla="*/ 15544 h 155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926" h="15543">
                      <a:moveTo>
                        <a:pt x="0" y="0"/>
                      </a:moveTo>
                      <a:lnTo>
                        <a:pt x="26927" y="15544"/>
                      </a:lnTo>
                    </a:path>
                  </a:pathLst>
                </a:custGeom>
                <a:noFill/>
                <a:ln w="9717" cap="flat">
                  <a:solidFill>
                    <a:srgbClr val="FFFFFF">
                      <a:alpha val="20000"/>
                    </a:srgb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210" name="Graphic 188">
                <a:extLst>
                  <a:ext uri="{FF2B5EF4-FFF2-40B4-BE49-F238E27FC236}">
                    <a16:creationId xmlns:a16="http://schemas.microsoft.com/office/drawing/2014/main" id="{6D85B119-6FBA-7804-35C6-AC09E9F0D46B}"/>
                  </a:ext>
                </a:extLst>
              </p:cNvPr>
              <p:cNvGrpSpPr/>
              <p:nvPr/>
            </p:nvGrpSpPr>
            <p:grpSpPr>
              <a:xfrm>
                <a:off x="9951694" y="4331938"/>
                <a:ext cx="574391" cy="331611"/>
                <a:chOff x="9951694" y="4331938"/>
                <a:chExt cx="574391" cy="331611"/>
              </a:xfrm>
            </p:grpSpPr>
            <p:sp>
              <p:nvSpPr>
                <p:cNvPr id="228" name="Freeform: Shape 877">
                  <a:extLst>
                    <a:ext uri="{FF2B5EF4-FFF2-40B4-BE49-F238E27FC236}">
                      <a16:creationId xmlns:a16="http://schemas.microsoft.com/office/drawing/2014/main" id="{32105D2B-A053-5B45-26D4-1A799CC71F2F}"/>
                    </a:ext>
                  </a:extLst>
                </p:cNvPr>
                <p:cNvSpPr/>
                <p:nvPr/>
              </p:nvSpPr>
              <p:spPr>
                <a:xfrm>
                  <a:off x="9951694" y="4331938"/>
                  <a:ext cx="355267" cy="205102"/>
                </a:xfrm>
                <a:custGeom>
                  <a:avLst/>
                  <a:gdLst>
                    <a:gd name="connsiteX0" fmla="*/ 8858 w 355267"/>
                    <a:gd name="connsiteY0" fmla="*/ 153445 h 205102"/>
                    <a:gd name="connsiteX1" fmla="*/ 265785 w 355267"/>
                    <a:gd name="connsiteY1" fmla="*/ 5122 h 205102"/>
                    <a:gd name="connsiteX2" fmla="*/ 308606 w 355267"/>
                    <a:gd name="connsiteY2" fmla="*/ 5122 h 205102"/>
                    <a:gd name="connsiteX3" fmla="*/ 346373 w 355267"/>
                    <a:gd name="connsiteY3" fmla="*/ 26936 h 205102"/>
                    <a:gd name="connsiteX4" fmla="*/ 346373 w 355267"/>
                    <a:gd name="connsiteY4" fmla="*/ 51656 h 205102"/>
                    <a:gd name="connsiteX5" fmla="*/ 89494 w 355267"/>
                    <a:gd name="connsiteY5" fmla="*/ 199985 h 205102"/>
                    <a:gd name="connsiteX6" fmla="*/ 46673 w 355267"/>
                    <a:gd name="connsiteY6" fmla="*/ 199985 h 205102"/>
                    <a:gd name="connsiteX7" fmla="*/ 8858 w 355267"/>
                    <a:gd name="connsiteY7" fmla="*/ 178166 h 205102"/>
                    <a:gd name="connsiteX8" fmla="*/ 8858 w 355267"/>
                    <a:gd name="connsiteY8" fmla="*/ 153445 h 2051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55267" h="205102">
                      <a:moveTo>
                        <a:pt x="8858" y="153445"/>
                      </a:moveTo>
                      <a:lnTo>
                        <a:pt x="265785" y="5122"/>
                      </a:lnTo>
                      <a:cubicBezTo>
                        <a:pt x="277596" y="-1707"/>
                        <a:pt x="296795" y="-1707"/>
                        <a:pt x="308606" y="5122"/>
                      </a:cubicBezTo>
                      <a:lnTo>
                        <a:pt x="346373" y="26936"/>
                      </a:lnTo>
                      <a:cubicBezTo>
                        <a:pt x="358232" y="33765"/>
                        <a:pt x="358232" y="44832"/>
                        <a:pt x="346373" y="51656"/>
                      </a:cubicBezTo>
                      <a:lnTo>
                        <a:pt x="89494" y="199985"/>
                      </a:lnTo>
                      <a:cubicBezTo>
                        <a:pt x="77683" y="206809"/>
                        <a:pt x="58484" y="206809"/>
                        <a:pt x="46673" y="199985"/>
                      </a:cubicBezTo>
                      <a:lnTo>
                        <a:pt x="8858" y="178166"/>
                      </a:lnTo>
                      <a:cubicBezTo>
                        <a:pt x="-2953" y="171342"/>
                        <a:pt x="-2953" y="160274"/>
                        <a:pt x="8858" y="153445"/>
                      </a:cubicBezTo>
                      <a:close/>
                    </a:path>
                  </a:pathLst>
                </a:custGeom>
                <a:noFill/>
                <a:ln w="9717" cap="flat">
                  <a:solidFill>
                    <a:srgbClr val="FFFFFF">
                      <a:alpha val="50000"/>
                    </a:srgb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29" name="Freeform: Shape 878">
                  <a:extLst>
                    <a:ext uri="{FF2B5EF4-FFF2-40B4-BE49-F238E27FC236}">
                      <a16:creationId xmlns:a16="http://schemas.microsoft.com/office/drawing/2014/main" id="{BD8C919F-8435-FE5E-36F3-248796284C6F}"/>
                    </a:ext>
                  </a:extLst>
                </p:cNvPr>
                <p:cNvSpPr/>
                <p:nvPr/>
              </p:nvSpPr>
              <p:spPr>
                <a:xfrm>
                  <a:off x="10061263" y="4395193"/>
                  <a:ext cx="355254" cy="205101"/>
                </a:xfrm>
                <a:custGeom>
                  <a:avLst/>
                  <a:gdLst>
                    <a:gd name="connsiteX0" fmla="*/ 8895 w 355254"/>
                    <a:gd name="connsiteY0" fmla="*/ 153445 h 205101"/>
                    <a:gd name="connsiteX1" fmla="*/ 265773 w 355254"/>
                    <a:gd name="connsiteY1" fmla="*/ 5122 h 205101"/>
                    <a:gd name="connsiteX2" fmla="*/ 308594 w 355254"/>
                    <a:gd name="connsiteY2" fmla="*/ 5122 h 205101"/>
                    <a:gd name="connsiteX3" fmla="*/ 346360 w 355254"/>
                    <a:gd name="connsiteY3" fmla="*/ 26936 h 205101"/>
                    <a:gd name="connsiteX4" fmla="*/ 346360 w 355254"/>
                    <a:gd name="connsiteY4" fmla="*/ 51656 h 205101"/>
                    <a:gd name="connsiteX5" fmla="*/ 89482 w 355254"/>
                    <a:gd name="connsiteY5" fmla="*/ 199980 h 205101"/>
                    <a:gd name="connsiteX6" fmla="*/ 46661 w 355254"/>
                    <a:gd name="connsiteY6" fmla="*/ 199980 h 205101"/>
                    <a:gd name="connsiteX7" fmla="*/ 8895 w 355254"/>
                    <a:gd name="connsiteY7" fmla="*/ 178166 h 205101"/>
                    <a:gd name="connsiteX8" fmla="*/ 8895 w 355254"/>
                    <a:gd name="connsiteY8" fmla="*/ 153445 h 2051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55254" h="205101">
                      <a:moveTo>
                        <a:pt x="8895" y="153445"/>
                      </a:moveTo>
                      <a:lnTo>
                        <a:pt x="265773" y="5122"/>
                      </a:lnTo>
                      <a:cubicBezTo>
                        <a:pt x="277584" y="-1707"/>
                        <a:pt x="296783" y="-1707"/>
                        <a:pt x="308594" y="5122"/>
                      </a:cubicBezTo>
                      <a:lnTo>
                        <a:pt x="346360" y="26936"/>
                      </a:lnTo>
                      <a:cubicBezTo>
                        <a:pt x="358220" y="33765"/>
                        <a:pt x="358220" y="44832"/>
                        <a:pt x="346360" y="51656"/>
                      </a:cubicBezTo>
                      <a:lnTo>
                        <a:pt x="89482" y="199980"/>
                      </a:lnTo>
                      <a:cubicBezTo>
                        <a:pt x="77671" y="206809"/>
                        <a:pt x="58472" y="206809"/>
                        <a:pt x="46661" y="199980"/>
                      </a:cubicBezTo>
                      <a:lnTo>
                        <a:pt x="8895" y="178166"/>
                      </a:lnTo>
                      <a:cubicBezTo>
                        <a:pt x="-2965" y="171342"/>
                        <a:pt x="-2965" y="160269"/>
                        <a:pt x="8895" y="153445"/>
                      </a:cubicBezTo>
                      <a:close/>
                    </a:path>
                  </a:pathLst>
                </a:custGeom>
                <a:noFill/>
                <a:ln w="9717" cap="flat">
                  <a:solidFill>
                    <a:srgbClr val="FFFFFF">
                      <a:alpha val="50000"/>
                    </a:srgb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30" name="Freeform: Shape 879">
                  <a:extLst>
                    <a:ext uri="{FF2B5EF4-FFF2-40B4-BE49-F238E27FC236}">
                      <a16:creationId xmlns:a16="http://schemas.microsoft.com/office/drawing/2014/main" id="{44698A94-23F2-4BA5-9569-637C918BA890}"/>
                    </a:ext>
                  </a:extLst>
                </p:cNvPr>
                <p:cNvSpPr/>
                <p:nvPr/>
              </p:nvSpPr>
              <p:spPr>
                <a:xfrm>
                  <a:off x="10009510" y="4482488"/>
                  <a:ext cx="33161" cy="19143"/>
                </a:xfrm>
                <a:custGeom>
                  <a:avLst/>
                  <a:gdLst>
                    <a:gd name="connsiteX0" fmla="*/ 28276 w 33161"/>
                    <a:gd name="connsiteY0" fmla="*/ 16340 h 19143"/>
                    <a:gd name="connsiteX1" fmla="*/ 4849 w 33161"/>
                    <a:gd name="connsiteY1" fmla="*/ 16340 h 19143"/>
                    <a:gd name="connsiteX2" fmla="*/ 4849 w 33161"/>
                    <a:gd name="connsiteY2" fmla="*/ 2803 h 19143"/>
                    <a:gd name="connsiteX3" fmla="*/ 28276 w 33161"/>
                    <a:gd name="connsiteY3" fmla="*/ 2803 h 19143"/>
                    <a:gd name="connsiteX4" fmla="*/ 28276 w 33161"/>
                    <a:gd name="connsiteY4" fmla="*/ 16340 h 191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161" h="19143">
                      <a:moveTo>
                        <a:pt x="28276" y="16340"/>
                      </a:moveTo>
                      <a:cubicBezTo>
                        <a:pt x="21812" y="20078"/>
                        <a:pt x="11313" y="20078"/>
                        <a:pt x="4849" y="16340"/>
                      </a:cubicBezTo>
                      <a:cubicBezTo>
                        <a:pt x="-1616" y="12602"/>
                        <a:pt x="-1616" y="6541"/>
                        <a:pt x="4849" y="2803"/>
                      </a:cubicBezTo>
                      <a:cubicBezTo>
                        <a:pt x="11313" y="-934"/>
                        <a:pt x="21812" y="-934"/>
                        <a:pt x="28276" y="2803"/>
                      </a:cubicBezTo>
                      <a:cubicBezTo>
                        <a:pt x="34790" y="6541"/>
                        <a:pt x="34790" y="12602"/>
                        <a:pt x="28276" y="16340"/>
                      </a:cubicBezTo>
                      <a:close/>
                    </a:path>
                  </a:pathLst>
                </a:custGeom>
                <a:solidFill>
                  <a:srgbClr val="FFFFFF">
                    <a:alpha val="50000"/>
                  </a:srgbClr>
                </a:solidFill>
                <a:ln w="48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31" name="Freeform: Shape 880">
                  <a:extLst>
                    <a:ext uri="{FF2B5EF4-FFF2-40B4-BE49-F238E27FC236}">
                      <a16:creationId xmlns:a16="http://schemas.microsoft.com/office/drawing/2014/main" id="{1F3B4325-93A1-8B2B-FE5E-B396F768AFB0}"/>
                    </a:ext>
                  </a:extLst>
                </p:cNvPr>
                <p:cNvSpPr/>
                <p:nvPr/>
              </p:nvSpPr>
              <p:spPr>
                <a:xfrm>
                  <a:off x="10120476" y="4546544"/>
                  <a:ext cx="33124" cy="19143"/>
                </a:xfrm>
                <a:custGeom>
                  <a:avLst/>
                  <a:gdLst>
                    <a:gd name="connsiteX0" fmla="*/ 28276 w 33124"/>
                    <a:gd name="connsiteY0" fmla="*/ 16340 h 19143"/>
                    <a:gd name="connsiteX1" fmla="*/ 4848 w 33124"/>
                    <a:gd name="connsiteY1" fmla="*/ 16340 h 19143"/>
                    <a:gd name="connsiteX2" fmla="*/ 4848 w 33124"/>
                    <a:gd name="connsiteY2" fmla="*/ 2803 h 19143"/>
                    <a:gd name="connsiteX3" fmla="*/ 28276 w 33124"/>
                    <a:gd name="connsiteY3" fmla="*/ 2803 h 19143"/>
                    <a:gd name="connsiteX4" fmla="*/ 28276 w 33124"/>
                    <a:gd name="connsiteY4" fmla="*/ 16340 h 191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124" h="19143">
                      <a:moveTo>
                        <a:pt x="28276" y="16340"/>
                      </a:moveTo>
                      <a:cubicBezTo>
                        <a:pt x="21811" y="20078"/>
                        <a:pt x="11313" y="20078"/>
                        <a:pt x="4848" y="16340"/>
                      </a:cubicBezTo>
                      <a:cubicBezTo>
                        <a:pt x="-1616" y="12602"/>
                        <a:pt x="-1616" y="6541"/>
                        <a:pt x="4848" y="2803"/>
                      </a:cubicBezTo>
                      <a:cubicBezTo>
                        <a:pt x="11313" y="-934"/>
                        <a:pt x="21811" y="-934"/>
                        <a:pt x="28276" y="2803"/>
                      </a:cubicBezTo>
                      <a:cubicBezTo>
                        <a:pt x="34740" y="6541"/>
                        <a:pt x="34740" y="12602"/>
                        <a:pt x="28276" y="16340"/>
                      </a:cubicBezTo>
                      <a:close/>
                    </a:path>
                  </a:pathLst>
                </a:custGeom>
                <a:solidFill>
                  <a:srgbClr val="FFFFFF">
                    <a:alpha val="50000"/>
                  </a:srgbClr>
                </a:solidFill>
                <a:ln w="48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32" name="Freeform: Shape 881">
                  <a:extLst>
                    <a:ext uri="{FF2B5EF4-FFF2-40B4-BE49-F238E27FC236}">
                      <a16:creationId xmlns:a16="http://schemas.microsoft.com/office/drawing/2014/main" id="{E4CA1499-40FB-A112-8CE4-EC0F4C151E2B}"/>
                    </a:ext>
                  </a:extLst>
                </p:cNvPr>
                <p:cNvSpPr/>
                <p:nvPr/>
              </p:nvSpPr>
              <p:spPr>
                <a:xfrm>
                  <a:off x="10231344" y="4610572"/>
                  <a:ext cx="33172" cy="19143"/>
                </a:xfrm>
                <a:custGeom>
                  <a:avLst/>
                  <a:gdLst>
                    <a:gd name="connsiteX0" fmla="*/ 28325 w 33172"/>
                    <a:gd name="connsiteY0" fmla="*/ 16340 h 19143"/>
                    <a:gd name="connsiteX1" fmla="*/ 4849 w 33172"/>
                    <a:gd name="connsiteY1" fmla="*/ 16340 h 19143"/>
                    <a:gd name="connsiteX2" fmla="*/ 4849 w 33172"/>
                    <a:gd name="connsiteY2" fmla="*/ 2803 h 19143"/>
                    <a:gd name="connsiteX3" fmla="*/ 28325 w 33172"/>
                    <a:gd name="connsiteY3" fmla="*/ 2803 h 19143"/>
                    <a:gd name="connsiteX4" fmla="*/ 28325 w 33172"/>
                    <a:gd name="connsiteY4" fmla="*/ 16340 h 191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172" h="19143">
                      <a:moveTo>
                        <a:pt x="28325" y="16340"/>
                      </a:moveTo>
                      <a:cubicBezTo>
                        <a:pt x="21860" y="20078"/>
                        <a:pt x="11362" y="20078"/>
                        <a:pt x="4849" y="16340"/>
                      </a:cubicBezTo>
                      <a:cubicBezTo>
                        <a:pt x="-1616" y="12602"/>
                        <a:pt x="-1616" y="6541"/>
                        <a:pt x="4849" y="2803"/>
                      </a:cubicBezTo>
                      <a:cubicBezTo>
                        <a:pt x="11362" y="-934"/>
                        <a:pt x="21860" y="-934"/>
                        <a:pt x="28325" y="2803"/>
                      </a:cubicBezTo>
                      <a:cubicBezTo>
                        <a:pt x="34789" y="6541"/>
                        <a:pt x="34789" y="12602"/>
                        <a:pt x="28325" y="16340"/>
                      </a:cubicBezTo>
                      <a:close/>
                    </a:path>
                  </a:pathLst>
                </a:custGeom>
                <a:solidFill>
                  <a:srgbClr val="FFFFFF">
                    <a:alpha val="50000"/>
                  </a:srgbClr>
                </a:solidFill>
                <a:ln w="48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33" name="Freeform: Shape 882">
                  <a:extLst>
                    <a:ext uri="{FF2B5EF4-FFF2-40B4-BE49-F238E27FC236}">
                      <a16:creationId xmlns:a16="http://schemas.microsoft.com/office/drawing/2014/main" id="{8644A789-4460-C7B9-CE8E-55CBDCE4EFF4}"/>
                    </a:ext>
                  </a:extLst>
                </p:cNvPr>
                <p:cNvSpPr/>
                <p:nvPr/>
              </p:nvSpPr>
              <p:spPr>
                <a:xfrm>
                  <a:off x="10215693" y="4363954"/>
                  <a:ext cx="33124" cy="19138"/>
                </a:xfrm>
                <a:custGeom>
                  <a:avLst/>
                  <a:gdLst>
                    <a:gd name="connsiteX0" fmla="*/ 28276 w 33124"/>
                    <a:gd name="connsiteY0" fmla="*/ 16335 h 19138"/>
                    <a:gd name="connsiteX1" fmla="*/ 4848 w 33124"/>
                    <a:gd name="connsiteY1" fmla="*/ 16335 h 19138"/>
                    <a:gd name="connsiteX2" fmla="*/ 4848 w 33124"/>
                    <a:gd name="connsiteY2" fmla="*/ 2803 h 19138"/>
                    <a:gd name="connsiteX3" fmla="*/ 28276 w 33124"/>
                    <a:gd name="connsiteY3" fmla="*/ 2803 h 19138"/>
                    <a:gd name="connsiteX4" fmla="*/ 28276 w 33124"/>
                    <a:gd name="connsiteY4" fmla="*/ 16335 h 191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124" h="19138">
                      <a:moveTo>
                        <a:pt x="28276" y="16335"/>
                      </a:moveTo>
                      <a:cubicBezTo>
                        <a:pt x="21812" y="20073"/>
                        <a:pt x="11313" y="20073"/>
                        <a:pt x="4848" y="16335"/>
                      </a:cubicBezTo>
                      <a:cubicBezTo>
                        <a:pt x="-1616" y="12597"/>
                        <a:pt x="-1616" y="6536"/>
                        <a:pt x="4848" y="2803"/>
                      </a:cubicBezTo>
                      <a:cubicBezTo>
                        <a:pt x="11313" y="-934"/>
                        <a:pt x="21812" y="-934"/>
                        <a:pt x="28276" y="2803"/>
                      </a:cubicBezTo>
                      <a:cubicBezTo>
                        <a:pt x="34740" y="6536"/>
                        <a:pt x="34740" y="12597"/>
                        <a:pt x="28276" y="16335"/>
                      </a:cubicBezTo>
                      <a:close/>
                    </a:path>
                  </a:pathLst>
                </a:custGeom>
                <a:solidFill>
                  <a:srgbClr val="FFFFFF">
                    <a:alpha val="50000"/>
                  </a:srgbClr>
                </a:solidFill>
                <a:ln w="48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34" name="Freeform: Shape 883">
                  <a:extLst>
                    <a:ext uri="{FF2B5EF4-FFF2-40B4-BE49-F238E27FC236}">
                      <a16:creationId xmlns:a16="http://schemas.microsoft.com/office/drawing/2014/main" id="{EA913B5C-F5C5-C2A6-12C3-1BBCC9AFD33D}"/>
                    </a:ext>
                  </a:extLst>
                </p:cNvPr>
                <p:cNvSpPr/>
                <p:nvPr/>
              </p:nvSpPr>
              <p:spPr>
                <a:xfrm>
                  <a:off x="10326610" y="4428011"/>
                  <a:ext cx="33172" cy="19138"/>
                </a:xfrm>
                <a:custGeom>
                  <a:avLst/>
                  <a:gdLst>
                    <a:gd name="connsiteX0" fmla="*/ 28324 w 33172"/>
                    <a:gd name="connsiteY0" fmla="*/ 16335 h 19138"/>
                    <a:gd name="connsiteX1" fmla="*/ 4848 w 33172"/>
                    <a:gd name="connsiteY1" fmla="*/ 16335 h 19138"/>
                    <a:gd name="connsiteX2" fmla="*/ 4848 w 33172"/>
                    <a:gd name="connsiteY2" fmla="*/ 2803 h 19138"/>
                    <a:gd name="connsiteX3" fmla="*/ 28324 w 33172"/>
                    <a:gd name="connsiteY3" fmla="*/ 2803 h 19138"/>
                    <a:gd name="connsiteX4" fmla="*/ 28324 w 33172"/>
                    <a:gd name="connsiteY4" fmla="*/ 16335 h 191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172" h="19138">
                      <a:moveTo>
                        <a:pt x="28324" y="16335"/>
                      </a:moveTo>
                      <a:cubicBezTo>
                        <a:pt x="21860" y="20073"/>
                        <a:pt x="11361" y="20073"/>
                        <a:pt x="4848" y="16335"/>
                      </a:cubicBezTo>
                      <a:cubicBezTo>
                        <a:pt x="-1616" y="12597"/>
                        <a:pt x="-1616" y="6541"/>
                        <a:pt x="4848" y="2803"/>
                      </a:cubicBezTo>
                      <a:cubicBezTo>
                        <a:pt x="11361" y="-934"/>
                        <a:pt x="21860" y="-934"/>
                        <a:pt x="28324" y="2803"/>
                      </a:cubicBezTo>
                      <a:cubicBezTo>
                        <a:pt x="34789" y="6541"/>
                        <a:pt x="34789" y="12597"/>
                        <a:pt x="28324" y="16335"/>
                      </a:cubicBezTo>
                      <a:close/>
                    </a:path>
                  </a:pathLst>
                </a:custGeom>
                <a:solidFill>
                  <a:srgbClr val="FFFFFF">
                    <a:alpha val="50000"/>
                  </a:srgbClr>
                </a:solidFill>
                <a:ln w="48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35" name="Freeform: Shape 884">
                  <a:extLst>
                    <a:ext uri="{FF2B5EF4-FFF2-40B4-BE49-F238E27FC236}">
                      <a16:creationId xmlns:a16="http://schemas.microsoft.com/office/drawing/2014/main" id="{1D81368E-7219-34C6-4E3E-A4EBC82BCC28}"/>
                    </a:ext>
                  </a:extLst>
                </p:cNvPr>
                <p:cNvSpPr/>
                <p:nvPr/>
              </p:nvSpPr>
              <p:spPr>
                <a:xfrm>
                  <a:off x="10437576" y="4492068"/>
                  <a:ext cx="33160" cy="19139"/>
                </a:xfrm>
                <a:custGeom>
                  <a:avLst/>
                  <a:gdLst>
                    <a:gd name="connsiteX0" fmla="*/ 28276 w 33160"/>
                    <a:gd name="connsiteY0" fmla="*/ 16340 h 19139"/>
                    <a:gd name="connsiteX1" fmla="*/ 4848 w 33160"/>
                    <a:gd name="connsiteY1" fmla="*/ 16340 h 19139"/>
                    <a:gd name="connsiteX2" fmla="*/ 4848 w 33160"/>
                    <a:gd name="connsiteY2" fmla="*/ 2803 h 19139"/>
                    <a:gd name="connsiteX3" fmla="*/ 28276 w 33160"/>
                    <a:gd name="connsiteY3" fmla="*/ 2803 h 19139"/>
                    <a:gd name="connsiteX4" fmla="*/ 28276 w 33160"/>
                    <a:gd name="connsiteY4" fmla="*/ 16340 h 191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160" h="19139">
                      <a:moveTo>
                        <a:pt x="28276" y="16340"/>
                      </a:moveTo>
                      <a:cubicBezTo>
                        <a:pt x="21811" y="20073"/>
                        <a:pt x="11313" y="20073"/>
                        <a:pt x="4848" y="16340"/>
                      </a:cubicBezTo>
                      <a:cubicBezTo>
                        <a:pt x="-1616" y="12602"/>
                        <a:pt x="-1616" y="6541"/>
                        <a:pt x="4848" y="2803"/>
                      </a:cubicBezTo>
                      <a:cubicBezTo>
                        <a:pt x="11313" y="-934"/>
                        <a:pt x="21811" y="-934"/>
                        <a:pt x="28276" y="2803"/>
                      </a:cubicBezTo>
                      <a:cubicBezTo>
                        <a:pt x="34789" y="6541"/>
                        <a:pt x="34789" y="12602"/>
                        <a:pt x="28276" y="16340"/>
                      </a:cubicBezTo>
                      <a:close/>
                    </a:path>
                  </a:pathLst>
                </a:custGeom>
                <a:solidFill>
                  <a:srgbClr val="FFFFFF">
                    <a:alpha val="50000"/>
                  </a:srgbClr>
                </a:solidFill>
                <a:ln w="48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36" name="Freeform: Shape 885">
                  <a:extLst>
                    <a:ext uri="{FF2B5EF4-FFF2-40B4-BE49-F238E27FC236}">
                      <a16:creationId xmlns:a16="http://schemas.microsoft.com/office/drawing/2014/main" id="{B13FCF48-52B7-9E97-526D-1B16775F821B}"/>
                    </a:ext>
                  </a:extLst>
                </p:cNvPr>
                <p:cNvSpPr/>
                <p:nvPr/>
              </p:nvSpPr>
              <p:spPr>
                <a:xfrm>
                  <a:off x="10175545" y="4387129"/>
                  <a:ext cx="33124" cy="19138"/>
                </a:xfrm>
                <a:custGeom>
                  <a:avLst/>
                  <a:gdLst>
                    <a:gd name="connsiteX0" fmla="*/ 28276 w 33124"/>
                    <a:gd name="connsiteY0" fmla="*/ 16335 h 19138"/>
                    <a:gd name="connsiteX1" fmla="*/ 4849 w 33124"/>
                    <a:gd name="connsiteY1" fmla="*/ 16335 h 19138"/>
                    <a:gd name="connsiteX2" fmla="*/ 4849 w 33124"/>
                    <a:gd name="connsiteY2" fmla="*/ 2803 h 19138"/>
                    <a:gd name="connsiteX3" fmla="*/ 28276 w 33124"/>
                    <a:gd name="connsiteY3" fmla="*/ 2803 h 19138"/>
                    <a:gd name="connsiteX4" fmla="*/ 28276 w 33124"/>
                    <a:gd name="connsiteY4" fmla="*/ 16335 h 191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124" h="19138">
                      <a:moveTo>
                        <a:pt x="28276" y="16335"/>
                      </a:moveTo>
                      <a:cubicBezTo>
                        <a:pt x="21812" y="20073"/>
                        <a:pt x="11313" y="20073"/>
                        <a:pt x="4849" y="16335"/>
                      </a:cubicBezTo>
                      <a:cubicBezTo>
                        <a:pt x="-1616" y="12597"/>
                        <a:pt x="-1616" y="6541"/>
                        <a:pt x="4849" y="2803"/>
                      </a:cubicBezTo>
                      <a:cubicBezTo>
                        <a:pt x="11313" y="-934"/>
                        <a:pt x="21812" y="-934"/>
                        <a:pt x="28276" y="2803"/>
                      </a:cubicBezTo>
                      <a:cubicBezTo>
                        <a:pt x="34740" y="6541"/>
                        <a:pt x="34740" y="12597"/>
                        <a:pt x="28276" y="16335"/>
                      </a:cubicBezTo>
                      <a:close/>
                    </a:path>
                  </a:pathLst>
                </a:custGeom>
                <a:solidFill>
                  <a:srgbClr val="FFFFFF">
                    <a:alpha val="50000"/>
                  </a:srgbClr>
                </a:solidFill>
                <a:ln w="48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37" name="Freeform: Shape 886">
                  <a:extLst>
                    <a:ext uri="{FF2B5EF4-FFF2-40B4-BE49-F238E27FC236}">
                      <a16:creationId xmlns:a16="http://schemas.microsoft.com/office/drawing/2014/main" id="{DA021A90-A845-D391-DA69-C3C79433D2DB}"/>
                    </a:ext>
                  </a:extLst>
                </p:cNvPr>
                <p:cNvSpPr/>
                <p:nvPr/>
              </p:nvSpPr>
              <p:spPr>
                <a:xfrm>
                  <a:off x="10286475" y="4451186"/>
                  <a:ext cx="33160" cy="19139"/>
                </a:xfrm>
                <a:custGeom>
                  <a:avLst/>
                  <a:gdLst>
                    <a:gd name="connsiteX0" fmla="*/ 28312 w 33160"/>
                    <a:gd name="connsiteY0" fmla="*/ 16340 h 19139"/>
                    <a:gd name="connsiteX1" fmla="*/ 4885 w 33160"/>
                    <a:gd name="connsiteY1" fmla="*/ 16340 h 19139"/>
                    <a:gd name="connsiteX2" fmla="*/ 4885 w 33160"/>
                    <a:gd name="connsiteY2" fmla="*/ 2803 h 19139"/>
                    <a:gd name="connsiteX3" fmla="*/ 28312 w 33160"/>
                    <a:gd name="connsiteY3" fmla="*/ 2803 h 19139"/>
                    <a:gd name="connsiteX4" fmla="*/ 28312 w 33160"/>
                    <a:gd name="connsiteY4" fmla="*/ 16340 h 191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160" h="19139">
                      <a:moveTo>
                        <a:pt x="28312" y="16340"/>
                      </a:moveTo>
                      <a:cubicBezTo>
                        <a:pt x="21848" y="20073"/>
                        <a:pt x="11349" y="20073"/>
                        <a:pt x="4885" y="16340"/>
                      </a:cubicBezTo>
                      <a:cubicBezTo>
                        <a:pt x="-1628" y="12602"/>
                        <a:pt x="-1628" y="6541"/>
                        <a:pt x="4885" y="2803"/>
                      </a:cubicBezTo>
                      <a:cubicBezTo>
                        <a:pt x="11349" y="-934"/>
                        <a:pt x="21848" y="-934"/>
                        <a:pt x="28312" y="2803"/>
                      </a:cubicBezTo>
                      <a:cubicBezTo>
                        <a:pt x="34777" y="6541"/>
                        <a:pt x="34777" y="12602"/>
                        <a:pt x="28312" y="16340"/>
                      </a:cubicBezTo>
                      <a:close/>
                    </a:path>
                  </a:pathLst>
                </a:custGeom>
                <a:solidFill>
                  <a:srgbClr val="FFFFFF">
                    <a:alpha val="50000"/>
                  </a:srgbClr>
                </a:solidFill>
                <a:ln w="48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38" name="Freeform: Shape 887">
                  <a:extLst>
                    <a:ext uri="{FF2B5EF4-FFF2-40B4-BE49-F238E27FC236}">
                      <a16:creationId xmlns:a16="http://schemas.microsoft.com/office/drawing/2014/main" id="{E7FD90A6-739D-B1CD-D9A6-4468ABA88746}"/>
                    </a:ext>
                  </a:extLst>
                </p:cNvPr>
                <p:cNvSpPr/>
                <p:nvPr/>
              </p:nvSpPr>
              <p:spPr>
                <a:xfrm>
                  <a:off x="10397428" y="4515243"/>
                  <a:ext cx="33173" cy="19143"/>
                </a:xfrm>
                <a:custGeom>
                  <a:avLst/>
                  <a:gdLst>
                    <a:gd name="connsiteX0" fmla="*/ 28325 w 33173"/>
                    <a:gd name="connsiteY0" fmla="*/ 16340 h 19143"/>
                    <a:gd name="connsiteX1" fmla="*/ 4848 w 33173"/>
                    <a:gd name="connsiteY1" fmla="*/ 16340 h 19143"/>
                    <a:gd name="connsiteX2" fmla="*/ 4848 w 33173"/>
                    <a:gd name="connsiteY2" fmla="*/ 2803 h 19143"/>
                    <a:gd name="connsiteX3" fmla="*/ 28325 w 33173"/>
                    <a:gd name="connsiteY3" fmla="*/ 2803 h 19143"/>
                    <a:gd name="connsiteX4" fmla="*/ 28325 w 33173"/>
                    <a:gd name="connsiteY4" fmla="*/ 16340 h 191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173" h="19143">
                      <a:moveTo>
                        <a:pt x="28325" y="16340"/>
                      </a:moveTo>
                      <a:cubicBezTo>
                        <a:pt x="21811" y="20078"/>
                        <a:pt x="11313" y="20078"/>
                        <a:pt x="4848" y="16340"/>
                      </a:cubicBezTo>
                      <a:cubicBezTo>
                        <a:pt x="-1616" y="12602"/>
                        <a:pt x="-1616" y="6541"/>
                        <a:pt x="4848" y="2803"/>
                      </a:cubicBezTo>
                      <a:cubicBezTo>
                        <a:pt x="11313" y="-934"/>
                        <a:pt x="21811" y="-934"/>
                        <a:pt x="28325" y="2803"/>
                      </a:cubicBezTo>
                      <a:cubicBezTo>
                        <a:pt x="34789" y="6541"/>
                        <a:pt x="34789" y="12602"/>
                        <a:pt x="28325" y="16340"/>
                      </a:cubicBezTo>
                      <a:close/>
                    </a:path>
                  </a:pathLst>
                </a:custGeom>
                <a:solidFill>
                  <a:srgbClr val="FFFFFF">
                    <a:alpha val="50000"/>
                  </a:srgbClr>
                </a:solidFill>
                <a:ln w="48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39" name="Freeform: Shape 888">
                  <a:extLst>
                    <a:ext uri="{FF2B5EF4-FFF2-40B4-BE49-F238E27FC236}">
                      <a16:creationId xmlns:a16="http://schemas.microsoft.com/office/drawing/2014/main" id="{8F724F74-B1C3-E817-F36D-DEF4053FA873}"/>
                    </a:ext>
                  </a:extLst>
                </p:cNvPr>
                <p:cNvSpPr/>
                <p:nvPr/>
              </p:nvSpPr>
              <p:spPr>
                <a:xfrm>
                  <a:off x="10170818" y="4458448"/>
                  <a:ext cx="355267" cy="205101"/>
                </a:xfrm>
                <a:custGeom>
                  <a:avLst/>
                  <a:gdLst>
                    <a:gd name="connsiteX0" fmla="*/ 8895 w 355267"/>
                    <a:gd name="connsiteY0" fmla="*/ 153445 h 205101"/>
                    <a:gd name="connsiteX1" fmla="*/ 265773 w 355267"/>
                    <a:gd name="connsiteY1" fmla="*/ 5122 h 205101"/>
                    <a:gd name="connsiteX2" fmla="*/ 308594 w 355267"/>
                    <a:gd name="connsiteY2" fmla="*/ 5122 h 205101"/>
                    <a:gd name="connsiteX3" fmla="*/ 346409 w 355267"/>
                    <a:gd name="connsiteY3" fmla="*/ 26936 h 205101"/>
                    <a:gd name="connsiteX4" fmla="*/ 346409 w 355267"/>
                    <a:gd name="connsiteY4" fmla="*/ 51656 h 205101"/>
                    <a:gd name="connsiteX5" fmla="*/ 89482 w 355267"/>
                    <a:gd name="connsiteY5" fmla="*/ 199980 h 205101"/>
                    <a:gd name="connsiteX6" fmla="*/ 46661 w 355267"/>
                    <a:gd name="connsiteY6" fmla="*/ 199980 h 205101"/>
                    <a:gd name="connsiteX7" fmla="*/ 8895 w 355267"/>
                    <a:gd name="connsiteY7" fmla="*/ 178166 h 205101"/>
                    <a:gd name="connsiteX8" fmla="*/ 8895 w 355267"/>
                    <a:gd name="connsiteY8" fmla="*/ 153445 h 2051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55267" h="205101">
                      <a:moveTo>
                        <a:pt x="8895" y="153445"/>
                      </a:moveTo>
                      <a:lnTo>
                        <a:pt x="265773" y="5122"/>
                      </a:lnTo>
                      <a:cubicBezTo>
                        <a:pt x="277584" y="-1707"/>
                        <a:pt x="296783" y="-1707"/>
                        <a:pt x="308594" y="5122"/>
                      </a:cubicBezTo>
                      <a:lnTo>
                        <a:pt x="346409" y="26936"/>
                      </a:lnTo>
                      <a:cubicBezTo>
                        <a:pt x="358220" y="33760"/>
                        <a:pt x="358220" y="44832"/>
                        <a:pt x="346409" y="51656"/>
                      </a:cubicBezTo>
                      <a:lnTo>
                        <a:pt x="89482" y="199980"/>
                      </a:lnTo>
                      <a:cubicBezTo>
                        <a:pt x="77671" y="206809"/>
                        <a:pt x="58472" y="206809"/>
                        <a:pt x="46661" y="199980"/>
                      </a:cubicBezTo>
                      <a:lnTo>
                        <a:pt x="8895" y="178166"/>
                      </a:lnTo>
                      <a:cubicBezTo>
                        <a:pt x="-2965" y="171337"/>
                        <a:pt x="-2965" y="160269"/>
                        <a:pt x="8895" y="153445"/>
                      </a:cubicBezTo>
                      <a:close/>
                    </a:path>
                  </a:pathLst>
                </a:custGeom>
                <a:noFill/>
                <a:ln w="9717" cap="flat">
                  <a:solidFill>
                    <a:srgbClr val="FFFFFF">
                      <a:alpha val="50000"/>
                    </a:srgb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40" name="Freeform: Shape 889">
                  <a:extLst>
                    <a:ext uri="{FF2B5EF4-FFF2-40B4-BE49-F238E27FC236}">
                      <a16:creationId xmlns:a16="http://schemas.microsoft.com/office/drawing/2014/main" id="{75F9EFBE-E9F7-C1D6-D78A-0CDD8BB01605}"/>
                    </a:ext>
                  </a:extLst>
                </p:cNvPr>
                <p:cNvSpPr/>
                <p:nvPr/>
              </p:nvSpPr>
              <p:spPr>
                <a:xfrm>
                  <a:off x="10278430" y="4394939"/>
                  <a:ext cx="28969" cy="16715"/>
                </a:xfrm>
                <a:custGeom>
                  <a:avLst/>
                  <a:gdLst>
                    <a:gd name="connsiteX0" fmla="*/ 0 w 28969"/>
                    <a:gd name="connsiteY0" fmla="*/ 0 h 16715"/>
                    <a:gd name="connsiteX1" fmla="*/ 28969 w 28969"/>
                    <a:gd name="connsiteY1" fmla="*/ 16715 h 167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969" h="16715">
                      <a:moveTo>
                        <a:pt x="0" y="0"/>
                      </a:moveTo>
                      <a:lnTo>
                        <a:pt x="28969" y="16715"/>
                      </a:lnTo>
                    </a:path>
                  </a:pathLst>
                </a:custGeom>
                <a:noFill/>
                <a:ln w="9717" cap="flat">
                  <a:solidFill>
                    <a:srgbClr val="FFFFFF">
                      <a:alpha val="50000"/>
                    </a:srgb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41" name="Freeform: Shape 890">
                  <a:extLst>
                    <a:ext uri="{FF2B5EF4-FFF2-40B4-BE49-F238E27FC236}">
                      <a16:creationId xmlns:a16="http://schemas.microsoft.com/office/drawing/2014/main" id="{3376FE77-F363-8D6B-2CC1-13E7C6FE6BCA}"/>
                    </a:ext>
                  </a:extLst>
                </p:cNvPr>
                <p:cNvSpPr/>
                <p:nvPr/>
              </p:nvSpPr>
              <p:spPr>
                <a:xfrm>
                  <a:off x="10377342" y="4461003"/>
                  <a:ext cx="26927" cy="15543"/>
                </a:xfrm>
                <a:custGeom>
                  <a:avLst/>
                  <a:gdLst>
                    <a:gd name="connsiteX0" fmla="*/ 0 w 26927"/>
                    <a:gd name="connsiteY0" fmla="*/ 0 h 15543"/>
                    <a:gd name="connsiteX1" fmla="*/ 26927 w 26927"/>
                    <a:gd name="connsiteY1" fmla="*/ 15544 h 155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927" h="15543">
                      <a:moveTo>
                        <a:pt x="0" y="0"/>
                      </a:moveTo>
                      <a:lnTo>
                        <a:pt x="26927" y="15544"/>
                      </a:lnTo>
                    </a:path>
                  </a:pathLst>
                </a:custGeom>
                <a:noFill/>
                <a:ln w="9717" cap="flat">
                  <a:solidFill>
                    <a:srgbClr val="FFFFFF">
                      <a:alpha val="50000"/>
                    </a:srgb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42" name="Freeform: Shape 891">
                  <a:extLst>
                    <a:ext uri="{FF2B5EF4-FFF2-40B4-BE49-F238E27FC236}">
                      <a16:creationId xmlns:a16="http://schemas.microsoft.com/office/drawing/2014/main" id="{46EC12AB-FA8E-8DD5-4820-B3C8B76B8B14}"/>
                    </a:ext>
                  </a:extLst>
                </p:cNvPr>
                <p:cNvSpPr/>
                <p:nvPr/>
              </p:nvSpPr>
              <p:spPr>
                <a:xfrm>
                  <a:off x="10071421" y="4518231"/>
                  <a:ext cx="29017" cy="16749"/>
                </a:xfrm>
                <a:custGeom>
                  <a:avLst/>
                  <a:gdLst>
                    <a:gd name="connsiteX0" fmla="*/ 0 w 29017"/>
                    <a:gd name="connsiteY0" fmla="*/ 0 h 16749"/>
                    <a:gd name="connsiteX1" fmla="*/ 29017 w 29017"/>
                    <a:gd name="connsiteY1" fmla="*/ 16749 h 167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017" h="16749">
                      <a:moveTo>
                        <a:pt x="0" y="0"/>
                      </a:moveTo>
                      <a:lnTo>
                        <a:pt x="29017" y="16749"/>
                      </a:lnTo>
                    </a:path>
                  </a:pathLst>
                </a:custGeom>
                <a:noFill/>
                <a:ln w="9717" cap="flat">
                  <a:solidFill>
                    <a:srgbClr val="FFFFFF">
                      <a:alpha val="50000"/>
                    </a:srgb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43" name="Freeform: Shape 892">
                  <a:extLst>
                    <a:ext uri="{FF2B5EF4-FFF2-40B4-BE49-F238E27FC236}">
                      <a16:creationId xmlns:a16="http://schemas.microsoft.com/office/drawing/2014/main" id="{ED32556F-1223-5453-09E5-674A30B90696}"/>
                    </a:ext>
                  </a:extLst>
                </p:cNvPr>
                <p:cNvSpPr/>
                <p:nvPr/>
              </p:nvSpPr>
              <p:spPr>
                <a:xfrm>
                  <a:off x="10185157" y="4575492"/>
                  <a:ext cx="26926" cy="15543"/>
                </a:xfrm>
                <a:custGeom>
                  <a:avLst/>
                  <a:gdLst>
                    <a:gd name="connsiteX0" fmla="*/ 0 w 26926"/>
                    <a:gd name="connsiteY0" fmla="*/ 0 h 15543"/>
                    <a:gd name="connsiteX1" fmla="*/ 26927 w 26926"/>
                    <a:gd name="connsiteY1" fmla="*/ 15544 h 155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926" h="15543">
                      <a:moveTo>
                        <a:pt x="0" y="0"/>
                      </a:moveTo>
                      <a:lnTo>
                        <a:pt x="26927" y="15544"/>
                      </a:lnTo>
                    </a:path>
                  </a:pathLst>
                </a:custGeom>
                <a:noFill/>
                <a:ln w="9717" cap="flat">
                  <a:solidFill>
                    <a:srgbClr val="FFFFFF">
                      <a:alpha val="50000"/>
                    </a:srgb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211" name="Graphic 188">
                <a:extLst>
                  <a:ext uri="{FF2B5EF4-FFF2-40B4-BE49-F238E27FC236}">
                    <a16:creationId xmlns:a16="http://schemas.microsoft.com/office/drawing/2014/main" id="{E5F68152-4EF3-57E3-0FA0-A5CFEF9744A2}"/>
                  </a:ext>
                </a:extLst>
              </p:cNvPr>
              <p:cNvGrpSpPr/>
              <p:nvPr/>
            </p:nvGrpSpPr>
            <p:grpSpPr>
              <a:xfrm>
                <a:off x="9951694" y="4248749"/>
                <a:ext cx="574391" cy="331608"/>
                <a:chOff x="9951694" y="4248749"/>
                <a:chExt cx="574391" cy="331608"/>
              </a:xfrm>
            </p:grpSpPr>
            <p:sp>
              <p:nvSpPr>
                <p:cNvPr id="212" name="Freeform: Shape 861">
                  <a:extLst>
                    <a:ext uri="{FF2B5EF4-FFF2-40B4-BE49-F238E27FC236}">
                      <a16:creationId xmlns:a16="http://schemas.microsoft.com/office/drawing/2014/main" id="{400AF6D2-F03E-A1AB-E521-17F6E6EB5FC6}"/>
                    </a:ext>
                  </a:extLst>
                </p:cNvPr>
                <p:cNvSpPr/>
                <p:nvPr/>
              </p:nvSpPr>
              <p:spPr>
                <a:xfrm>
                  <a:off x="9951694" y="4248749"/>
                  <a:ext cx="355267" cy="205102"/>
                </a:xfrm>
                <a:custGeom>
                  <a:avLst/>
                  <a:gdLst>
                    <a:gd name="connsiteX0" fmla="*/ 8858 w 355267"/>
                    <a:gd name="connsiteY0" fmla="*/ 153446 h 205102"/>
                    <a:gd name="connsiteX1" fmla="*/ 265785 w 355267"/>
                    <a:gd name="connsiteY1" fmla="*/ 5118 h 205102"/>
                    <a:gd name="connsiteX2" fmla="*/ 308606 w 355267"/>
                    <a:gd name="connsiteY2" fmla="*/ 5118 h 205102"/>
                    <a:gd name="connsiteX3" fmla="*/ 346373 w 355267"/>
                    <a:gd name="connsiteY3" fmla="*/ 26937 h 205102"/>
                    <a:gd name="connsiteX4" fmla="*/ 346373 w 355267"/>
                    <a:gd name="connsiteY4" fmla="*/ 51657 h 205102"/>
                    <a:gd name="connsiteX5" fmla="*/ 89494 w 355267"/>
                    <a:gd name="connsiteY5" fmla="*/ 199981 h 205102"/>
                    <a:gd name="connsiteX6" fmla="*/ 46673 w 355267"/>
                    <a:gd name="connsiteY6" fmla="*/ 199981 h 205102"/>
                    <a:gd name="connsiteX7" fmla="*/ 8858 w 355267"/>
                    <a:gd name="connsiteY7" fmla="*/ 178167 h 205102"/>
                    <a:gd name="connsiteX8" fmla="*/ 8858 w 355267"/>
                    <a:gd name="connsiteY8" fmla="*/ 153446 h 2051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55267" h="205102">
                      <a:moveTo>
                        <a:pt x="8858" y="153446"/>
                      </a:moveTo>
                      <a:lnTo>
                        <a:pt x="265785" y="5118"/>
                      </a:lnTo>
                      <a:cubicBezTo>
                        <a:pt x="277596" y="-1706"/>
                        <a:pt x="296795" y="-1706"/>
                        <a:pt x="308606" y="5118"/>
                      </a:cubicBezTo>
                      <a:lnTo>
                        <a:pt x="346373" y="26937"/>
                      </a:lnTo>
                      <a:cubicBezTo>
                        <a:pt x="358232" y="33761"/>
                        <a:pt x="358232" y="44828"/>
                        <a:pt x="346373" y="51657"/>
                      </a:cubicBezTo>
                      <a:lnTo>
                        <a:pt x="89494" y="199981"/>
                      </a:lnTo>
                      <a:cubicBezTo>
                        <a:pt x="77683" y="206810"/>
                        <a:pt x="58484" y="206810"/>
                        <a:pt x="46673" y="199981"/>
                      </a:cubicBezTo>
                      <a:lnTo>
                        <a:pt x="8858" y="178167"/>
                      </a:lnTo>
                      <a:cubicBezTo>
                        <a:pt x="-2953" y="171338"/>
                        <a:pt x="-2953" y="160271"/>
                        <a:pt x="8858" y="153446"/>
                      </a:cubicBezTo>
                      <a:close/>
                    </a:path>
                  </a:pathLst>
                </a:custGeom>
                <a:noFill/>
                <a:ln w="12633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13" name="Freeform: Shape 862">
                  <a:extLst>
                    <a:ext uri="{FF2B5EF4-FFF2-40B4-BE49-F238E27FC236}">
                      <a16:creationId xmlns:a16="http://schemas.microsoft.com/office/drawing/2014/main" id="{BA0C4C83-8480-7716-FD2E-F998D0D0E275}"/>
                    </a:ext>
                  </a:extLst>
                </p:cNvPr>
                <p:cNvSpPr/>
                <p:nvPr/>
              </p:nvSpPr>
              <p:spPr>
                <a:xfrm>
                  <a:off x="10061263" y="4312004"/>
                  <a:ext cx="355254" cy="205102"/>
                </a:xfrm>
                <a:custGeom>
                  <a:avLst/>
                  <a:gdLst>
                    <a:gd name="connsiteX0" fmla="*/ 8895 w 355254"/>
                    <a:gd name="connsiteY0" fmla="*/ 153447 h 205102"/>
                    <a:gd name="connsiteX1" fmla="*/ 265773 w 355254"/>
                    <a:gd name="connsiteY1" fmla="*/ 5118 h 205102"/>
                    <a:gd name="connsiteX2" fmla="*/ 308594 w 355254"/>
                    <a:gd name="connsiteY2" fmla="*/ 5118 h 205102"/>
                    <a:gd name="connsiteX3" fmla="*/ 346360 w 355254"/>
                    <a:gd name="connsiteY3" fmla="*/ 26937 h 205102"/>
                    <a:gd name="connsiteX4" fmla="*/ 346360 w 355254"/>
                    <a:gd name="connsiteY4" fmla="*/ 51658 h 205102"/>
                    <a:gd name="connsiteX5" fmla="*/ 89482 w 355254"/>
                    <a:gd name="connsiteY5" fmla="*/ 199981 h 205102"/>
                    <a:gd name="connsiteX6" fmla="*/ 46661 w 355254"/>
                    <a:gd name="connsiteY6" fmla="*/ 199981 h 205102"/>
                    <a:gd name="connsiteX7" fmla="*/ 8895 w 355254"/>
                    <a:gd name="connsiteY7" fmla="*/ 178167 h 205102"/>
                    <a:gd name="connsiteX8" fmla="*/ 8895 w 355254"/>
                    <a:gd name="connsiteY8" fmla="*/ 153447 h 2051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55254" h="205102">
                      <a:moveTo>
                        <a:pt x="8895" y="153447"/>
                      </a:moveTo>
                      <a:lnTo>
                        <a:pt x="265773" y="5118"/>
                      </a:lnTo>
                      <a:cubicBezTo>
                        <a:pt x="277584" y="-1706"/>
                        <a:pt x="296783" y="-1706"/>
                        <a:pt x="308594" y="5118"/>
                      </a:cubicBezTo>
                      <a:lnTo>
                        <a:pt x="346360" y="26937"/>
                      </a:lnTo>
                      <a:cubicBezTo>
                        <a:pt x="358220" y="33761"/>
                        <a:pt x="358220" y="44829"/>
                        <a:pt x="346360" y="51658"/>
                      </a:cubicBezTo>
                      <a:lnTo>
                        <a:pt x="89482" y="199981"/>
                      </a:lnTo>
                      <a:cubicBezTo>
                        <a:pt x="77671" y="206810"/>
                        <a:pt x="58472" y="206810"/>
                        <a:pt x="46661" y="199981"/>
                      </a:cubicBezTo>
                      <a:lnTo>
                        <a:pt x="8895" y="178167"/>
                      </a:lnTo>
                      <a:cubicBezTo>
                        <a:pt x="-2965" y="171338"/>
                        <a:pt x="-2965" y="160271"/>
                        <a:pt x="8895" y="153447"/>
                      </a:cubicBezTo>
                      <a:close/>
                    </a:path>
                  </a:pathLst>
                </a:custGeom>
                <a:noFill/>
                <a:ln w="12633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14" name="Freeform: Shape 863">
                  <a:extLst>
                    <a:ext uri="{FF2B5EF4-FFF2-40B4-BE49-F238E27FC236}">
                      <a16:creationId xmlns:a16="http://schemas.microsoft.com/office/drawing/2014/main" id="{A49CBADD-26FF-DD68-4983-5F77871B7929}"/>
                    </a:ext>
                  </a:extLst>
                </p:cNvPr>
                <p:cNvSpPr/>
                <p:nvPr/>
              </p:nvSpPr>
              <p:spPr>
                <a:xfrm>
                  <a:off x="10009510" y="4399300"/>
                  <a:ext cx="33161" cy="19138"/>
                </a:xfrm>
                <a:custGeom>
                  <a:avLst/>
                  <a:gdLst>
                    <a:gd name="connsiteX0" fmla="*/ 28276 w 33161"/>
                    <a:gd name="connsiteY0" fmla="*/ 16335 h 19138"/>
                    <a:gd name="connsiteX1" fmla="*/ 4849 w 33161"/>
                    <a:gd name="connsiteY1" fmla="*/ 16335 h 19138"/>
                    <a:gd name="connsiteX2" fmla="*/ 4849 w 33161"/>
                    <a:gd name="connsiteY2" fmla="*/ 2803 h 19138"/>
                    <a:gd name="connsiteX3" fmla="*/ 28276 w 33161"/>
                    <a:gd name="connsiteY3" fmla="*/ 2803 h 19138"/>
                    <a:gd name="connsiteX4" fmla="*/ 28276 w 33161"/>
                    <a:gd name="connsiteY4" fmla="*/ 16335 h 191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161" h="19138">
                      <a:moveTo>
                        <a:pt x="28276" y="16335"/>
                      </a:moveTo>
                      <a:cubicBezTo>
                        <a:pt x="21812" y="20073"/>
                        <a:pt x="11313" y="20073"/>
                        <a:pt x="4849" y="16335"/>
                      </a:cubicBezTo>
                      <a:cubicBezTo>
                        <a:pt x="-1616" y="12597"/>
                        <a:pt x="-1616" y="6541"/>
                        <a:pt x="4849" y="2803"/>
                      </a:cubicBezTo>
                      <a:cubicBezTo>
                        <a:pt x="11313" y="-934"/>
                        <a:pt x="21812" y="-934"/>
                        <a:pt x="28276" y="2803"/>
                      </a:cubicBezTo>
                      <a:cubicBezTo>
                        <a:pt x="34790" y="6541"/>
                        <a:pt x="34790" y="12597"/>
                        <a:pt x="28276" y="1633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48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15" name="Freeform: Shape 864">
                  <a:extLst>
                    <a:ext uri="{FF2B5EF4-FFF2-40B4-BE49-F238E27FC236}">
                      <a16:creationId xmlns:a16="http://schemas.microsoft.com/office/drawing/2014/main" id="{3344417F-96A1-BAF1-D04E-998A28B4BE24}"/>
                    </a:ext>
                  </a:extLst>
                </p:cNvPr>
                <p:cNvSpPr/>
                <p:nvPr/>
              </p:nvSpPr>
              <p:spPr>
                <a:xfrm>
                  <a:off x="10120476" y="4463357"/>
                  <a:ext cx="33124" cy="19138"/>
                </a:xfrm>
                <a:custGeom>
                  <a:avLst/>
                  <a:gdLst>
                    <a:gd name="connsiteX0" fmla="*/ 28276 w 33124"/>
                    <a:gd name="connsiteY0" fmla="*/ 16335 h 19138"/>
                    <a:gd name="connsiteX1" fmla="*/ 4848 w 33124"/>
                    <a:gd name="connsiteY1" fmla="*/ 16335 h 19138"/>
                    <a:gd name="connsiteX2" fmla="*/ 4848 w 33124"/>
                    <a:gd name="connsiteY2" fmla="*/ 2803 h 19138"/>
                    <a:gd name="connsiteX3" fmla="*/ 28276 w 33124"/>
                    <a:gd name="connsiteY3" fmla="*/ 2803 h 19138"/>
                    <a:gd name="connsiteX4" fmla="*/ 28276 w 33124"/>
                    <a:gd name="connsiteY4" fmla="*/ 16335 h 191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124" h="19138">
                      <a:moveTo>
                        <a:pt x="28276" y="16335"/>
                      </a:moveTo>
                      <a:cubicBezTo>
                        <a:pt x="21811" y="20073"/>
                        <a:pt x="11313" y="20073"/>
                        <a:pt x="4848" y="16335"/>
                      </a:cubicBezTo>
                      <a:cubicBezTo>
                        <a:pt x="-1616" y="12602"/>
                        <a:pt x="-1616" y="6541"/>
                        <a:pt x="4848" y="2803"/>
                      </a:cubicBezTo>
                      <a:cubicBezTo>
                        <a:pt x="11313" y="-934"/>
                        <a:pt x="21811" y="-934"/>
                        <a:pt x="28276" y="2803"/>
                      </a:cubicBezTo>
                      <a:cubicBezTo>
                        <a:pt x="34740" y="6541"/>
                        <a:pt x="34740" y="12602"/>
                        <a:pt x="28276" y="1633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48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16" name="Freeform: Shape 865">
                  <a:extLst>
                    <a:ext uri="{FF2B5EF4-FFF2-40B4-BE49-F238E27FC236}">
                      <a16:creationId xmlns:a16="http://schemas.microsoft.com/office/drawing/2014/main" id="{0A83F87D-CB62-AAF0-4876-03AE0E698172}"/>
                    </a:ext>
                  </a:extLst>
                </p:cNvPr>
                <p:cNvSpPr/>
                <p:nvPr/>
              </p:nvSpPr>
              <p:spPr>
                <a:xfrm>
                  <a:off x="10231344" y="4527384"/>
                  <a:ext cx="33172" cy="19138"/>
                </a:xfrm>
                <a:custGeom>
                  <a:avLst/>
                  <a:gdLst>
                    <a:gd name="connsiteX0" fmla="*/ 28325 w 33172"/>
                    <a:gd name="connsiteY0" fmla="*/ 16335 h 19138"/>
                    <a:gd name="connsiteX1" fmla="*/ 4849 w 33172"/>
                    <a:gd name="connsiteY1" fmla="*/ 16335 h 19138"/>
                    <a:gd name="connsiteX2" fmla="*/ 4849 w 33172"/>
                    <a:gd name="connsiteY2" fmla="*/ 2803 h 19138"/>
                    <a:gd name="connsiteX3" fmla="*/ 28325 w 33172"/>
                    <a:gd name="connsiteY3" fmla="*/ 2803 h 19138"/>
                    <a:gd name="connsiteX4" fmla="*/ 28325 w 33172"/>
                    <a:gd name="connsiteY4" fmla="*/ 16335 h 191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172" h="19138">
                      <a:moveTo>
                        <a:pt x="28325" y="16335"/>
                      </a:moveTo>
                      <a:cubicBezTo>
                        <a:pt x="21860" y="20073"/>
                        <a:pt x="11362" y="20073"/>
                        <a:pt x="4849" y="16335"/>
                      </a:cubicBezTo>
                      <a:cubicBezTo>
                        <a:pt x="-1616" y="12597"/>
                        <a:pt x="-1616" y="6541"/>
                        <a:pt x="4849" y="2803"/>
                      </a:cubicBezTo>
                      <a:cubicBezTo>
                        <a:pt x="11362" y="-934"/>
                        <a:pt x="21860" y="-934"/>
                        <a:pt x="28325" y="2803"/>
                      </a:cubicBezTo>
                      <a:cubicBezTo>
                        <a:pt x="34789" y="6541"/>
                        <a:pt x="34789" y="12597"/>
                        <a:pt x="28325" y="1633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48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17" name="Freeform: Shape 866">
                  <a:extLst>
                    <a:ext uri="{FF2B5EF4-FFF2-40B4-BE49-F238E27FC236}">
                      <a16:creationId xmlns:a16="http://schemas.microsoft.com/office/drawing/2014/main" id="{E1338A33-0F25-705F-16F2-16A9DACE6B31}"/>
                    </a:ext>
                  </a:extLst>
                </p:cNvPr>
                <p:cNvSpPr/>
                <p:nvPr/>
              </p:nvSpPr>
              <p:spPr>
                <a:xfrm>
                  <a:off x="10215693" y="4280762"/>
                  <a:ext cx="33124" cy="19143"/>
                </a:xfrm>
                <a:custGeom>
                  <a:avLst/>
                  <a:gdLst>
                    <a:gd name="connsiteX0" fmla="*/ 28276 w 33124"/>
                    <a:gd name="connsiteY0" fmla="*/ 16340 h 19143"/>
                    <a:gd name="connsiteX1" fmla="*/ 4848 w 33124"/>
                    <a:gd name="connsiteY1" fmla="*/ 16340 h 19143"/>
                    <a:gd name="connsiteX2" fmla="*/ 4848 w 33124"/>
                    <a:gd name="connsiteY2" fmla="*/ 2803 h 19143"/>
                    <a:gd name="connsiteX3" fmla="*/ 28276 w 33124"/>
                    <a:gd name="connsiteY3" fmla="*/ 2803 h 19143"/>
                    <a:gd name="connsiteX4" fmla="*/ 28276 w 33124"/>
                    <a:gd name="connsiteY4" fmla="*/ 16340 h 191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124" h="19143">
                      <a:moveTo>
                        <a:pt x="28276" y="16340"/>
                      </a:moveTo>
                      <a:cubicBezTo>
                        <a:pt x="21812" y="20078"/>
                        <a:pt x="11313" y="20078"/>
                        <a:pt x="4848" y="16340"/>
                      </a:cubicBezTo>
                      <a:cubicBezTo>
                        <a:pt x="-1616" y="12602"/>
                        <a:pt x="-1616" y="6541"/>
                        <a:pt x="4848" y="2803"/>
                      </a:cubicBezTo>
                      <a:cubicBezTo>
                        <a:pt x="11313" y="-934"/>
                        <a:pt x="21812" y="-934"/>
                        <a:pt x="28276" y="2803"/>
                      </a:cubicBezTo>
                      <a:cubicBezTo>
                        <a:pt x="34740" y="6541"/>
                        <a:pt x="34740" y="12602"/>
                        <a:pt x="28276" y="1634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48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18" name="Freeform: Shape 867">
                  <a:extLst>
                    <a:ext uri="{FF2B5EF4-FFF2-40B4-BE49-F238E27FC236}">
                      <a16:creationId xmlns:a16="http://schemas.microsoft.com/office/drawing/2014/main" id="{0190FB9B-7CDC-2F0E-FEB9-F2230E859B3B}"/>
                    </a:ext>
                  </a:extLst>
                </p:cNvPr>
                <p:cNvSpPr/>
                <p:nvPr/>
              </p:nvSpPr>
              <p:spPr>
                <a:xfrm>
                  <a:off x="10326610" y="4344818"/>
                  <a:ext cx="33172" cy="19143"/>
                </a:xfrm>
                <a:custGeom>
                  <a:avLst/>
                  <a:gdLst>
                    <a:gd name="connsiteX0" fmla="*/ 28324 w 33172"/>
                    <a:gd name="connsiteY0" fmla="*/ 16340 h 19143"/>
                    <a:gd name="connsiteX1" fmla="*/ 4848 w 33172"/>
                    <a:gd name="connsiteY1" fmla="*/ 16340 h 19143"/>
                    <a:gd name="connsiteX2" fmla="*/ 4848 w 33172"/>
                    <a:gd name="connsiteY2" fmla="*/ 2803 h 19143"/>
                    <a:gd name="connsiteX3" fmla="*/ 28324 w 33172"/>
                    <a:gd name="connsiteY3" fmla="*/ 2803 h 19143"/>
                    <a:gd name="connsiteX4" fmla="*/ 28324 w 33172"/>
                    <a:gd name="connsiteY4" fmla="*/ 16340 h 191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172" h="19143">
                      <a:moveTo>
                        <a:pt x="28324" y="16340"/>
                      </a:moveTo>
                      <a:cubicBezTo>
                        <a:pt x="21860" y="20078"/>
                        <a:pt x="11361" y="20078"/>
                        <a:pt x="4848" y="16340"/>
                      </a:cubicBezTo>
                      <a:cubicBezTo>
                        <a:pt x="-1616" y="12602"/>
                        <a:pt x="-1616" y="6541"/>
                        <a:pt x="4848" y="2803"/>
                      </a:cubicBezTo>
                      <a:cubicBezTo>
                        <a:pt x="11361" y="-934"/>
                        <a:pt x="21860" y="-934"/>
                        <a:pt x="28324" y="2803"/>
                      </a:cubicBezTo>
                      <a:cubicBezTo>
                        <a:pt x="34789" y="6541"/>
                        <a:pt x="34789" y="12602"/>
                        <a:pt x="28324" y="1634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48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19" name="Freeform: Shape 868">
                  <a:extLst>
                    <a:ext uri="{FF2B5EF4-FFF2-40B4-BE49-F238E27FC236}">
                      <a16:creationId xmlns:a16="http://schemas.microsoft.com/office/drawing/2014/main" id="{A2950C0E-9A61-4751-BCB4-C641D3625F60}"/>
                    </a:ext>
                  </a:extLst>
                </p:cNvPr>
                <p:cNvSpPr/>
                <p:nvPr/>
              </p:nvSpPr>
              <p:spPr>
                <a:xfrm>
                  <a:off x="10437576" y="4408880"/>
                  <a:ext cx="33160" cy="19138"/>
                </a:xfrm>
                <a:custGeom>
                  <a:avLst/>
                  <a:gdLst>
                    <a:gd name="connsiteX0" fmla="*/ 28276 w 33160"/>
                    <a:gd name="connsiteY0" fmla="*/ 16335 h 19138"/>
                    <a:gd name="connsiteX1" fmla="*/ 4848 w 33160"/>
                    <a:gd name="connsiteY1" fmla="*/ 16335 h 19138"/>
                    <a:gd name="connsiteX2" fmla="*/ 4848 w 33160"/>
                    <a:gd name="connsiteY2" fmla="*/ 2803 h 19138"/>
                    <a:gd name="connsiteX3" fmla="*/ 28276 w 33160"/>
                    <a:gd name="connsiteY3" fmla="*/ 2803 h 19138"/>
                    <a:gd name="connsiteX4" fmla="*/ 28276 w 33160"/>
                    <a:gd name="connsiteY4" fmla="*/ 16335 h 191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160" h="19138">
                      <a:moveTo>
                        <a:pt x="28276" y="16335"/>
                      </a:moveTo>
                      <a:cubicBezTo>
                        <a:pt x="21811" y="20073"/>
                        <a:pt x="11313" y="20073"/>
                        <a:pt x="4848" y="16335"/>
                      </a:cubicBezTo>
                      <a:cubicBezTo>
                        <a:pt x="-1616" y="12597"/>
                        <a:pt x="-1616" y="6541"/>
                        <a:pt x="4848" y="2803"/>
                      </a:cubicBezTo>
                      <a:cubicBezTo>
                        <a:pt x="11313" y="-934"/>
                        <a:pt x="21811" y="-934"/>
                        <a:pt x="28276" y="2803"/>
                      </a:cubicBezTo>
                      <a:cubicBezTo>
                        <a:pt x="34789" y="6541"/>
                        <a:pt x="34789" y="12597"/>
                        <a:pt x="28276" y="1633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48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20" name="Freeform: Shape 869">
                  <a:extLst>
                    <a:ext uri="{FF2B5EF4-FFF2-40B4-BE49-F238E27FC236}">
                      <a16:creationId xmlns:a16="http://schemas.microsoft.com/office/drawing/2014/main" id="{543B3244-1A14-92F8-0747-94BEE809CF1B}"/>
                    </a:ext>
                  </a:extLst>
                </p:cNvPr>
                <p:cNvSpPr/>
                <p:nvPr/>
              </p:nvSpPr>
              <p:spPr>
                <a:xfrm>
                  <a:off x="10175545" y="4303937"/>
                  <a:ext cx="33124" cy="19143"/>
                </a:xfrm>
                <a:custGeom>
                  <a:avLst/>
                  <a:gdLst>
                    <a:gd name="connsiteX0" fmla="*/ 28276 w 33124"/>
                    <a:gd name="connsiteY0" fmla="*/ 16340 h 19143"/>
                    <a:gd name="connsiteX1" fmla="*/ 4849 w 33124"/>
                    <a:gd name="connsiteY1" fmla="*/ 16340 h 19143"/>
                    <a:gd name="connsiteX2" fmla="*/ 4849 w 33124"/>
                    <a:gd name="connsiteY2" fmla="*/ 2803 h 19143"/>
                    <a:gd name="connsiteX3" fmla="*/ 28276 w 33124"/>
                    <a:gd name="connsiteY3" fmla="*/ 2803 h 19143"/>
                    <a:gd name="connsiteX4" fmla="*/ 28276 w 33124"/>
                    <a:gd name="connsiteY4" fmla="*/ 16340 h 191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124" h="19143">
                      <a:moveTo>
                        <a:pt x="28276" y="16340"/>
                      </a:moveTo>
                      <a:cubicBezTo>
                        <a:pt x="21812" y="20078"/>
                        <a:pt x="11313" y="20078"/>
                        <a:pt x="4849" y="16340"/>
                      </a:cubicBezTo>
                      <a:cubicBezTo>
                        <a:pt x="-1616" y="12602"/>
                        <a:pt x="-1616" y="6541"/>
                        <a:pt x="4849" y="2803"/>
                      </a:cubicBezTo>
                      <a:cubicBezTo>
                        <a:pt x="11313" y="-934"/>
                        <a:pt x="21812" y="-934"/>
                        <a:pt x="28276" y="2803"/>
                      </a:cubicBezTo>
                      <a:cubicBezTo>
                        <a:pt x="34740" y="6541"/>
                        <a:pt x="34740" y="12602"/>
                        <a:pt x="28276" y="1634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48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21" name="Freeform: Shape 870">
                  <a:extLst>
                    <a:ext uri="{FF2B5EF4-FFF2-40B4-BE49-F238E27FC236}">
                      <a16:creationId xmlns:a16="http://schemas.microsoft.com/office/drawing/2014/main" id="{CDF324CF-258F-31A8-0F98-81CFF0CE9380}"/>
                    </a:ext>
                  </a:extLst>
                </p:cNvPr>
                <p:cNvSpPr/>
                <p:nvPr/>
              </p:nvSpPr>
              <p:spPr>
                <a:xfrm>
                  <a:off x="10286475" y="4367998"/>
                  <a:ext cx="33160" cy="19138"/>
                </a:xfrm>
                <a:custGeom>
                  <a:avLst/>
                  <a:gdLst>
                    <a:gd name="connsiteX0" fmla="*/ 28312 w 33160"/>
                    <a:gd name="connsiteY0" fmla="*/ 16335 h 19138"/>
                    <a:gd name="connsiteX1" fmla="*/ 4885 w 33160"/>
                    <a:gd name="connsiteY1" fmla="*/ 16335 h 19138"/>
                    <a:gd name="connsiteX2" fmla="*/ 4885 w 33160"/>
                    <a:gd name="connsiteY2" fmla="*/ 2803 h 19138"/>
                    <a:gd name="connsiteX3" fmla="*/ 28312 w 33160"/>
                    <a:gd name="connsiteY3" fmla="*/ 2803 h 19138"/>
                    <a:gd name="connsiteX4" fmla="*/ 28312 w 33160"/>
                    <a:gd name="connsiteY4" fmla="*/ 16335 h 191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160" h="19138">
                      <a:moveTo>
                        <a:pt x="28312" y="16335"/>
                      </a:moveTo>
                      <a:cubicBezTo>
                        <a:pt x="21848" y="20073"/>
                        <a:pt x="11349" y="20073"/>
                        <a:pt x="4885" y="16335"/>
                      </a:cubicBezTo>
                      <a:cubicBezTo>
                        <a:pt x="-1628" y="12597"/>
                        <a:pt x="-1628" y="6541"/>
                        <a:pt x="4885" y="2803"/>
                      </a:cubicBezTo>
                      <a:cubicBezTo>
                        <a:pt x="11349" y="-934"/>
                        <a:pt x="21848" y="-934"/>
                        <a:pt x="28312" y="2803"/>
                      </a:cubicBezTo>
                      <a:cubicBezTo>
                        <a:pt x="34777" y="6541"/>
                        <a:pt x="34777" y="12597"/>
                        <a:pt x="28312" y="1633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48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22" name="Freeform: Shape 871">
                  <a:extLst>
                    <a:ext uri="{FF2B5EF4-FFF2-40B4-BE49-F238E27FC236}">
                      <a16:creationId xmlns:a16="http://schemas.microsoft.com/office/drawing/2014/main" id="{D1924F9E-6DB0-9847-20E6-FEACCDE827EF}"/>
                    </a:ext>
                  </a:extLst>
                </p:cNvPr>
                <p:cNvSpPr/>
                <p:nvPr/>
              </p:nvSpPr>
              <p:spPr>
                <a:xfrm>
                  <a:off x="10397428" y="4432055"/>
                  <a:ext cx="33173" cy="19138"/>
                </a:xfrm>
                <a:custGeom>
                  <a:avLst/>
                  <a:gdLst>
                    <a:gd name="connsiteX0" fmla="*/ 28325 w 33173"/>
                    <a:gd name="connsiteY0" fmla="*/ 16335 h 19138"/>
                    <a:gd name="connsiteX1" fmla="*/ 4848 w 33173"/>
                    <a:gd name="connsiteY1" fmla="*/ 16335 h 19138"/>
                    <a:gd name="connsiteX2" fmla="*/ 4848 w 33173"/>
                    <a:gd name="connsiteY2" fmla="*/ 2803 h 19138"/>
                    <a:gd name="connsiteX3" fmla="*/ 28325 w 33173"/>
                    <a:gd name="connsiteY3" fmla="*/ 2803 h 19138"/>
                    <a:gd name="connsiteX4" fmla="*/ 28325 w 33173"/>
                    <a:gd name="connsiteY4" fmla="*/ 16335 h 191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173" h="19138">
                      <a:moveTo>
                        <a:pt x="28325" y="16335"/>
                      </a:moveTo>
                      <a:cubicBezTo>
                        <a:pt x="21811" y="20073"/>
                        <a:pt x="11313" y="20073"/>
                        <a:pt x="4848" y="16335"/>
                      </a:cubicBezTo>
                      <a:cubicBezTo>
                        <a:pt x="-1616" y="12597"/>
                        <a:pt x="-1616" y="6541"/>
                        <a:pt x="4848" y="2803"/>
                      </a:cubicBezTo>
                      <a:cubicBezTo>
                        <a:pt x="11313" y="-934"/>
                        <a:pt x="21811" y="-934"/>
                        <a:pt x="28325" y="2803"/>
                      </a:cubicBezTo>
                      <a:cubicBezTo>
                        <a:pt x="34789" y="6541"/>
                        <a:pt x="34789" y="12597"/>
                        <a:pt x="28325" y="1633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48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23" name="Freeform: Shape 872">
                  <a:extLst>
                    <a:ext uri="{FF2B5EF4-FFF2-40B4-BE49-F238E27FC236}">
                      <a16:creationId xmlns:a16="http://schemas.microsoft.com/office/drawing/2014/main" id="{57A63DEB-9B6B-973B-9A7F-1858A0C1957B}"/>
                    </a:ext>
                  </a:extLst>
                </p:cNvPr>
                <p:cNvSpPr/>
                <p:nvPr/>
              </p:nvSpPr>
              <p:spPr>
                <a:xfrm>
                  <a:off x="10170818" y="4375259"/>
                  <a:ext cx="355267" cy="205099"/>
                </a:xfrm>
                <a:custGeom>
                  <a:avLst/>
                  <a:gdLst>
                    <a:gd name="connsiteX0" fmla="*/ 8895 w 355267"/>
                    <a:gd name="connsiteY0" fmla="*/ 153442 h 205099"/>
                    <a:gd name="connsiteX1" fmla="*/ 265773 w 355267"/>
                    <a:gd name="connsiteY1" fmla="*/ 5118 h 205099"/>
                    <a:gd name="connsiteX2" fmla="*/ 308594 w 355267"/>
                    <a:gd name="connsiteY2" fmla="*/ 5118 h 205099"/>
                    <a:gd name="connsiteX3" fmla="*/ 346409 w 355267"/>
                    <a:gd name="connsiteY3" fmla="*/ 26937 h 205099"/>
                    <a:gd name="connsiteX4" fmla="*/ 346409 w 355267"/>
                    <a:gd name="connsiteY4" fmla="*/ 51658 h 205099"/>
                    <a:gd name="connsiteX5" fmla="*/ 89482 w 355267"/>
                    <a:gd name="connsiteY5" fmla="*/ 199981 h 205099"/>
                    <a:gd name="connsiteX6" fmla="*/ 46661 w 355267"/>
                    <a:gd name="connsiteY6" fmla="*/ 199981 h 205099"/>
                    <a:gd name="connsiteX7" fmla="*/ 8895 w 355267"/>
                    <a:gd name="connsiteY7" fmla="*/ 178167 h 205099"/>
                    <a:gd name="connsiteX8" fmla="*/ 8895 w 355267"/>
                    <a:gd name="connsiteY8" fmla="*/ 153442 h 2050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55267" h="205099">
                      <a:moveTo>
                        <a:pt x="8895" y="153442"/>
                      </a:moveTo>
                      <a:lnTo>
                        <a:pt x="265773" y="5118"/>
                      </a:lnTo>
                      <a:cubicBezTo>
                        <a:pt x="277584" y="-1706"/>
                        <a:pt x="296783" y="-1706"/>
                        <a:pt x="308594" y="5118"/>
                      </a:cubicBezTo>
                      <a:lnTo>
                        <a:pt x="346409" y="26937"/>
                      </a:lnTo>
                      <a:cubicBezTo>
                        <a:pt x="358220" y="33761"/>
                        <a:pt x="358220" y="44829"/>
                        <a:pt x="346409" y="51658"/>
                      </a:cubicBezTo>
                      <a:lnTo>
                        <a:pt x="89482" y="199981"/>
                      </a:lnTo>
                      <a:cubicBezTo>
                        <a:pt x="77671" y="206805"/>
                        <a:pt x="58472" y="206805"/>
                        <a:pt x="46661" y="199981"/>
                      </a:cubicBezTo>
                      <a:lnTo>
                        <a:pt x="8895" y="178167"/>
                      </a:lnTo>
                      <a:cubicBezTo>
                        <a:pt x="-2965" y="171338"/>
                        <a:pt x="-2965" y="160271"/>
                        <a:pt x="8895" y="153442"/>
                      </a:cubicBezTo>
                      <a:close/>
                    </a:path>
                  </a:pathLst>
                </a:custGeom>
                <a:noFill/>
                <a:ln w="12633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24" name="Freeform: Shape 873">
                  <a:extLst>
                    <a:ext uri="{FF2B5EF4-FFF2-40B4-BE49-F238E27FC236}">
                      <a16:creationId xmlns:a16="http://schemas.microsoft.com/office/drawing/2014/main" id="{7B9B50BD-38E6-B3F4-4068-EF93A18B0E63}"/>
                    </a:ext>
                  </a:extLst>
                </p:cNvPr>
                <p:cNvSpPr/>
                <p:nvPr/>
              </p:nvSpPr>
              <p:spPr>
                <a:xfrm>
                  <a:off x="10278430" y="4311746"/>
                  <a:ext cx="28969" cy="16720"/>
                </a:xfrm>
                <a:custGeom>
                  <a:avLst/>
                  <a:gdLst>
                    <a:gd name="connsiteX0" fmla="*/ 0 w 28969"/>
                    <a:gd name="connsiteY0" fmla="*/ 0 h 16720"/>
                    <a:gd name="connsiteX1" fmla="*/ 28969 w 28969"/>
                    <a:gd name="connsiteY1" fmla="*/ 16720 h 167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969" h="16720">
                      <a:moveTo>
                        <a:pt x="0" y="0"/>
                      </a:moveTo>
                      <a:lnTo>
                        <a:pt x="28969" y="16720"/>
                      </a:lnTo>
                    </a:path>
                  </a:pathLst>
                </a:custGeom>
                <a:noFill/>
                <a:ln w="12633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25" name="Freeform: Shape 874">
                  <a:extLst>
                    <a:ext uri="{FF2B5EF4-FFF2-40B4-BE49-F238E27FC236}">
                      <a16:creationId xmlns:a16="http://schemas.microsoft.com/office/drawing/2014/main" id="{D98B4284-5D64-9D2D-FFC4-2448D543DF30}"/>
                    </a:ext>
                  </a:extLst>
                </p:cNvPr>
                <p:cNvSpPr/>
                <p:nvPr/>
              </p:nvSpPr>
              <p:spPr>
                <a:xfrm>
                  <a:off x="10377342" y="4377815"/>
                  <a:ext cx="26927" cy="15543"/>
                </a:xfrm>
                <a:custGeom>
                  <a:avLst/>
                  <a:gdLst>
                    <a:gd name="connsiteX0" fmla="*/ 0 w 26927"/>
                    <a:gd name="connsiteY0" fmla="*/ 0 h 15543"/>
                    <a:gd name="connsiteX1" fmla="*/ 26927 w 26927"/>
                    <a:gd name="connsiteY1" fmla="*/ 15544 h 155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927" h="15543">
                      <a:moveTo>
                        <a:pt x="0" y="0"/>
                      </a:moveTo>
                      <a:lnTo>
                        <a:pt x="26927" y="15544"/>
                      </a:lnTo>
                    </a:path>
                  </a:pathLst>
                </a:custGeom>
                <a:noFill/>
                <a:ln w="12633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26" name="Freeform: Shape 875">
                  <a:extLst>
                    <a:ext uri="{FF2B5EF4-FFF2-40B4-BE49-F238E27FC236}">
                      <a16:creationId xmlns:a16="http://schemas.microsoft.com/office/drawing/2014/main" id="{59ECA054-322D-4491-02E6-04D6D78F827A}"/>
                    </a:ext>
                  </a:extLst>
                </p:cNvPr>
                <p:cNvSpPr/>
                <p:nvPr/>
              </p:nvSpPr>
              <p:spPr>
                <a:xfrm>
                  <a:off x="10071421" y="4435043"/>
                  <a:ext cx="29017" cy="16744"/>
                </a:xfrm>
                <a:custGeom>
                  <a:avLst/>
                  <a:gdLst>
                    <a:gd name="connsiteX0" fmla="*/ 0 w 29017"/>
                    <a:gd name="connsiteY0" fmla="*/ 0 h 16744"/>
                    <a:gd name="connsiteX1" fmla="*/ 29017 w 29017"/>
                    <a:gd name="connsiteY1" fmla="*/ 16745 h 167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017" h="16744">
                      <a:moveTo>
                        <a:pt x="0" y="0"/>
                      </a:moveTo>
                      <a:lnTo>
                        <a:pt x="29017" y="16745"/>
                      </a:lnTo>
                    </a:path>
                  </a:pathLst>
                </a:custGeom>
                <a:noFill/>
                <a:ln w="12633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27" name="Freeform: Shape 876">
                  <a:extLst>
                    <a:ext uri="{FF2B5EF4-FFF2-40B4-BE49-F238E27FC236}">
                      <a16:creationId xmlns:a16="http://schemas.microsoft.com/office/drawing/2014/main" id="{8C95D240-B364-FE90-C20E-A39CE5D0BBBA}"/>
                    </a:ext>
                  </a:extLst>
                </p:cNvPr>
                <p:cNvSpPr/>
                <p:nvPr/>
              </p:nvSpPr>
              <p:spPr>
                <a:xfrm>
                  <a:off x="10185157" y="4492300"/>
                  <a:ext cx="26926" cy="15543"/>
                </a:xfrm>
                <a:custGeom>
                  <a:avLst/>
                  <a:gdLst>
                    <a:gd name="connsiteX0" fmla="*/ 0 w 26926"/>
                    <a:gd name="connsiteY0" fmla="*/ 0 h 15543"/>
                    <a:gd name="connsiteX1" fmla="*/ 26927 w 26926"/>
                    <a:gd name="connsiteY1" fmla="*/ 15544 h 155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926" h="15543">
                      <a:moveTo>
                        <a:pt x="0" y="0"/>
                      </a:moveTo>
                      <a:lnTo>
                        <a:pt x="26927" y="15544"/>
                      </a:lnTo>
                    </a:path>
                  </a:pathLst>
                </a:custGeom>
                <a:noFill/>
                <a:ln w="12633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</p:grpSp>
        </p:grpSp>
        <p:grpSp>
          <p:nvGrpSpPr>
            <p:cNvPr id="183" name="Graphic 188">
              <a:extLst>
                <a:ext uri="{FF2B5EF4-FFF2-40B4-BE49-F238E27FC236}">
                  <a16:creationId xmlns:a16="http://schemas.microsoft.com/office/drawing/2014/main" id="{CF6F694E-B0FF-7E41-B434-A857E1F79FFC}"/>
                </a:ext>
              </a:extLst>
            </p:cNvPr>
            <p:cNvGrpSpPr/>
            <p:nvPr/>
          </p:nvGrpSpPr>
          <p:grpSpPr>
            <a:xfrm>
              <a:off x="11624849" y="4525318"/>
              <a:ext cx="726740" cy="422026"/>
              <a:chOff x="10706841" y="3824825"/>
              <a:chExt cx="726740" cy="422026"/>
            </a:xfrm>
            <a:noFill/>
          </p:grpSpPr>
          <p:grpSp>
            <p:nvGrpSpPr>
              <p:cNvPr id="197" name="Graphic 188">
                <a:extLst>
                  <a:ext uri="{FF2B5EF4-FFF2-40B4-BE49-F238E27FC236}">
                    <a16:creationId xmlns:a16="http://schemas.microsoft.com/office/drawing/2014/main" id="{F0B41C7D-22A2-2AEC-7828-658501A916F5}"/>
                  </a:ext>
                </a:extLst>
              </p:cNvPr>
              <p:cNvGrpSpPr/>
              <p:nvPr/>
            </p:nvGrpSpPr>
            <p:grpSpPr>
              <a:xfrm>
                <a:off x="11089504" y="3824825"/>
                <a:ext cx="344076" cy="198654"/>
                <a:chOff x="11089504" y="3824825"/>
                <a:chExt cx="344076" cy="198654"/>
              </a:xfrm>
              <a:noFill/>
            </p:grpSpPr>
            <p:sp>
              <p:nvSpPr>
                <p:cNvPr id="206" name="Freeform: Shape 843">
                  <a:extLst>
                    <a:ext uri="{FF2B5EF4-FFF2-40B4-BE49-F238E27FC236}">
                      <a16:creationId xmlns:a16="http://schemas.microsoft.com/office/drawing/2014/main" id="{7A432441-2861-93F1-2EF8-DD1BFBB57110}"/>
                    </a:ext>
                  </a:extLst>
                </p:cNvPr>
                <p:cNvSpPr/>
                <p:nvPr/>
              </p:nvSpPr>
              <p:spPr>
                <a:xfrm>
                  <a:off x="11089504" y="3824825"/>
                  <a:ext cx="204287" cy="117954"/>
                </a:xfrm>
                <a:custGeom>
                  <a:avLst/>
                  <a:gdLst>
                    <a:gd name="connsiteX0" fmla="*/ 204288 w 204287"/>
                    <a:gd name="connsiteY0" fmla="*/ 43453 h 117954"/>
                    <a:gd name="connsiteX1" fmla="*/ 129047 w 204287"/>
                    <a:gd name="connsiteY1" fmla="*/ 0 h 117954"/>
                    <a:gd name="connsiteX2" fmla="*/ 0 w 204287"/>
                    <a:gd name="connsiteY2" fmla="*/ 74497 h 117954"/>
                    <a:gd name="connsiteX3" fmla="*/ 75241 w 204287"/>
                    <a:gd name="connsiteY3" fmla="*/ 117955 h 1179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04287" h="117954">
                      <a:moveTo>
                        <a:pt x="204288" y="43453"/>
                      </a:moveTo>
                      <a:lnTo>
                        <a:pt x="129047" y="0"/>
                      </a:lnTo>
                      <a:lnTo>
                        <a:pt x="0" y="74497"/>
                      </a:lnTo>
                      <a:lnTo>
                        <a:pt x="75241" y="117955"/>
                      </a:lnTo>
                    </a:path>
                  </a:pathLst>
                </a:custGeom>
                <a:noFill/>
                <a:ln w="9717" cap="flat">
                  <a:solidFill>
                    <a:srgbClr val="FFFFFF">
                      <a:alpha val="20000"/>
                    </a:srgbClr>
                  </a:solidFill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07" name="Freeform: Shape 844">
                  <a:extLst>
                    <a:ext uri="{FF2B5EF4-FFF2-40B4-BE49-F238E27FC236}">
                      <a16:creationId xmlns:a16="http://schemas.microsoft.com/office/drawing/2014/main" id="{69CB28E3-2435-59B2-9D54-BAEA1E3A615E}"/>
                    </a:ext>
                  </a:extLst>
                </p:cNvPr>
                <p:cNvSpPr/>
                <p:nvPr/>
              </p:nvSpPr>
              <p:spPr>
                <a:xfrm>
                  <a:off x="11134367" y="3850717"/>
                  <a:ext cx="286625" cy="165490"/>
                </a:xfrm>
                <a:custGeom>
                  <a:avLst/>
                  <a:gdLst>
                    <a:gd name="connsiteX0" fmla="*/ 256198 w 286625"/>
                    <a:gd name="connsiteY0" fmla="*/ 73433 h 165490"/>
                    <a:gd name="connsiteX1" fmla="*/ 277681 w 286625"/>
                    <a:gd name="connsiteY1" fmla="*/ 61014 h 165490"/>
                    <a:gd name="connsiteX2" fmla="*/ 286625 w 286625"/>
                    <a:gd name="connsiteY2" fmla="*/ 48600 h 165490"/>
                    <a:gd name="connsiteX3" fmla="*/ 277730 w 286625"/>
                    <a:gd name="connsiteY3" fmla="*/ 36182 h 165490"/>
                    <a:gd name="connsiteX4" fmla="*/ 223924 w 286625"/>
                    <a:gd name="connsiteY4" fmla="*/ 5142 h 165490"/>
                    <a:gd name="connsiteX5" fmla="*/ 202441 w 286625"/>
                    <a:gd name="connsiteY5" fmla="*/ 0 h 165490"/>
                    <a:gd name="connsiteX6" fmla="*/ 180958 w 286625"/>
                    <a:gd name="connsiteY6" fmla="*/ 5142 h 165490"/>
                    <a:gd name="connsiteX7" fmla="*/ 8895 w 286625"/>
                    <a:gd name="connsiteY7" fmla="*/ 104477 h 165490"/>
                    <a:gd name="connsiteX8" fmla="*/ 0 w 286625"/>
                    <a:gd name="connsiteY8" fmla="*/ 116895 h 165490"/>
                    <a:gd name="connsiteX9" fmla="*/ 8895 w 286625"/>
                    <a:gd name="connsiteY9" fmla="*/ 129309 h 165490"/>
                    <a:gd name="connsiteX10" fmla="*/ 62652 w 286625"/>
                    <a:gd name="connsiteY10" fmla="*/ 160348 h 165490"/>
                    <a:gd name="connsiteX11" fmla="*/ 84136 w 286625"/>
                    <a:gd name="connsiteY11" fmla="*/ 165491 h 165490"/>
                    <a:gd name="connsiteX12" fmla="*/ 105668 w 286625"/>
                    <a:gd name="connsiteY12" fmla="*/ 160348 h 165490"/>
                    <a:gd name="connsiteX13" fmla="*/ 127151 w 286625"/>
                    <a:gd name="connsiteY13" fmla="*/ 147930 h 1654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286625" h="165490">
                      <a:moveTo>
                        <a:pt x="256198" y="73433"/>
                      </a:moveTo>
                      <a:lnTo>
                        <a:pt x="277681" y="61014"/>
                      </a:lnTo>
                      <a:cubicBezTo>
                        <a:pt x="283417" y="57723"/>
                        <a:pt x="286625" y="53257"/>
                        <a:pt x="286625" y="48600"/>
                      </a:cubicBezTo>
                      <a:cubicBezTo>
                        <a:pt x="286625" y="43939"/>
                        <a:pt x="283417" y="39477"/>
                        <a:pt x="277730" y="36182"/>
                      </a:cubicBezTo>
                      <a:lnTo>
                        <a:pt x="223924" y="5142"/>
                      </a:lnTo>
                      <a:cubicBezTo>
                        <a:pt x="218237" y="1852"/>
                        <a:pt x="210509" y="0"/>
                        <a:pt x="202441" y="0"/>
                      </a:cubicBezTo>
                      <a:cubicBezTo>
                        <a:pt x="194372" y="0"/>
                        <a:pt x="186644" y="1852"/>
                        <a:pt x="180958" y="5142"/>
                      </a:cubicBezTo>
                      <a:lnTo>
                        <a:pt x="8895" y="104477"/>
                      </a:lnTo>
                      <a:cubicBezTo>
                        <a:pt x="3159" y="107772"/>
                        <a:pt x="0" y="112234"/>
                        <a:pt x="0" y="116895"/>
                      </a:cubicBezTo>
                      <a:cubicBezTo>
                        <a:pt x="0" y="121552"/>
                        <a:pt x="3159" y="126019"/>
                        <a:pt x="8895" y="129309"/>
                      </a:cubicBezTo>
                      <a:lnTo>
                        <a:pt x="62652" y="160348"/>
                      </a:lnTo>
                      <a:cubicBezTo>
                        <a:pt x="68339" y="163639"/>
                        <a:pt x="76067" y="165491"/>
                        <a:pt x="84136" y="165491"/>
                      </a:cubicBezTo>
                      <a:cubicBezTo>
                        <a:pt x="92204" y="165491"/>
                        <a:pt x="99932" y="163639"/>
                        <a:pt x="105668" y="160348"/>
                      </a:cubicBezTo>
                      <a:lnTo>
                        <a:pt x="127151" y="147930"/>
                      </a:lnTo>
                    </a:path>
                  </a:pathLst>
                </a:custGeom>
                <a:noFill/>
                <a:ln w="9717" cap="flat">
                  <a:solidFill>
                    <a:srgbClr val="FFFFFF">
                      <a:alpha val="20000"/>
                    </a:srgbClr>
                  </a:solidFill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08" name="Freeform: Shape 845">
                  <a:extLst>
                    <a:ext uri="{FF2B5EF4-FFF2-40B4-BE49-F238E27FC236}">
                      <a16:creationId xmlns:a16="http://schemas.microsoft.com/office/drawing/2014/main" id="{76ED27DB-7970-8542-41E3-C9186266959E}"/>
                    </a:ext>
                  </a:extLst>
                </p:cNvPr>
                <p:cNvSpPr/>
                <p:nvPr/>
              </p:nvSpPr>
              <p:spPr>
                <a:xfrm>
                  <a:off x="11218503" y="3899317"/>
                  <a:ext cx="215077" cy="124161"/>
                </a:xfrm>
                <a:custGeom>
                  <a:avLst/>
                  <a:gdLst>
                    <a:gd name="connsiteX0" fmla="*/ 0 w 215077"/>
                    <a:gd name="connsiteY0" fmla="*/ 74502 h 124161"/>
                    <a:gd name="connsiteX1" fmla="*/ 129047 w 215077"/>
                    <a:gd name="connsiteY1" fmla="*/ 0 h 124161"/>
                    <a:gd name="connsiteX2" fmla="*/ 215078 w 215077"/>
                    <a:gd name="connsiteY2" fmla="*/ 49665 h 124161"/>
                    <a:gd name="connsiteX3" fmla="*/ 86031 w 215077"/>
                    <a:gd name="connsiteY3" fmla="*/ 124162 h 124161"/>
                    <a:gd name="connsiteX4" fmla="*/ 0 w 215077"/>
                    <a:gd name="connsiteY4" fmla="*/ 74502 h 1241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5077" h="124161">
                      <a:moveTo>
                        <a:pt x="0" y="74502"/>
                      </a:moveTo>
                      <a:lnTo>
                        <a:pt x="129047" y="0"/>
                      </a:lnTo>
                      <a:lnTo>
                        <a:pt x="215078" y="49665"/>
                      </a:lnTo>
                      <a:lnTo>
                        <a:pt x="86031" y="124162"/>
                      </a:lnTo>
                      <a:lnTo>
                        <a:pt x="0" y="74502"/>
                      </a:lnTo>
                      <a:close/>
                    </a:path>
                  </a:pathLst>
                </a:custGeom>
                <a:noFill/>
                <a:ln w="9717" cap="flat">
                  <a:solidFill>
                    <a:srgbClr val="FFFFFF">
                      <a:alpha val="20000"/>
                    </a:srgbClr>
                  </a:solidFill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</p:grpSp>
          <p:sp>
            <p:nvSpPr>
              <p:cNvPr id="198" name="Freeform: Shape 835">
                <a:extLst>
                  <a:ext uri="{FF2B5EF4-FFF2-40B4-BE49-F238E27FC236}">
                    <a16:creationId xmlns:a16="http://schemas.microsoft.com/office/drawing/2014/main" id="{8D7A3C19-DFD4-B077-B618-55905A33D717}"/>
                  </a:ext>
                </a:extLst>
              </p:cNvPr>
              <p:cNvSpPr/>
              <p:nvPr/>
            </p:nvSpPr>
            <p:spPr>
              <a:xfrm>
                <a:off x="11030595" y="4106506"/>
                <a:ext cx="24205" cy="13964"/>
              </a:xfrm>
              <a:custGeom>
                <a:avLst/>
                <a:gdLst>
                  <a:gd name="connsiteX0" fmla="*/ 24205 w 24205"/>
                  <a:gd name="connsiteY0" fmla="*/ 0 h 13964"/>
                  <a:gd name="connsiteX1" fmla="*/ 0 w 24205"/>
                  <a:gd name="connsiteY1" fmla="*/ 13964 h 139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205" h="13964">
                    <a:moveTo>
                      <a:pt x="24205" y="0"/>
                    </a:moveTo>
                    <a:lnTo>
                      <a:pt x="0" y="13964"/>
                    </a:lnTo>
                  </a:path>
                </a:pathLst>
              </a:custGeom>
              <a:noFill/>
              <a:ln w="9717" cap="flat">
                <a:solidFill>
                  <a:srgbClr val="FFFFFF">
                    <a:alpha val="20000"/>
                  </a:srgb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99" name="Freeform: Shape 836">
                <a:extLst>
                  <a:ext uri="{FF2B5EF4-FFF2-40B4-BE49-F238E27FC236}">
                    <a16:creationId xmlns:a16="http://schemas.microsoft.com/office/drawing/2014/main" id="{FE5C911B-1293-4FC9-A62E-49F06ADB3B63}"/>
                  </a:ext>
                </a:extLst>
              </p:cNvPr>
              <p:cNvSpPr/>
              <p:nvPr/>
            </p:nvSpPr>
            <p:spPr>
              <a:xfrm>
                <a:off x="10990253" y="4129783"/>
                <a:ext cx="24205" cy="13969"/>
              </a:xfrm>
              <a:custGeom>
                <a:avLst/>
                <a:gdLst>
                  <a:gd name="connsiteX0" fmla="*/ 24205 w 24205"/>
                  <a:gd name="connsiteY0" fmla="*/ 0 h 13969"/>
                  <a:gd name="connsiteX1" fmla="*/ 0 w 24205"/>
                  <a:gd name="connsiteY1" fmla="*/ 13969 h 13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205" h="13969">
                    <a:moveTo>
                      <a:pt x="24205" y="0"/>
                    </a:moveTo>
                    <a:lnTo>
                      <a:pt x="0" y="13969"/>
                    </a:lnTo>
                  </a:path>
                </a:pathLst>
              </a:custGeom>
              <a:noFill/>
              <a:ln w="9717" cap="flat">
                <a:solidFill>
                  <a:srgbClr val="FFFFFF">
                    <a:alpha val="20000"/>
                  </a:srgb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00" name="Freeform: Shape 837">
                <a:extLst>
                  <a:ext uri="{FF2B5EF4-FFF2-40B4-BE49-F238E27FC236}">
                    <a16:creationId xmlns:a16="http://schemas.microsoft.com/office/drawing/2014/main" id="{D28ABE5C-8969-B79A-9AD9-651A66DA7407}"/>
                  </a:ext>
                </a:extLst>
              </p:cNvPr>
              <p:cNvSpPr/>
              <p:nvPr/>
            </p:nvSpPr>
            <p:spPr>
              <a:xfrm>
                <a:off x="10949959" y="4153065"/>
                <a:ext cx="24156" cy="13969"/>
              </a:xfrm>
              <a:custGeom>
                <a:avLst/>
                <a:gdLst>
                  <a:gd name="connsiteX0" fmla="*/ 24157 w 24156"/>
                  <a:gd name="connsiteY0" fmla="*/ 0 h 13969"/>
                  <a:gd name="connsiteX1" fmla="*/ 0 w 24156"/>
                  <a:gd name="connsiteY1" fmla="*/ 13969 h 13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156" h="13969">
                    <a:moveTo>
                      <a:pt x="24157" y="0"/>
                    </a:moveTo>
                    <a:lnTo>
                      <a:pt x="0" y="13969"/>
                    </a:lnTo>
                  </a:path>
                </a:pathLst>
              </a:custGeom>
              <a:noFill/>
              <a:ln w="9717" cap="flat">
                <a:solidFill>
                  <a:srgbClr val="FFFFFF">
                    <a:alpha val="20000"/>
                  </a:srgb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01" name="Freeform: Shape 838">
                <a:extLst>
                  <a:ext uri="{FF2B5EF4-FFF2-40B4-BE49-F238E27FC236}">
                    <a16:creationId xmlns:a16="http://schemas.microsoft.com/office/drawing/2014/main" id="{1D47D604-41A2-32EE-B2BB-FFCC39B67A00}"/>
                  </a:ext>
                </a:extLst>
              </p:cNvPr>
              <p:cNvSpPr/>
              <p:nvPr/>
            </p:nvSpPr>
            <p:spPr>
              <a:xfrm>
                <a:off x="10824947" y="4150742"/>
                <a:ext cx="48361" cy="27933"/>
              </a:xfrm>
              <a:custGeom>
                <a:avLst/>
                <a:gdLst>
                  <a:gd name="connsiteX0" fmla="*/ 0 w 48361"/>
                  <a:gd name="connsiteY0" fmla="*/ 0 h 27933"/>
                  <a:gd name="connsiteX1" fmla="*/ 48362 w 48361"/>
                  <a:gd name="connsiteY1" fmla="*/ 27933 h 27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361" h="27933">
                    <a:moveTo>
                      <a:pt x="0" y="0"/>
                    </a:moveTo>
                    <a:lnTo>
                      <a:pt x="48362" y="27933"/>
                    </a:lnTo>
                  </a:path>
                </a:pathLst>
              </a:custGeom>
              <a:noFill/>
              <a:ln w="9717" cap="flat">
                <a:solidFill>
                  <a:srgbClr val="FFFFFF">
                    <a:alpha val="20000"/>
                  </a:srgb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02" name="Freeform: Shape 839">
                <a:extLst>
                  <a:ext uri="{FF2B5EF4-FFF2-40B4-BE49-F238E27FC236}">
                    <a16:creationId xmlns:a16="http://schemas.microsoft.com/office/drawing/2014/main" id="{FF57BD7B-6C4C-401D-7EDC-37CCE82C044B}"/>
                  </a:ext>
                </a:extLst>
              </p:cNvPr>
              <p:cNvSpPr/>
              <p:nvPr/>
            </p:nvSpPr>
            <p:spPr>
              <a:xfrm>
                <a:off x="10788638" y="4132116"/>
                <a:ext cx="36308" cy="20953"/>
              </a:xfrm>
              <a:custGeom>
                <a:avLst/>
                <a:gdLst>
                  <a:gd name="connsiteX0" fmla="*/ 36309 w 36308"/>
                  <a:gd name="connsiteY0" fmla="*/ 0 h 20953"/>
                  <a:gd name="connsiteX1" fmla="*/ 2042 w 36308"/>
                  <a:gd name="connsiteY1" fmla="*/ 1167 h 20953"/>
                  <a:gd name="connsiteX2" fmla="*/ 0 w 36308"/>
                  <a:gd name="connsiteY2" fmla="*/ 20954 h 20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6308" h="20953">
                    <a:moveTo>
                      <a:pt x="36309" y="0"/>
                    </a:moveTo>
                    <a:lnTo>
                      <a:pt x="2042" y="1167"/>
                    </a:lnTo>
                    <a:lnTo>
                      <a:pt x="0" y="20954"/>
                    </a:lnTo>
                  </a:path>
                </a:pathLst>
              </a:custGeom>
              <a:noFill/>
              <a:ln w="9717" cap="flat">
                <a:solidFill>
                  <a:srgbClr val="FFFFFF">
                    <a:alpha val="20000"/>
                  </a:srgb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03" name="Freeform: Shape 840">
                <a:extLst>
                  <a:ext uri="{FF2B5EF4-FFF2-40B4-BE49-F238E27FC236}">
                    <a16:creationId xmlns:a16="http://schemas.microsoft.com/office/drawing/2014/main" id="{0616F68F-8417-B012-06D1-3C4DBB7D1FD5}"/>
                  </a:ext>
                </a:extLst>
              </p:cNvPr>
              <p:cNvSpPr/>
              <p:nvPr/>
            </p:nvSpPr>
            <p:spPr>
              <a:xfrm>
                <a:off x="10871316" y="4179837"/>
                <a:ext cx="36308" cy="20953"/>
              </a:xfrm>
              <a:custGeom>
                <a:avLst/>
                <a:gdLst>
                  <a:gd name="connsiteX0" fmla="*/ 0 w 36308"/>
                  <a:gd name="connsiteY0" fmla="*/ 20954 h 20953"/>
                  <a:gd name="connsiteX1" fmla="*/ 34267 w 36308"/>
                  <a:gd name="connsiteY1" fmla="*/ 19792 h 20953"/>
                  <a:gd name="connsiteX2" fmla="*/ 36309 w 36308"/>
                  <a:gd name="connsiteY2" fmla="*/ 0 h 20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6308" h="20953">
                    <a:moveTo>
                      <a:pt x="0" y="20954"/>
                    </a:moveTo>
                    <a:lnTo>
                      <a:pt x="34267" y="19792"/>
                    </a:lnTo>
                    <a:lnTo>
                      <a:pt x="36309" y="0"/>
                    </a:lnTo>
                  </a:path>
                </a:pathLst>
              </a:custGeom>
              <a:noFill/>
              <a:ln w="9717" cap="flat">
                <a:solidFill>
                  <a:srgbClr val="FFFFFF">
                    <a:alpha val="20000"/>
                  </a:srgb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04" name="Freeform: Shape 841">
                <a:extLst>
                  <a:ext uri="{FF2B5EF4-FFF2-40B4-BE49-F238E27FC236}">
                    <a16:creationId xmlns:a16="http://schemas.microsoft.com/office/drawing/2014/main" id="{4E216013-18C6-6EFB-3125-3F7E4D5C8473}"/>
                  </a:ext>
                </a:extLst>
              </p:cNvPr>
              <p:cNvSpPr/>
              <p:nvPr/>
            </p:nvSpPr>
            <p:spPr>
              <a:xfrm>
                <a:off x="10706841" y="4012718"/>
                <a:ext cx="405530" cy="234133"/>
              </a:xfrm>
              <a:custGeom>
                <a:avLst/>
                <a:gdLst>
                  <a:gd name="connsiteX0" fmla="*/ 5472 w 405530"/>
                  <a:gd name="connsiteY0" fmla="*/ 134864 h 234133"/>
                  <a:gd name="connsiteX1" fmla="*/ 0 w 405530"/>
                  <a:gd name="connsiteY1" fmla="*/ 138024 h 234133"/>
                  <a:gd name="connsiteX2" fmla="*/ 166466 w 405530"/>
                  <a:gd name="connsiteY2" fmla="*/ 234133 h 234133"/>
                  <a:gd name="connsiteX3" fmla="*/ 171938 w 405530"/>
                  <a:gd name="connsiteY3" fmla="*/ 230974 h 234133"/>
                  <a:gd name="connsiteX4" fmla="*/ 400058 w 405530"/>
                  <a:gd name="connsiteY4" fmla="*/ 99269 h 234133"/>
                  <a:gd name="connsiteX5" fmla="*/ 405530 w 405530"/>
                  <a:gd name="connsiteY5" fmla="*/ 96109 h 234133"/>
                  <a:gd name="connsiteX6" fmla="*/ 239064 w 405530"/>
                  <a:gd name="connsiteY6" fmla="*/ 0 h 234133"/>
                  <a:gd name="connsiteX7" fmla="*/ 233592 w 405530"/>
                  <a:gd name="connsiteY7" fmla="*/ 3159 h 2341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5530" h="234133">
                    <a:moveTo>
                      <a:pt x="5472" y="134864"/>
                    </a:moveTo>
                    <a:cubicBezTo>
                      <a:pt x="2450" y="136609"/>
                      <a:pt x="0" y="138024"/>
                      <a:pt x="0" y="138024"/>
                    </a:cubicBezTo>
                    <a:lnTo>
                      <a:pt x="166466" y="234133"/>
                    </a:lnTo>
                    <a:cubicBezTo>
                      <a:pt x="166466" y="234133"/>
                      <a:pt x="168916" y="232719"/>
                      <a:pt x="171938" y="230974"/>
                    </a:cubicBezTo>
                    <a:lnTo>
                      <a:pt x="400058" y="99269"/>
                    </a:lnTo>
                    <a:cubicBezTo>
                      <a:pt x="403081" y="97524"/>
                      <a:pt x="405530" y="96109"/>
                      <a:pt x="405530" y="96109"/>
                    </a:cubicBezTo>
                    <a:lnTo>
                      <a:pt x="239064" y="0"/>
                    </a:lnTo>
                    <a:cubicBezTo>
                      <a:pt x="239064" y="0"/>
                      <a:pt x="236614" y="1414"/>
                      <a:pt x="233592" y="3159"/>
                    </a:cubicBezTo>
                    <a:close/>
                  </a:path>
                </a:pathLst>
              </a:custGeom>
              <a:noFill/>
              <a:ln w="9717" cap="flat">
                <a:solidFill>
                  <a:srgbClr val="FFFFFF">
                    <a:alpha val="20000"/>
                  </a:srgb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05" name="Freeform: Shape 842">
                <a:extLst>
                  <a:ext uri="{FF2B5EF4-FFF2-40B4-BE49-F238E27FC236}">
                    <a16:creationId xmlns:a16="http://schemas.microsoft.com/office/drawing/2014/main" id="{5FCC7EC9-9239-9A47-BA47-EF7EA276D45C}"/>
                  </a:ext>
                </a:extLst>
              </p:cNvPr>
              <p:cNvSpPr/>
              <p:nvPr/>
            </p:nvSpPr>
            <p:spPr>
              <a:xfrm>
                <a:off x="10843942" y="4049969"/>
                <a:ext cx="179724" cy="103763"/>
              </a:xfrm>
              <a:custGeom>
                <a:avLst/>
                <a:gdLst>
                  <a:gd name="connsiteX0" fmla="*/ 5472 w 179724"/>
                  <a:gd name="connsiteY0" fmla="*/ 55709 h 103763"/>
                  <a:gd name="connsiteX1" fmla="*/ 0 w 179724"/>
                  <a:gd name="connsiteY1" fmla="*/ 58868 h 103763"/>
                  <a:gd name="connsiteX2" fmla="*/ 77761 w 179724"/>
                  <a:gd name="connsiteY2" fmla="*/ 103764 h 103763"/>
                  <a:gd name="connsiteX3" fmla="*/ 83233 w 179724"/>
                  <a:gd name="connsiteY3" fmla="*/ 100604 h 103763"/>
                  <a:gd name="connsiteX4" fmla="*/ 174252 w 179724"/>
                  <a:gd name="connsiteY4" fmla="*/ 48055 h 103763"/>
                  <a:gd name="connsiteX5" fmla="*/ 179724 w 179724"/>
                  <a:gd name="connsiteY5" fmla="*/ 44895 h 103763"/>
                  <a:gd name="connsiteX6" fmla="*/ 101963 w 179724"/>
                  <a:gd name="connsiteY6" fmla="*/ 0 h 103763"/>
                  <a:gd name="connsiteX7" fmla="*/ 96491 w 179724"/>
                  <a:gd name="connsiteY7" fmla="*/ 3159 h 103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9724" h="103763">
                    <a:moveTo>
                      <a:pt x="5472" y="55709"/>
                    </a:moveTo>
                    <a:cubicBezTo>
                      <a:pt x="2450" y="57454"/>
                      <a:pt x="0" y="58868"/>
                      <a:pt x="0" y="58868"/>
                    </a:cubicBezTo>
                    <a:lnTo>
                      <a:pt x="77761" y="103764"/>
                    </a:lnTo>
                    <a:cubicBezTo>
                      <a:pt x="77761" y="103764"/>
                      <a:pt x="80211" y="102349"/>
                      <a:pt x="83233" y="100604"/>
                    </a:cubicBezTo>
                    <a:lnTo>
                      <a:pt x="174252" y="48055"/>
                    </a:lnTo>
                    <a:cubicBezTo>
                      <a:pt x="177274" y="46310"/>
                      <a:pt x="179724" y="44895"/>
                      <a:pt x="179724" y="44895"/>
                    </a:cubicBezTo>
                    <a:lnTo>
                      <a:pt x="101963" y="0"/>
                    </a:lnTo>
                    <a:cubicBezTo>
                      <a:pt x="101963" y="0"/>
                      <a:pt x="99513" y="1414"/>
                      <a:pt x="96491" y="3159"/>
                    </a:cubicBezTo>
                    <a:close/>
                  </a:path>
                </a:pathLst>
              </a:custGeom>
              <a:noFill/>
              <a:ln w="9717" cap="flat">
                <a:solidFill>
                  <a:srgbClr val="FFFFFF">
                    <a:alpha val="20000"/>
                  </a:srgb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184" name="Group 183">
              <a:extLst>
                <a:ext uri="{FF2B5EF4-FFF2-40B4-BE49-F238E27FC236}">
                  <a16:creationId xmlns:a16="http://schemas.microsoft.com/office/drawing/2014/main" id="{7B0912CE-1E1D-D7FE-217A-35A3B060E6AE}"/>
                </a:ext>
              </a:extLst>
            </p:cNvPr>
            <p:cNvGrpSpPr/>
            <p:nvPr/>
          </p:nvGrpSpPr>
          <p:grpSpPr>
            <a:xfrm>
              <a:off x="6096952" y="3479149"/>
              <a:ext cx="330890" cy="404968"/>
              <a:chOff x="5178944" y="2778656"/>
              <a:chExt cx="330890" cy="404968"/>
            </a:xfrm>
          </p:grpSpPr>
          <p:grpSp>
            <p:nvGrpSpPr>
              <p:cNvPr id="185" name="Graphic 188">
                <a:extLst>
                  <a:ext uri="{FF2B5EF4-FFF2-40B4-BE49-F238E27FC236}">
                    <a16:creationId xmlns:a16="http://schemas.microsoft.com/office/drawing/2014/main" id="{7580BE71-2403-5F9B-9E1B-1EF38A3B0B55}"/>
                  </a:ext>
                </a:extLst>
              </p:cNvPr>
              <p:cNvGrpSpPr/>
              <p:nvPr/>
            </p:nvGrpSpPr>
            <p:grpSpPr>
              <a:xfrm>
                <a:off x="5178944" y="2992586"/>
                <a:ext cx="330890" cy="191038"/>
                <a:chOff x="5178944" y="2992586"/>
                <a:chExt cx="330890" cy="191038"/>
              </a:xfrm>
            </p:grpSpPr>
            <p:sp>
              <p:nvSpPr>
                <p:cNvPr id="194" name="Freeform: Shape 831">
                  <a:extLst>
                    <a:ext uri="{FF2B5EF4-FFF2-40B4-BE49-F238E27FC236}">
                      <a16:creationId xmlns:a16="http://schemas.microsoft.com/office/drawing/2014/main" id="{7D0F7B6E-1F9D-6DE7-0B09-B9CE3AC8EFDD}"/>
                    </a:ext>
                  </a:extLst>
                </p:cNvPr>
                <p:cNvSpPr/>
                <p:nvPr/>
              </p:nvSpPr>
              <p:spPr>
                <a:xfrm>
                  <a:off x="5178944" y="2992586"/>
                  <a:ext cx="330890" cy="191038"/>
                </a:xfrm>
                <a:custGeom>
                  <a:avLst/>
                  <a:gdLst>
                    <a:gd name="connsiteX0" fmla="*/ 283546 w 330890"/>
                    <a:gd name="connsiteY0" fmla="*/ 163704 h 191038"/>
                    <a:gd name="connsiteX1" fmla="*/ 49580 w 330890"/>
                    <a:gd name="connsiteY1" fmla="*/ 162413 h 191038"/>
                    <a:gd name="connsiteX2" fmla="*/ 47344 w 330890"/>
                    <a:gd name="connsiteY2" fmla="*/ 27334 h 191038"/>
                    <a:gd name="connsiteX3" fmla="*/ 281310 w 330890"/>
                    <a:gd name="connsiteY3" fmla="*/ 28626 h 191038"/>
                    <a:gd name="connsiteX4" fmla="*/ 283546 w 330890"/>
                    <a:gd name="connsiteY4" fmla="*/ 163704 h 1910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0890" h="191038">
                      <a:moveTo>
                        <a:pt x="283546" y="163704"/>
                      </a:moveTo>
                      <a:cubicBezTo>
                        <a:pt x="219557" y="200649"/>
                        <a:pt x="114808" y="200071"/>
                        <a:pt x="49580" y="162413"/>
                      </a:cubicBezTo>
                      <a:cubicBezTo>
                        <a:pt x="-15643" y="124756"/>
                        <a:pt x="-16645" y="64279"/>
                        <a:pt x="47344" y="27334"/>
                      </a:cubicBezTo>
                      <a:cubicBezTo>
                        <a:pt x="111333" y="-9610"/>
                        <a:pt x="216082" y="-9032"/>
                        <a:pt x="281310" y="28626"/>
                      </a:cubicBezTo>
                      <a:cubicBezTo>
                        <a:pt x="346533" y="66283"/>
                        <a:pt x="347535" y="126760"/>
                        <a:pt x="283546" y="163704"/>
                      </a:cubicBezTo>
                      <a:close/>
                    </a:path>
                  </a:pathLst>
                </a:custGeom>
                <a:noFill/>
                <a:ln w="4859" cap="rnd">
                  <a:solidFill>
                    <a:srgbClr val="FFFFFF">
                      <a:alpha val="30000"/>
                    </a:srgbClr>
                  </a:solidFill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95" name="Freeform: Shape 832">
                  <a:extLst>
                    <a:ext uri="{FF2B5EF4-FFF2-40B4-BE49-F238E27FC236}">
                      <a16:creationId xmlns:a16="http://schemas.microsoft.com/office/drawing/2014/main" id="{73616786-4C54-2339-1262-7277A17A7671}"/>
                    </a:ext>
                  </a:extLst>
                </p:cNvPr>
                <p:cNvSpPr/>
                <p:nvPr/>
              </p:nvSpPr>
              <p:spPr>
                <a:xfrm>
                  <a:off x="5253306" y="3037100"/>
                  <a:ext cx="110373" cy="63725"/>
                </a:xfrm>
                <a:custGeom>
                  <a:avLst/>
                  <a:gdLst>
                    <a:gd name="connsiteX0" fmla="*/ 94583 w 110373"/>
                    <a:gd name="connsiteY0" fmla="*/ 54607 h 63725"/>
                    <a:gd name="connsiteX1" fmla="*/ 16538 w 110373"/>
                    <a:gd name="connsiteY1" fmla="*/ 54176 h 63725"/>
                    <a:gd name="connsiteX2" fmla="*/ 15794 w 110373"/>
                    <a:gd name="connsiteY2" fmla="*/ 9118 h 63725"/>
                    <a:gd name="connsiteX3" fmla="*/ 93835 w 110373"/>
                    <a:gd name="connsiteY3" fmla="*/ 9549 h 63725"/>
                    <a:gd name="connsiteX4" fmla="*/ 94583 w 110373"/>
                    <a:gd name="connsiteY4" fmla="*/ 54607 h 637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0373" h="63725">
                      <a:moveTo>
                        <a:pt x="94583" y="54607"/>
                      </a:moveTo>
                      <a:cubicBezTo>
                        <a:pt x="73236" y="66931"/>
                        <a:pt x="38294" y="66738"/>
                        <a:pt x="16538" y="54176"/>
                      </a:cubicBezTo>
                      <a:cubicBezTo>
                        <a:pt x="-5218" y="41615"/>
                        <a:pt x="-5553" y="21441"/>
                        <a:pt x="15794" y="9118"/>
                      </a:cubicBezTo>
                      <a:cubicBezTo>
                        <a:pt x="37137" y="-3205"/>
                        <a:pt x="72079" y="-3013"/>
                        <a:pt x="93835" y="9549"/>
                      </a:cubicBezTo>
                      <a:cubicBezTo>
                        <a:pt x="115591" y="22110"/>
                        <a:pt x="115926" y="42284"/>
                        <a:pt x="94583" y="54607"/>
                      </a:cubicBezTo>
                      <a:close/>
                    </a:path>
                  </a:pathLst>
                </a:custGeom>
                <a:noFill/>
                <a:ln w="4859" cap="rnd">
                  <a:solidFill>
                    <a:srgbClr val="FFFFFF">
                      <a:alpha val="30000"/>
                    </a:srgbClr>
                  </a:solidFill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96" name="Freeform: Shape 833">
                  <a:extLst>
                    <a:ext uri="{FF2B5EF4-FFF2-40B4-BE49-F238E27FC236}">
                      <a16:creationId xmlns:a16="http://schemas.microsoft.com/office/drawing/2014/main" id="{DB73624B-15AF-1C07-415F-5458F876C9CB}"/>
                    </a:ext>
                  </a:extLst>
                </p:cNvPr>
                <p:cNvSpPr/>
                <p:nvPr/>
              </p:nvSpPr>
              <p:spPr>
                <a:xfrm>
                  <a:off x="5321899" y="3075550"/>
                  <a:ext cx="184598" cy="106149"/>
                </a:xfrm>
                <a:custGeom>
                  <a:avLst/>
                  <a:gdLst>
                    <a:gd name="connsiteX0" fmla="*/ 184598 w 184598"/>
                    <a:gd name="connsiteY0" fmla="*/ 19332 h 106149"/>
                    <a:gd name="connsiteX1" fmla="*/ 90917 w 184598"/>
                    <a:gd name="connsiteY1" fmla="*/ 363 h 106149"/>
                    <a:gd name="connsiteX2" fmla="*/ 24891 w 184598"/>
                    <a:gd name="connsiteY2" fmla="*/ 19149 h 106149"/>
                    <a:gd name="connsiteX3" fmla="*/ 827 w 184598"/>
                    <a:gd name="connsiteY3" fmla="*/ 66893 h 106149"/>
                    <a:gd name="connsiteX4" fmla="*/ 34228 w 184598"/>
                    <a:gd name="connsiteY4" fmla="*/ 106150 h 1061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4598" h="106149">
                      <a:moveTo>
                        <a:pt x="184598" y="19332"/>
                      </a:moveTo>
                      <a:cubicBezTo>
                        <a:pt x="178824" y="16236"/>
                        <a:pt x="142040" y="-2852"/>
                        <a:pt x="90917" y="363"/>
                      </a:cubicBezTo>
                      <a:cubicBezTo>
                        <a:pt x="81823" y="940"/>
                        <a:pt x="49486" y="3294"/>
                        <a:pt x="24891" y="19149"/>
                      </a:cubicBezTo>
                      <a:cubicBezTo>
                        <a:pt x="-3091" y="37205"/>
                        <a:pt x="-719" y="59600"/>
                        <a:pt x="827" y="66893"/>
                      </a:cubicBezTo>
                      <a:cubicBezTo>
                        <a:pt x="5187" y="88190"/>
                        <a:pt x="26889" y="101864"/>
                        <a:pt x="34228" y="106150"/>
                      </a:cubicBezTo>
                    </a:path>
                  </a:pathLst>
                </a:custGeom>
                <a:noFill/>
                <a:ln w="4859" cap="rnd">
                  <a:solidFill>
                    <a:srgbClr val="FFFFFF">
                      <a:alpha val="30000"/>
                    </a:srgbClr>
                  </a:solidFill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86" name="Graphic 188">
                <a:extLst>
                  <a:ext uri="{FF2B5EF4-FFF2-40B4-BE49-F238E27FC236}">
                    <a16:creationId xmlns:a16="http://schemas.microsoft.com/office/drawing/2014/main" id="{4DBF5888-10C9-B141-0109-426A93AFF638}"/>
                  </a:ext>
                </a:extLst>
              </p:cNvPr>
              <p:cNvGrpSpPr/>
              <p:nvPr/>
            </p:nvGrpSpPr>
            <p:grpSpPr>
              <a:xfrm>
                <a:off x="5178944" y="2878490"/>
                <a:ext cx="330890" cy="191038"/>
                <a:chOff x="5178944" y="2878490"/>
                <a:chExt cx="330890" cy="191038"/>
              </a:xfrm>
            </p:grpSpPr>
            <p:sp>
              <p:nvSpPr>
                <p:cNvPr id="191" name="Freeform: Shape 828">
                  <a:extLst>
                    <a:ext uri="{FF2B5EF4-FFF2-40B4-BE49-F238E27FC236}">
                      <a16:creationId xmlns:a16="http://schemas.microsoft.com/office/drawing/2014/main" id="{A1F78EDB-83F8-D03F-1E66-41BC97BD9C36}"/>
                    </a:ext>
                  </a:extLst>
                </p:cNvPr>
                <p:cNvSpPr/>
                <p:nvPr/>
              </p:nvSpPr>
              <p:spPr>
                <a:xfrm>
                  <a:off x="5178944" y="2878490"/>
                  <a:ext cx="330890" cy="191038"/>
                </a:xfrm>
                <a:custGeom>
                  <a:avLst/>
                  <a:gdLst>
                    <a:gd name="connsiteX0" fmla="*/ 283546 w 330890"/>
                    <a:gd name="connsiteY0" fmla="*/ 163704 h 191038"/>
                    <a:gd name="connsiteX1" fmla="*/ 49580 w 330890"/>
                    <a:gd name="connsiteY1" fmla="*/ 162413 h 191038"/>
                    <a:gd name="connsiteX2" fmla="*/ 47344 w 330890"/>
                    <a:gd name="connsiteY2" fmla="*/ 27334 h 191038"/>
                    <a:gd name="connsiteX3" fmla="*/ 281310 w 330890"/>
                    <a:gd name="connsiteY3" fmla="*/ 28626 h 191038"/>
                    <a:gd name="connsiteX4" fmla="*/ 283546 w 330890"/>
                    <a:gd name="connsiteY4" fmla="*/ 163704 h 1910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0890" h="191038">
                      <a:moveTo>
                        <a:pt x="283546" y="163704"/>
                      </a:moveTo>
                      <a:cubicBezTo>
                        <a:pt x="219557" y="200649"/>
                        <a:pt x="114808" y="200071"/>
                        <a:pt x="49580" y="162413"/>
                      </a:cubicBezTo>
                      <a:cubicBezTo>
                        <a:pt x="-15643" y="124756"/>
                        <a:pt x="-16645" y="64279"/>
                        <a:pt x="47344" y="27334"/>
                      </a:cubicBezTo>
                      <a:cubicBezTo>
                        <a:pt x="111333" y="-9610"/>
                        <a:pt x="216082" y="-9032"/>
                        <a:pt x="281310" y="28626"/>
                      </a:cubicBezTo>
                      <a:cubicBezTo>
                        <a:pt x="346533" y="66283"/>
                        <a:pt x="347535" y="126760"/>
                        <a:pt x="283546" y="163704"/>
                      </a:cubicBezTo>
                      <a:close/>
                    </a:path>
                  </a:pathLst>
                </a:custGeom>
                <a:noFill/>
                <a:ln w="4859" cap="flat">
                  <a:solidFill>
                    <a:srgbClr val="FFFFFF">
                      <a:alpha val="50000"/>
                    </a:srgb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92" name="Freeform: Shape 829">
                  <a:extLst>
                    <a:ext uri="{FF2B5EF4-FFF2-40B4-BE49-F238E27FC236}">
                      <a16:creationId xmlns:a16="http://schemas.microsoft.com/office/drawing/2014/main" id="{6E2EE0D0-C963-6EA6-3507-464BB2E5BFBF}"/>
                    </a:ext>
                  </a:extLst>
                </p:cNvPr>
                <p:cNvSpPr/>
                <p:nvPr/>
              </p:nvSpPr>
              <p:spPr>
                <a:xfrm>
                  <a:off x="5253306" y="2923005"/>
                  <a:ext cx="110373" cy="63725"/>
                </a:xfrm>
                <a:custGeom>
                  <a:avLst/>
                  <a:gdLst>
                    <a:gd name="connsiteX0" fmla="*/ 94583 w 110373"/>
                    <a:gd name="connsiteY0" fmla="*/ 54607 h 63725"/>
                    <a:gd name="connsiteX1" fmla="*/ 16538 w 110373"/>
                    <a:gd name="connsiteY1" fmla="*/ 54176 h 63725"/>
                    <a:gd name="connsiteX2" fmla="*/ 15794 w 110373"/>
                    <a:gd name="connsiteY2" fmla="*/ 9118 h 63725"/>
                    <a:gd name="connsiteX3" fmla="*/ 93835 w 110373"/>
                    <a:gd name="connsiteY3" fmla="*/ 9549 h 63725"/>
                    <a:gd name="connsiteX4" fmla="*/ 94583 w 110373"/>
                    <a:gd name="connsiteY4" fmla="*/ 54607 h 637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0373" h="63725">
                      <a:moveTo>
                        <a:pt x="94583" y="54607"/>
                      </a:moveTo>
                      <a:cubicBezTo>
                        <a:pt x="73236" y="66931"/>
                        <a:pt x="38294" y="66738"/>
                        <a:pt x="16538" y="54176"/>
                      </a:cubicBezTo>
                      <a:cubicBezTo>
                        <a:pt x="-5218" y="41615"/>
                        <a:pt x="-5553" y="21441"/>
                        <a:pt x="15794" y="9118"/>
                      </a:cubicBezTo>
                      <a:cubicBezTo>
                        <a:pt x="37137" y="-3205"/>
                        <a:pt x="72079" y="-3013"/>
                        <a:pt x="93835" y="9549"/>
                      </a:cubicBezTo>
                      <a:cubicBezTo>
                        <a:pt x="115591" y="22110"/>
                        <a:pt x="115926" y="42284"/>
                        <a:pt x="94583" y="54607"/>
                      </a:cubicBezTo>
                      <a:close/>
                    </a:path>
                  </a:pathLst>
                </a:custGeom>
                <a:noFill/>
                <a:ln w="4859" cap="flat">
                  <a:solidFill>
                    <a:srgbClr val="FFFFFF">
                      <a:alpha val="50000"/>
                    </a:srgb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93" name="Freeform: Shape 830">
                  <a:extLst>
                    <a:ext uri="{FF2B5EF4-FFF2-40B4-BE49-F238E27FC236}">
                      <a16:creationId xmlns:a16="http://schemas.microsoft.com/office/drawing/2014/main" id="{B9092EA7-245D-1D8E-07B3-AA6445BEF0E6}"/>
                    </a:ext>
                  </a:extLst>
                </p:cNvPr>
                <p:cNvSpPr/>
                <p:nvPr/>
              </p:nvSpPr>
              <p:spPr>
                <a:xfrm>
                  <a:off x="5321899" y="2961455"/>
                  <a:ext cx="184598" cy="106149"/>
                </a:xfrm>
                <a:custGeom>
                  <a:avLst/>
                  <a:gdLst>
                    <a:gd name="connsiteX0" fmla="*/ 184598 w 184598"/>
                    <a:gd name="connsiteY0" fmla="*/ 19332 h 106149"/>
                    <a:gd name="connsiteX1" fmla="*/ 90917 w 184598"/>
                    <a:gd name="connsiteY1" fmla="*/ 363 h 106149"/>
                    <a:gd name="connsiteX2" fmla="*/ 24891 w 184598"/>
                    <a:gd name="connsiteY2" fmla="*/ 19149 h 106149"/>
                    <a:gd name="connsiteX3" fmla="*/ 827 w 184598"/>
                    <a:gd name="connsiteY3" fmla="*/ 66893 h 106149"/>
                    <a:gd name="connsiteX4" fmla="*/ 34228 w 184598"/>
                    <a:gd name="connsiteY4" fmla="*/ 106150 h 1061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4598" h="106149">
                      <a:moveTo>
                        <a:pt x="184598" y="19332"/>
                      </a:moveTo>
                      <a:cubicBezTo>
                        <a:pt x="178824" y="16236"/>
                        <a:pt x="142040" y="-2852"/>
                        <a:pt x="90917" y="363"/>
                      </a:cubicBezTo>
                      <a:cubicBezTo>
                        <a:pt x="81823" y="940"/>
                        <a:pt x="49486" y="3294"/>
                        <a:pt x="24891" y="19149"/>
                      </a:cubicBezTo>
                      <a:cubicBezTo>
                        <a:pt x="-3091" y="37205"/>
                        <a:pt x="-719" y="59600"/>
                        <a:pt x="827" y="66893"/>
                      </a:cubicBezTo>
                      <a:cubicBezTo>
                        <a:pt x="5187" y="88190"/>
                        <a:pt x="26889" y="101864"/>
                        <a:pt x="34228" y="106150"/>
                      </a:cubicBezTo>
                    </a:path>
                  </a:pathLst>
                </a:custGeom>
                <a:noFill/>
                <a:ln w="4859" cap="flat">
                  <a:solidFill>
                    <a:srgbClr val="FFFFFF">
                      <a:alpha val="50000"/>
                    </a:srgb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87" name="Graphic 188">
                <a:extLst>
                  <a:ext uri="{FF2B5EF4-FFF2-40B4-BE49-F238E27FC236}">
                    <a16:creationId xmlns:a16="http://schemas.microsoft.com/office/drawing/2014/main" id="{87DFA41D-6D2B-BC76-7048-94A235338A36}"/>
                  </a:ext>
                </a:extLst>
              </p:cNvPr>
              <p:cNvGrpSpPr/>
              <p:nvPr/>
            </p:nvGrpSpPr>
            <p:grpSpPr>
              <a:xfrm>
                <a:off x="5178944" y="2778656"/>
                <a:ext cx="330890" cy="191038"/>
                <a:chOff x="5178944" y="2778656"/>
                <a:chExt cx="330890" cy="191038"/>
              </a:xfrm>
            </p:grpSpPr>
            <p:sp>
              <p:nvSpPr>
                <p:cNvPr id="188" name="Freeform: Shape 825">
                  <a:extLst>
                    <a:ext uri="{FF2B5EF4-FFF2-40B4-BE49-F238E27FC236}">
                      <a16:creationId xmlns:a16="http://schemas.microsoft.com/office/drawing/2014/main" id="{136ABF1F-CBC7-B322-0369-C7BD562EE9E6}"/>
                    </a:ext>
                  </a:extLst>
                </p:cNvPr>
                <p:cNvSpPr/>
                <p:nvPr/>
              </p:nvSpPr>
              <p:spPr>
                <a:xfrm>
                  <a:off x="5178944" y="2778656"/>
                  <a:ext cx="330890" cy="191038"/>
                </a:xfrm>
                <a:custGeom>
                  <a:avLst/>
                  <a:gdLst>
                    <a:gd name="connsiteX0" fmla="*/ 283546 w 330890"/>
                    <a:gd name="connsiteY0" fmla="*/ 163704 h 191038"/>
                    <a:gd name="connsiteX1" fmla="*/ 49580 w 330890"/>
                    <a:gd name="connsiteY1" fmla="*/ 162413 h 191038"/>
                    <a:gd name="connsiteX2" fmla="*/ 47344 w 330890"/>
                    <a:gd name="connsiteY2" fmla="*/ 27334 h 191038"/>
                    <a:gd name="connsiteX3" fmla="*/ 281310 w 330890"/>
                    <a:gd name="connsiteY3" fmla="*/ 28626 h 191038"/>
                    <a:gd name="connsiteX4" fmla="*/ 283546 w 330890"/>
                    <a:gd name="connsiteY4" fmla="*/ 163704 h 1910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0890" h="191038">
                      <a:moveTo>
                        <a:pt x="283546" y="163704"/>
                      </a:moveTo>
                      <a:cubicBezTo>
                        <a:pt x="219557" y="200649"/>
                        <a:pt x="114808" y="200071"/>
                        <a:pt x="49580" y="162413"/>
                      </a:cubicBezTo>
                      <a:cubicBezTo>
                        <a:pt x="-15643" y="124756"/>
                        <a:pt x="-16645" y="64279"/>
                        <a:pt x="47344" y="27334"/>
                      </a:cubicBezTo>
                      <a:cubicBezTo>
                        <a:pt x="111333" y="-9610"/>
                        <a:pt x="216082" y="-9032"/>
                        <a:pt x="281310" y="28626"/>
                      </a:cubicBezTo>
                      <a:cubicBezTo>
                        <a:pt x="346533" y="66283"/>
                        <a:pt x="347535" y="126760"/>
                        <a:pt x="283546" y="163704"/>
                      </a:cubicBezTo>
                      <a:close/>
                    </a:path>
                  </a:pathLst>
                </a:custGeom>
                <a:noFill/>
                <a:ln w="4859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89" name="Freeform: Shape 826">
                  <a:extLst>
                    <a:ext uri="{FF2B5EF4-FFF2-40B4-BE49-F238E27FC236}">
                      <a16:creationId xmlns:a16="http://schemas.microsoft.com/office/drawing/2014/main" id="{90EC8CEA-BF7B-F1D5-2751-6493A8B8EFE4}"/>
                    </a:ext>
                  </a:extLst>
                </p:cNvPr>
                <p:cNvSpPr/>
                <p:nvPr/>
              </p:nvSpPr>
              <p:spPr>
                <a:xfrm>
                  <a:off x="5253306" y="2823171"/>
                  <a:ext cx="110373" cy="63725"/>
                </a:xfrm>
                <a:custGeom>
                  <a:avLst/>
                  <a:gdLst>
                    <a:gd name="connsiteX0" fmla="*/ 94583 w 110373"/>
                    <a:gd name="connsiteY0" fmla="*/ 54607 h 63725"/>
                    <a:gd name="connsiteX1" fmla="*/ 16538 w 110373"/>
                    <a:gd name="connsiteY1" fmla="*/ 54176 h 63725"/>
                    <a:gd name="connsiteX2" fmla="*/ 15794 w 110373"/>
                    <a:gd name="connsiteY2" fmla="*/ 9118 h 63725"/>
                    <a:gd name="connsiteX3" fmla="*/ 93835 w 110373"/>
                    <a:gd name="connsiteY3" fmla="*/ 9549 h 63725"/>
                    <a:gd name="connsiteX4" fmla="*/ 94583 w 110373"/>
                    <a:gd name="connsiteY4" fmla="*/ 54607 h 637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0373" h="63725">
                      <a:moveTo>
                        <a:pt x="94583" y="54607"/>
                      </a:moveTo>
                      <a:cubicBezTo>
                        <a:pt x="73236" y="66931"/>
                        <a:pt x="38294" y="66738"/>
                        <a:pt x="16538" y="54176"/>
                      </a:cubicBezTo>
                      <a:cubicBezTo>
                        <a:pt x="-5218" y="41615"/>
                        <a:pt x="-5553" y="21442"/>
                        <a:pt x="15794" y="9118"/>
                      </a:cubicBezTo>
                      <a:cubicBezTo>
                        <a:pt x="37137" y="-3205"/>
                        <a:pt x="72079" y="-3013"/>
                        <a:pt x="93835" y="9549"/>
                      </a:cubicBezTo>
                      <a:cubicBezTo>
                        <a:pt x="115591" y="22110"/>
                        <a:pt x="115926" y="42284"/>
                        <a:pt x="94583" y="54607"/>
                      </a:cubicBezTo>
                      <a:close/>
                    </a:path>
                  </a:pathLst>
                </a:custGeom>
                <a:noFill/>
                <a:ln w="4859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90" name="Freeform: Shape 827">
                  <a:extLst>
                    <a:ext uri="{FF2B5EF4-FFF2-40B4-BE49-F238E27FC236}">
                      <a16:creationId xmlns:a16="http://schemas.microsoft.com/office/drawing/2014/main" id="{A5B417B1-01B9-4A69-A32C-CCE7000C6384}"/>
                    </a:ext>
                  </a:extLst>
                </p:cNvPr>
                <p:cNvSpPr/>
                <p:nvPr/>
              </p:nvSpPr>
              <p:spPr>
                <a:xfrm>
                  <a:off x="5321899" y="2861621"/>
                  <a:ext cx="184598" cy="106149"/>
                </a:xfrm>
                <a:custGeom>
                  <a:avLst/>
                  <a:gdLst>
                    <a:gd name="connsiteX0" fmla="*/ 184598 w 184598"/>
                    <a:gd name="connsiteY0" fmla="*/ 19332 h 106149"/>
                    <a:gd name="connsiteX1" fmla="*/ 90917 w 184598"/>
                    <a:gd name="connsiteY1" fmla="*/ 363 h 106149"/>
                    <a:gd name="connsiteX2" fmla="*/ 24891 w 184598"/>
                    <a:gd name="connsiteY2" fmla="*/ 19149 h 106149"/>
                    <a:gd name="connsiteX3" fmla="*/ 827 w 184598"/>
                    <a:gd name="connsiteY3" fmla="*/ 66893 h 106149"/>
                    <a:gd name="connsiteX4" fmla="*/ 34228 w 184598"/>
                    <a:gd name="connsiteY4" fmla="*/ 106150 h 1061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4598" h="106149">
                      <a:moveTo>
                        <a:pt x="184598" y="19332"/>
                      </a:moveTo>
                      <a:cubicBezTo>
                        <a:pt x="178824" y="16236"/>
                        <a:pt x="142040" y="-2852"/>
                        <a:pt x="90917" y="363"/>
                      </a:cubicBezTo>
                      <a:cubicBezTo>
                        <a:pt x="81823" y="940"/>
                        <a:pt x="49486" y="3294"/>
                        <a:pt x="24891" y="19149"/>
                      </a:cubicBezTo>
                      <a:cubicBezTo>
                        <a:pt x="-3091" y="37205"/>
                        <a:pt x="-719" y="59601"/>
                        <a:pt x="827" y="66893"/>
                      </a:cubicBezTo>
                      <a:cubicBezTo>
                        <a:pt x="5187" y="88190"/>
                        <a:pt x="26889" y="101865"/>
                        <a:pt x="34228" y="106150"/>
                      </a:cubicBezTo>
                    </a:path>
                  </a:pathLst>
                </a:custGeom>
                <a:noFill/>
                <a:ln w="4859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</p:grpSp>
        </p:grpSp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id="{43F709E7-2451-615A-28D3-581DE01566BC}"/>
                </a:ext>
              </a:extLst>
            </p:cNvPr>
            <p:cNvGrpSpPr/>
            <p:nvPr/>
          </p:nvGrpSpPr>
          <p:grpSpPr>
            <a:xfrm>
              <a:off x="6506374" y="2013648"/>
              <a:ext cx="4258618" cy="4090694"/>
              <a:chOff x="5590626" y="1368093"/>
              <a:chExt cx="4800776" cy="4611474"/>
            </a:xfrm>
          </p:grpSpPr>
          <p:pic>
            <p:nvPicPr>
              <p:cNvPr id="153" name="Picture 152">
                <a:extLst>
                  <a:ext uri="{FF2B5EF4-FFF2-40B4-BE49-F238E27FC236}">
                    <a16:creationId xmlns:a16="http://schemas.microsoft.com/office/drawing/2014/main" id="{0DA465B0-69A0-3985-DE62-357E62724EC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850735" y="3349278"/>
                <a:ext cx="4280556" cy="2623566"/>
              </a:xfrm>
              <a:prstGeom prst="rect">
                <a:avLst/>
              </a:prstGeom>
            </p:spPr>
          </p:pic>
          <p:pic>
            <p:nvPicPr>
              <p:cNvPr id="154" name="Picture 153">
                <a:extLst>
                  <a:ext uri="{FF2B5EF4-FFF2-40B4-BE49-F238E27FC236}">
                    <a16:creationId xmlns:a16="http://schemas.microsoft.com/office/drawing/2014/main" id="{1E8D5265-183F-6E11-86DA-7BAA6C3E07A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094522" y="2876473"/>
                <a:ext cx="3822596" cy="2344304"/>
              </a:xfrm>
              <a:prstGeom prst="rect">
                <a:avLst/>
              </a:prstGeom>
            </p:spPr>
          </p:pic>
          <p:pic>
            <p:nvPicPr>
              <p:cNvPr id="155" name="Picture 154">
                <a:extLst>
                  <a:ext uri="{FF2B5EF4-FFF2-40B4-BE49-F238E27FC236}">
                    <a16:creationId xmlns:a16="http://schemas.microsoft.com/office/drawing/2014/main" id="{56471B93-0DBE-73A8-34E9-AA67ED480B5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079716" y="2072997"/>
                <a:ext cx="3822596" cy="2344305"/>
              </a:xfrm>
              <a:prstGeom prst="rect">
                <a:avLst/>
              </a:prstGeom>
            </p:spPr>
          </p:pic>
          <p:pic>
            <p:nvPicPr>
              <p:cNvPr id="156" name="Picture 155">
                <a:extLst>
                  <a:ext uri="{FF2B5EF4-FFF2-40B4-BE49-F238E27FC236}">
                    <a16:creationId xmlns:a16="http://schemas.microsoft.com/office/drawing/2014/main" id="{369AEA04-8540-1A86-5557-911A70DF6F4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6072599" y="1368093"/>
                <a:ext cx="3822596" cy="2344304"/>
              </a:xfrm>
              <a:prstGeom prst="rect">
                <a:avLst/>
              </a:prstGeom>
            </p:spPr>
          </p:pic>
          <p:pic>
            <p:nvPicPr>
              <p:cNvPr id="157" name="Graphic 156">
                <a:extLst>
                  <a:ext uri="{FF2B5EF4-FFF2-40B4-BE49-F238E27FC236}">
                    <a16:creationId xmlns:a16="http://schemas.microsoft.com/office/drawing/2014/main" id="{B0C063AA-5389-FB5D-2DF9-B3E13BEF62F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590626" y="2382538"/>
                <a:ext cx="4800776" cy="1339631"/>
              </a:xfrm>
              <a:prstGeom prst="rect">
                <a:avLst/>
              </a:prstGeom>
            </p:spPr>
          </p:pic>
          <p:pic>
            <p:nvPicPr>
              <p:cNvPr id="158" name="Graphic 157">
                <a:extLst>
                  <a:ext uri="{FF2B5EF4-FFF2-40B4-BE49-F238E27FC236}">
                    <a16:creationId xmlns:a16="http://schemas.microsoft.com/office/drawing/2014/main" id="{E9BE786B-D88A-D1E1-D7A1-434870E75DB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590626" y="4639937"/>
                <a:ext cx="4800776" cy="1339630"/>
              </a:xfrm>
              <a:prstGeom prst="rect">
                <a:avLst/>
              </a:prstGeom>
            </p:spPr>
          </p:pic>
          <p:grpSp>
            <p:nvGrpSpPr>
              <p:cNvPr id="159" name="Group 158">
                <a:extLst>
                  <a:ext uri="{FF2B5EF4-FFF2-40B4-BE49-F238E27FC236}">
                    <a16:creationId xmlns:a16="http://schemas.microsoft.com/office/drawing/2014/main" id="{E93AB91A-9505-6646-C4FE-C7F2B724E17D}"/>
                  </a:ext>
                </a:extLst>
              </p:cNvPr>
              <p:cNvGrpSpPr/>
              <p:nvPr/>
            </p:nvGrpSpPr>
            <p:grpSpPr>
              <a:xfrm>
                <a:off x="7809946" y="3658714"/>
                <a:ext cx="406937" cy="2314015"/>
                <a:chOff x="7659926" y="1523004"/>
                <a:chExt cx="707417" cy="4022677"/>
              </a:xfrm>
            </p:grpSpPr>
            <p:sp>
              <p:nvSpPr>
                <p:cNvPr id="160" name="Graphic 64">
                  <a:extLst>
                    <a:ext uri="{FF2B5EF4-FFF2-40B4-BE49-F238E27FC236}">
                      <a16:creationId xmlns:a16="http://schemas.microsoft.com/office/drawing/2014/main" id="{98BFF2A8-B51F-B926-1E37-FF867AC9EB6F}"/>
                    </a:ext>
                  </a:extLst>
                </p:cNvPr>
                <p:cNvSpPr/>
                <p:nvPr/>
              </p:nvSpPr>
              <p:spPr>
                <a:xfrm>
                  <a:off x="7659926" y="1523004"/>
                  <a:ext cx="361949" cy="4022677"/>
                </a:xfrm>
                <a:custGeom>
                  <a:avLst/>
                  <a:gdLst>
                    <a:gd name="connsiteX0" fmla="*/ 0 w 361949"/>
                    <a:gd name="connsiteY0" fmla="*/ 4137632 h 4248150"/>
                    <a:gd name="connsiteX1" fmla="*/ 0 w 361949"/>
                    <a:gd name="connsiteY1" fmla="*/ 0 h 4248150"/>
                    <a:gd name="connsiteX2" fmla="*/ 361950 w 361949"/>
                    <a:gd name="connsiteY2" fmla="*/ 79570 h 4248150"/>
                    <a:gd name="connsiteX3" fmla="*/ 361950 w 361949"/>
                    <a:gd name="connsiteY3" fmla="*/ 4248150 h 4248150"/>
                    <a:gd name="connsiteX4" fmla="*/ 0 w 361949"/>
                    <a:gd name="connsiteY4" fmla="*/ 4137632 h 4248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1949" h="4248150">
                      <a:moveTo>
                        <a:pt x="0" y="4137632"/>
                      </a:moveTo>
                      <a:lnTo>
                        <a:pt x="0" y="0"/>
                      </a:lnTo>
                      <a:cubicBezTo>
                        <a:pt x="0" y="0"/>
                        <a:pt x="138112" y="79570"/>
                        <a:pt x="361950" y="79570"/>
                      </a:cubicBezTo>
                      <a:lnTo>
                        <a:pt x="361950" y="4248150"/>
                      </a:lnTo>
                      <a:cubicBezTo>
                        <a:pt x="114300" y="4248150"/>
                        <a:pt x="0" y="4137632"/>
                        <a:pt x="0" y="4137632"/>
                      </a:cubicBezTo>
                      <a:close/>
                    </a:path>
                  </a:pathLst>
                </a:custGeom>
                <a:gradFill>
                  <a:gsLst>
                    <a:gs pos="25000">
                      <a:srgbClr val="FFFFFF">
                        <a:alpha val="56000"/>
                      </a:srgbClr>
                    </a:gs>
                    <a:gs pos="0">
                      <a:srgbClr val="FFFFFF">
                        <a:alpha val="52000"/>
                      </a:srgbClr>
                    </a:gs>
                    <a:gs pos="50000">
                      <a:srgbClr val="FFFFFF">
                        <a:alpha val="30000"/>
                      </a:srgbClr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10800000" scaled="1"/>
                </a:gra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61" name="Graphic 66">
                  <a:extLst>
                    <a:ext uri="{FF2B5EF4-FFF2-40B4-BE49-F238E27FC236}">
                      <a16:creationId xmlns:a16="http://schemas.microsoft.com/office/drawing/2014/main" id="{E6CD8158-6706-86D3-ADA7-CC9775384C70}"/>
                    </a:ext>
                  </a:extLst>
                </p:cNvPr>
                <p:cNvSpPr/>
                <p:nvPr/>
              </p:nvSpPr>
              <p:spPr>
                <a:xfrm>
                  <a:off x="8005394" y="1523004"/>
                  <a:ext cx="361949" cy="4022677"/>
                </a:xfrm>
                <a:custGeom>
                  <a:avLst/>
                  <a:gdLst>
                    <a:gd name="connsiteX0" fmla="*/ 361950 w 361949"/>
                    <a:gd name="connsiteY0" fmla="*/ 4137632 h 4248150"/>
                    <a:gd name="connsiteX1" fmla="*/ 361950 w 361949"/>
                    <a:gd name="connsiteY1" fmla="*/ 0 h 4248150"/>
                    <a:gd name="connsiteX2" fmla="*/ 0 w 361949"/>
                    <a:gd name="connsiteY2" fmla="*/ 79570 h 4248150"/>
                    <a:gd name="connsiteX3" fmla="*/ 0 w 361949"/>
                    <a:gd name="connsiteY3" fmla="*/ 4248150 h 4248150"/>
                    <a:gd name="connsiteX4" fmla="*/ 361950 w 361949"/>
                    <a:gd name="connsiteY4" fmla="*/ 4137632 h 4248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1949" h="4248150">
                      <a:moveTo>
                        <a:pt x="361950" y="4137632"/>
                      </a:moveTo>
                      <a:lnTo>
                        <a:pt x="361950" y="0"/>
                      </a:lnTo>
                      <a:cubicBezTo>
                        <a:pt x="361950" y="0"/>
                        <a:pt x="223837" y="79570"/>
                        <a:pt x="0" y="79570"/>
                      </a:cubicBezTo>
                      <a:lnTo>
                        <a:pt x="0" y="4248150"/>
                      </a:lnTo>
                      <a:cubicBezTo>
                        <a:pt x="247650" y="4248150"/>
                        <a:pt x="361950" y="4137632"/>
                        <a:pt x="361950" y="4137632"/>
                      </a:cubicBezTo>
                      <a:close/>
                    </a:path>
                  </a:pathLst>
                </a:custGeom>
                <a:gradFill>
                  <a:gsLst>
                    <a:gs pos="25000">
                      <a:srgbClr val="FFFFFF">
                        <a:alpha val="56000"/>
                      </a:srgbClr>
                    </a:gs>
                    <a:gs pos="0">
                      <a:srgbClr val="FFFFFF">
                        <a:alpha val="52000"/>
                      </a:srgbClr>
                    </a:gs>
                    <a:gs pos="50000">
                      <a:srgbClr val="FFFFFF">
                        <a:alpha val="30000"/>
                      </a:srgbClr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0" scaled="1"/>
                </a:gra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</p:grpSp>
        </p:grpSp>
        <p:pic>
          <p:nvPicPr>
            <p:cNvPr id="149" name="Graphic 148">
              <a:extLst>
                <a:ext uri="{FF2B5EF4-FFF2-40B4-BE49-F238E27FC236}">
                  <a16:creationId xmlns:a16="http://schemas.microsoft.com/office/drawing/2014/main" id="{18C13836-C2DD-5C5C-F6D7-93C7BF5CB280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912687" y="2005488"/>
              <a:ext cx="3447259" cy="1236556"/>
            </a:xfrm>
            <a:prstGeom prst="rect">
              <a:avLst/>
            </a:prstGeom>
          </p:spPr>
        </p:pic>
        <p:pic>
          <p:nvPicPr>
            <p:cNvPr id="150" name="Graphic 149">
              <a:extLst>
                <a:ext uri="{FF2B5EF4-FFF2-40B4-BE49-F238E27FC236}">
                  <a16:creationId xmlns:a16="http://schemas.microsoft.com/office/drawing/2014/main" id="{C47235CD-6007-D9CC-B366-E322833DE99F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744020" y="4574273"/>
              <a:ext cx="3790237" cy="1392532"/>
            </a:xfrm>
            <a:prstGeom prst="rect">
              <a:avLst/>
            </a:prstGeom>
          </p:spPr>
        </p:pic>
        <p:pic>
          <p:nvPicPr>
            <p:cNvPr id="151" name="Graphic 150">
              <a:extLst>
                <a:ext uri="{FF2B5EF4-FFF2-40B4-BE49-F238E27FC236}">
                  <a16:creationId xmlns:a16="http://schemas.microsoft.com/office/drawing/2014/main" id="{A114EE0E-21C9-F4E1-826F-34CCF82968E6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038102" y="3146097"/>
              <a:ext cx="3197071" cy="2466451"/>
            </a:xfrm>
            <a:prstGeom prst="rect">
              <a:avLst/>
            </a:prstGeom>
          </p:spPr>
        </p:pic>
        <p:pic>
          <p:nvPicPr>
            <p:cNvPr id="152" name="Graphic 151">
              <a:extLst>
                <a:ext uri="{FF2B5EF4-FFF2-40B4-BE49-F238E27FC236}">
                  <a16:creationId xmlns:a16="http://schemas.microsoft.com/office/drawing/2014/main" id="{34ED14A0-EDA5-5903-D85F-78429EA99A0C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8380371" y="2792283"/>
              <a:ext cx="455674" cy="3005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93767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48BCB3-4A10-7BCF-3082-778A90726A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445C9703-A5F9-4765-0145-CFAEDFF49F15}"/>
              </a:ext>
            </a:extLst>
          </p:cNvPr>
          <p:cNvSpPr/>
          <p:nvPr/>
        </p:nvSpPr>
        <p:spPr>
          <a:xfrm>
            <a:off x="384767" y="2274708"/>
            <a:ext cx="11288678" cy="4054835"/>
          </a:xfrm>
          <a:prstGeom prst="roundRect">
            <a:avLst>
              <a:gd name="adj" fmla="val 6814"/>
            </a:avLst>
          </a:prstGeom>
          <a:solidFill>
            <a:srgbClr val="F0EF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33" name="Google Shape;24;p61">
            <a:extLst>
              <a:ext uri="{FF2B5EF4-FFF2-40B4-BE49-F238E27FC236}">
                <a16:creationId xmlns:a16="http://schemas.microsoft.com/office/drawing/2014/main" id="{C6B7A7B3-A190-328A-1528-BE9D622C9014}"/>
              </a:ext>
            </a:extLst>
          </p:cNvPr>
          <p:cNvSpPr txBox="1">
            <a:spLocks/>
          </p:cNvSpPr>
          <p:nvPr/>
        </p:nvSpPr>
        <p:spPr>
          <a:xfrm>
            <a:off x="584604" y="439602"/>
            <a:ext cx="7680625" cy="12124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800"/>
              <a:buFont typeface="Lato"/>
              <a:buNone/>
              <a:defRPr sz="4800" b="1" i="0" u="none" strike="noStrike" cap="none">
                <a:solidFill>
                  <a:schemeClr val="lt1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  <a:sym typeface="Lat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800"/>
              <a:buFont typeface="Lato"/>
              <a:buNone/>
              <a:tabLst/>
              <a:defRPr/>
            </a:pPr>
            <a:r>
              <a:rPr kumimoji="0" lang="en-US" sz="4000" b="1" i="0" u="none" strike="noStrike" kern="0" cap="none" spc="0" normalizeH="0" baseline="0" noProof="0">
                <a:ln>
                  <a:noFill/>
                </a:ln>
                <a:solidFill>
                  <a:srgbClr val="00BD4D"/>
                </a:solidFill>
                <a:effectLst/>
                <a:uLnTx/>
                <a:uFillTx/>
                <a:latin typeface="Lato" panose="020F0502020204030203" pitchFamily="34" charset="77"/>
                <a:sym typeface="Lato"/>
              </a:rPr>
              <a:t>WE UNITE</a:t>
            </a:r>
            <a:r>
              <a:rPr kumimoji="0" lang="en-US" sz="4000" b="1" i="0" u="none" strike="noStrike" kern="0" cap="none" spc="0" normalizeH="0" baseline="0" noProof="0">
                <a:ln>
                  <a:noFill/>
                </a:ln>
                <a:gradFill>
                  <a:gsLst>
                    <a:gs pos="65000">
                      <a:srgbClr val="00BD4D"/>
                    </a:gs>
                    <a:gs pos="0">
                      <a:srgbClr val="FEDD00"/>
                    </a:gs>
                    <a:gs pos="35000">
                      <a:srgbClr val="00BD4D"/>
                    </a:gs>
                    <a:gs pos="100000">
                      <a:srgbClr val="00E2EC"/>
                    </a:gs>
                  </a:gsLst>
                  <a:lin ang="0" scaled="0"/>
                </a:gradFill>
                <a:effectLst/>
                <a:uLnTx/>
                <a:uFillTx/>
                <a:latin typeface="Lato" panose="020F0502020204030203" pitchFamily="34" charset="77"/>
                <a:sym typeface="Lato"/>
              </a:rPr>
              <a:t> </a:t>
            </a:r>
            <a:r>
              <a:rPr kumimoji="0" lang="en-US" sz="4000" b="1" i="0" u="none" strike="noStrike" kern="0" cap="none" spc="3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77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NETWORKING, SECURITY AND CLOUD</a:t>
            </a:r>
          </a:p>
        </p:txBody>
      </p:sp>
      <p:sp>
        <p:nvSpPr>
          <p:cNvPr id="7" name="Google Shape;164;p112">
            <a:extLst>
              <a:ext uri="{FF2B5EF4-FFF2-40B4-BE49-F238E27FC236}">
                <a16:creationId xmlns:a16="http://schemas.microsoft.com/office/drawing/2014/main" id="{FA45D3C2-2E35-20EE-6BDD-A0ACEFBE319A}"/>
              </a:ext>
            </a:extLst>
          </p:cNvPr>
          <p:cNvSpPr txBox="1">
            <a:spLocks/>
          </p:cNvSpPr>
          <p:nvPr/>
        </p:nvSpPr>
        <p:spPr>
          <a:xfrm>
            <a:off x="4289586" y="3268319"/>
            <a:ext cx="3395658" cy="25652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>
              <a:lnSpc>
                <a:spcPct val="120000"/>
              </a:lnSpc>
              <a:buClr>
                <a:schemeClr val="lt1"/>
              </a:buClr>
              <a:buSzPts val="1800"/>
              <a:defRPr sz="1100" b="1">
                <a:solidFill>
                  <a:schemeClr val="bg1"/>
                </a:solidFill>
                <a:latin typeface="Lato"/>
                <a:ea typeface="Lato"/>
                <a:cs typeface="Lat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BD4D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Lato"/>
                <a:sym typeface="Arial"/>
              </a:rPr>
              <a:t>Preemptive protection against AI-driven and sophisticated attack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BD4D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Lato"/>
                <a:sym typeface="Arial"/>
              </a:rPr>
              <a:t>Algorithmic protections to block data exfiltration, DGAs and Zero Day DNS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BD4D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Lato"/>
                <a:sym typeface="Arial"/>
              </a:rPr>
              <a:t>Brand protection by identifying and taking down</a:t>
            </a:r>
            <a:b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sym typeface="Arial"/>
              </a:rPr>
            </a:b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Lato"/>
                <a:sym typeface="Arial"/>
              </a:rPr>
              <a:t>lookalike domain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BD4D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Lato"/>
                <a:sym typeface="Arial"/>
              </a:rPr>
              <a:t>Security ecosystem integrations (open API)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BD4D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Lato"/>
                <a:sym typeface="Arial"/>
              </a:rPr>
              <a:t>SOC Insights to speed up incident respons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BD4D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Lato"/>
                <a:sym typeface="Arial"/>
              </a:rPr>
              <a:t>Threat exposure management</a:t>
            </a:r>
          </a:p>
        </p:txBody>
      </p:sp>
      <p:sp>
        <p:nvSpPr>
          <p:cNvPr id="8" name="Google Shape;164;p112">
            <a:extLst>
              <a:ext uri="{FF2B5EF4-FFF2-40B4-BE49-F238E27FC236}">
                <a16:creationId xmlns:a16="http://schemas.microsoft.com/office/drawing/2014/main" id="{51ED5367-E0BE-C739-F1C6-960A1B34D09B}"/>
              </a:ext>
            </a:extLst>
          </p:cNvPr>
          <p:cNvSpPr txBox="1">
            <a:spLocks/>
          </p:cNvSpPr>
          <p:nvPr/>
        </p:nvSpPr>
        <p:spPr>
          <a:xfrm>
            <a:off x="4911510" y="2610006"/>
            <a:ext cx="2378694" cy="29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>
              <a:lnSpc>
                <a:spcPct val="90000"/>
              </a:lnSpc>
              <a:buClr>
                <a:srgbClr val="00BD4D"/>
              </a:buClr>
              <a:buSzPts val="1800"/>
              <a:defRPr sz="1800" b="1">
                <a:solidFill>
                  <a:srgbClr val="00BD4D"/>
                </a:solidFill>
                <a:latin typeface="Lato"/>
                <a:ea typeface="Lato"/>
                <a:cs typeface="Lat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800"/>
              <a:buFont typeface="Arial"/>
              <a:buNone/>
              <a:tabLst/>
              <a:defRPr/>
            </a:pPr>
            <a:r>
              <a:rPr kumimoji="0" lang="en-US" sz="2000" b="1" i="0" u="none" strike="noStrike" kern="0" cap="all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Arial"/>
              </a:rPr>
              <a:t>SECURITY</a:t>
            </a:r>
          </a:p>
        </p:txBody>
      </p:sp>
      <p:sp>
        <p:nvSpPr>
          <p:cNvPr id="19" name="Google Shape;164;p112">
            <a:extLst>
              <a:ext uri="{FF2B5EF4-FFF2-40B4-BE49-F238E27FC236}">
                <a16:creationId xmlns:a16="http://schemas.microsoft.com/office/drawing/2014/main" id="{C1BB5A32-C996-4ADE-0C1B-E2C6AC1FD5CA}"/>
              </a:ext>
            </a:extLst>
          </p:cNvPr>
          <p:cNvSpPr txBox="1">
            <a:spLocks/>
          </p:cNvSpPr>
          <p:nvPr/>
        </p:nvSpPr>
        <p:spPr>
          <a:xfrm>
            <a:off x="738980" y="3268319"/>
            <a:ext cx="3196392" cy="2038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>
              <a:lnSpc>
                <a:spcPct val="90000"/>
              </a:lnSpc>
              <a:buClr>
                <a:srgbClr val="00BD4D"/>
              </a:buClr>
              <a:buSzPts val="1800"/>
              <a:defRPr sz="1800" b="1">
                <a:solidFill>
                  <a:srgbClr val="00BD4D"/>
                </a:solidFill>
                <a:latin typeface="Lato"/>
                <a:ea typeface="Lato"/>
                <a:cs typeface="Lat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BD4D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Lato"/>
                <a:sym typeface="Arial"/>
              </a:rPr>
              <a:t>Universal DDI across on-prem and cloud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BD4D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Lato"/>
                <a:sym typeface="Arial"/>
              </a:rPr>
              <a:t>Unified internal and external DNS managem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BD4D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Lato"/>
                <a:sym typeface="Arial"/>
              </a:rPr>
              <a:t>First and only DDI as-a-servic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BD4D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Lato"/>
                <a:sym typeface="Arial"/>
              </a:rPr>
              <a:t>Industry-leading resiliency architectur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BD4D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Lato"/>
                <a:sym typeface="Arial"/>
              </a:rPr>
              <a:t>End-to-end on-prem and cloud visibilit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BD4D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Lato"/>
                <a:sym typeface="Arial"/>
              </a:rPr>
              <a:t>Built-in DNS security protection</a:t>
            </a:r>
          </a:p>
          <a:p>
            <a:pPr marL="0" marR="0" lvl="0" indent="0" algn="l" defTabSz="914400" rtl="0" eaLnBrk="1" fontAlgn="auto" latinLnBrk="0" hangingPunct="1">
              <a:lnSpc>
                <a:spcPct val="170000"/>
              </a:lnSpc>
              <a:spcBef>
                <a:spcPts val="0"/>
              </a:spcBef>
              <a:spcAft>
                <a:spcPts val="0"/>
              </a:spcAft>
              <a:buClr>
                <a:srgbClr val="00BD4D"/>
              </a:buClr>
              <a:buSzPts val="1800"/>
              <a:buFont typeface="Arial"/>
              <a:buNone/>
              <a:tabLst/>
              <a:defRPr/>
            </a:pPr>
            <a:endParaRPr kumimoji="0" lang="en-US" sz="1100" b="1" i="0" u="none" strike="noStrike" kern="0" cap="none" spc="0" normalizeH="0" baseline="0" noProof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Lato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70000"/>
              </a:lnSpc>
              <a:spcBef>
                <a:spcPts val="0"/>
              </a:spcBef>
              <a:spcAft>
                <a:spcPts val="0"/>
              </a:spcAft>
              <a:buClr>
                <a:srgbClr val="00BD4D"/>
              </a:buClr>
              <a:buSzPts val="1800"/>
              <a:buFont typeface="Arial"/>
              <a:buNone/>
              <a:tabLst/>
              <a:defRPr/>
            </a:pPr>
            <a:endParaRPr kumimoji="0" lang="en-US" sz="1100" b="1" i="0" u="none" strike="noStrike" kern="0" cap="none" spc="0" normalizeH="0" baseline="0" noProof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Lato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70000"/>
              </a:lnSpc>
              <a:spcBef>
                <a:spcPts val="0"/>
              </a:spcBef>
              <a:spcAft>
                <a:spcPts val="0"/>
              </a:spcAft>
              <a:buClr>
                <a:srgbClr val="00BD4D"/>
              </a:buClr>
              <a:buSzPts val="1800"/>
              <a:buFont typeface="Arial"/>
              <a:buNone/>
              <a:tabLst/>
              <a:defRPr/>
            </a:pPr>
            <a:endParaRPr kumimoji="0" lang="en-US" sz="1100" b="1" i="0" u="none" strike="noStrike" kern="0" cap="none" spc="0" normalizeH="0" baseline="0" noProof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Lato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70000"/>
              </a:lnSpc>
              <a:spcBef>
                <a:spcPts val="0"/>
              </a:spcBef>
              <a:spcAft>
                <a:spcPts val="0"/>
              </a:spcAft>
              <a:buClr>
                <a:srgbClr val="00BD4D"/>
              </a:buClr>
              <a:buSzPts val="1800"/>
              <a:buFont typeface="Arial"/>
              <a:buNone/>
              <a:tabLst/>
              <a:defRPr/>
            </a:pPr>
            <a:endParaRPr kumimoji="0" lang="en-US" sz="1100" b="1" i="0" u="none" strike="noStrike" kern="0" cap="none" spc="0" normalizeH="0" baseline="0" noProof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Lato"/>
              <a:sym typeface="Arial"/>
            </a:endParaRPr>
          </a:p>
        </p:txBody>
      </p:sp>
      <p:sp>
        <p:nvSpPr>
          <p:cNvPr id="20" name="Google Shape;164;p112">
            <a:extLst>
              <a:ext uri="{FF2B5EF4-FFF2-40B4-BE49-F238E27FC236}">
                <a16:creationId xmlns:a16="http://schemas.microsoft.com/office/drawing/2014/main" id="{A5761ECC-2CFF-35B1-91C3-92F0A3241068}"/>
              </a:ext>
            </a:extLst>
          </p:cNvPr>
          <p:cNvSpPr txBox="1">
            <a:spLocks/>
          </p:cNvSpPr>
          <p:nvPr/>
        </p:nvSpPr>
        <p:spPr>
          <a:xfrm>
            <a:off x="1339948" y="2610006"/>
            <a:ext cx="2180454" cy="2246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>
              <a:lnSpc>
                <a:spcPct val="90000"/>
              </a:lnSpc>
              <a:buClr>
                <a:srgbClr val="00BD4D"/>
              </a:buClr>
              <a:buSzPts val="1800"/>
              <a:defRPr sz="1800" b="1">
                <a:solidFill>
                  <a:srgbClr val="00BD4D"/>
                </a:solidFill>
                <a:latin typeface="Lato"/>
                <a:ea typeface="Lato"/>
                <a:cs typeface="Lat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800"/>
              <a:buFont typeface="Arial"/>
              <a:buNone/>
              <a:tabLst/>
              <a:defRPr/>
            </a:pPr>
            <a:r>
              <a:rPr kumimoji="0" lang="en-US" sz="2000" b="1" i="0" u="none" strike="noStrike" kern="0" cap="all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Arial"/>
              </a:rPr>
              <a:t>NETWORKING</a:t>
            </a:r>
          </a:p>
        </p:txBody>
      </p:sp>
      <p:sp>
        <p:nvSpPr>
          <p:cNvPr id="22" name="Google Shape;164;p112">
            <a:extLst>
              <a:ext uri="{FF2B5EF4-FFF2-40B4-BE49-F238E27FC236}">
                <a16:creationId xmlns:a16="http://schemas.microsoft.com/office/drawing/2014/main" id="{68EDB0D5-AB31-4D30-1D2D-E7B0EF15A696}"/>
              </a:ext>
            </a:extLst>
          </p:cNvPr>
          <p:cNvSpPr txBox="1">
            <a:spLocks/>
          </p:cNvSpPr>
          <p:nvPr/>
        </p:nvSpPr>
        <p:spPr>
          <a:xfrm>
            <a:off x="8727987" y="2610006"/>
            <a:ext cx="1387193" cy="2164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>
              <a:lnSpc>
                <a:spcPct val="90000"/>
              </a:lnSpc>
              <a:buClr>
                <a:srgbClr val="00BD4D"/>
              </a:buClr>
              <a:buSzPts val="1800"/>
              <a:defRPr sz="1800" b="1">
                <a:solidFill>
                  <a:srgbClr val="00BD4D"/>
                </a:solidFill>
                <a:latin typeface="Lato"/>
                <a:ea typeface="Lato"/>
                <a:cs typeface="Lat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800"/>
              <a:buFont typeface="Arial"/>
              <a:buNone/>
              <a:tabLst/>
              <a:defRPr/>
            </a:pPr>
            <a:r>
              <a:rPr kumimoji="0" lang="en-US" sz="2000" b="1" i="0" u="none" strike="noStrike" kern="0" cap="all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Arial"/>
              </a:rPr>
              <a:t>CLOUD</a:t>
            </a:r>
          </a:p>
        </p:txBody>
      </p:sp>
      <p:sp>
        <p:nvSpPr>
          <p:cNvPr id="39" name="Google Shape;164;p112">
            <a:extLst>
              <a:ext uri="{FF2B5EF4-FFF2-40B4-BE49-F238E27FC236}">
                <a16:creationId xmlns:a16="http://schemas.microsoft.com/office/drawing/2014/main" id="{A6087D2C-28A8-A63B-81CF-017E8DBF279C}"/>
              </a:ext>
            </a:extLst>
          </p:cNvPr>
          <p:cNvSpPr txBox="1">
            <a:spLocks/>
          </p:cNvSpPr>
          <p:nvPr/>
        </p:nvSpPr>
        <p:spPr>
          <a:xfrm>
            <a:off x="8037253" y="3268319"/>
            <a:ext cx="3415767" cy="28835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>
              <a:lnSpc>
                <a:spcPct val="120000"/>
              </a:lnSpc>
              <a:buClr>
                <a:schemeClr val="lt1"/>
              </a:buClr>
              <a:buSzPts val="1800"/>
              <a:defRPr sz="1100" b="1">
                <a:solidFill>
                  <a:schemeClr val="bg1"/>
                </a:solidFill>
                <a:latin typeface="Lato"/>
                <a:ea typeface="Lato"/>
                <a:cs typeface="Lat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BD4D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Lato"/>
                <a:sym typeface="Arial"/>
              </a:rPr>
              <a:t>Unified DNS management across clouds, on-prem, and external provider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BD4D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Lato"/>
                <a:sym typeface="Arial"/>
              </a:rPr>
              <a:t>Consistent policies everywhere—cloud, on-prem, and external DN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BD4D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Lato"/>
                <a:sym typeface="Arial"/>
              </a:rPr>
              <a:t>Universal IP address management across on-prem and public cloud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BD4D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Lato"/>
                <a:sym typeface="Arial"/>
              </a:rPr>
              <a:t>Cross-cloud automation with a single API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BD4D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Lato"/>
                <a:sym typeface="Arial"/>
              </a:rPr>
              <a:t>Flexible delivery options:  as a service or               virtual applianc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BD4D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Lato"/>
                <a:sym typeface="Arial"/>
              </a:rPr>
              <a:t>Unified asset visibility across your entire             digital estat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C4B4B8BA-DF8B-43F3-B702-F7AA30752C25}"/>
              </a:ext>
            </a:extLst>
          </p:cNvPr>
          <p:cNvCxnSpPr>
            <a:cxnSpLocks/>
          </p:cNvCxnSpPr>
          <p:nvPr/>
        </p:nvCxnSpPr>
        <p:spPr>
          <a:xfrm flipH="1">
            <a:off x="384519" y="3072341"/>
            <a:ext cx="11288926" cy="0"/>
          </a:xfrm>
          <a:prstGeom prst="line">
            <a:avLst/>
          </a:prstGeom>
          <a:ln>
            <a:solidFill>
              <a:srgbClr val="29292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C16B840E-7168-6B26-7CC0-4C443F344C3C}"/>
              </a:ext>
            </a:extLst>
          </p:cNvPr>
          <p:cNvSpPr txBox="1"/>
          <p:nvPr/>
        </p:nvSpPr>
        <p:spPr>
          <a:xfrm>
            <a:off x="586884" y="1426910"/>
            <a:ext cx="70983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Lato"/>
                <a:cs typeface="Lato"/>
                <a:sym typeface="Arial"/>
              </a:rPr>
              <a:t>Infoblox is a pioneer in DNS and is the leading provider of DNS, DHCP, IPAM and security solutions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6802A131-3969-07D5-FEE6-CFC1DE68E2B8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26021" y="2491536"/>
            <a:ext cx="374492" cy="429105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BE85DF34-7CEB-25D2-0FCB-0195A58D7BB9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18009" y="2518587"/>
            <a:ext cx="475369" cy="407459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D69C932E-4390-36D3-9546-508AC199D834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994632" y="2379175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5302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24">
            <a:extLst>
              <a:ext uri="{FF2B5EF4-FFF2-40B4-BE49-F238E27FC236}">
                <a16:creationId xmlns:a16="http://schemas.microsoft.com/office/drawing/2014/main" id="{D4A5F90C-4679-0853-EB50-35A69C2DDF5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 great escape from on-prem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F58BAF6-5E8C-A4E9-9FC5-3E49E02FC8B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6658" y="3589681"/>
            <a:ext cx="3918464" cy="1406620"/>
          </a:xfrm>
        </p:spPr>
        <p:txBody>
          <a:bodyPr/>
          <a:lstStyle/>
          <a:p>
            <a:r>
              <a:rPr lang="en-US" dirty="0"/>
              <a:t>From on-prem to Protocol-as-a-Service: an Enterprise Journey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B95AF928-4F10-C132-4840-C13B9F6DC364}"/>
              </a:ext>
            </a:extLst>
          </p:cNvPr>
          <p:cNvSpPr txBox="1">
            <a:spLocks/>
          </p:cNvSpPr>
          <p:nvPr/>
        </p:nvSpPr>
        <p:spPr>
          <a:xfrm>
            <a:off x="536658" y="5205859"/>
            <a:ext cx="6244746" cy="639662"/>
          </a:xfrm>
          <a:prstGeom prst="rect">
            <a:avLst/>
          </a:prstGeom>
        </p:spPr>
        <p:txBody>
          <a:bodyPr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200" b="0" i="0" kern="1200" cap="all" baseline="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GB" sz="1200" dirty="0"/>
              <a:t>Ed Daniel, STAFF TECHNICAL MARKETING ENGINEER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3AF02E1-CA32-83AE-9B2F-4FF99A019711}"/>
              </a:ext>
            </a:extLst>
          </p:cNvPr>
          <p:cNvSpPr txBox="1">
            <a:spLocks/>
          </p:cNvSpPr>
          <p:nvPr/>
        </p:nvSpPr>
        <p:spPr>
          <a:xfrm>
            <a:off x="536658" y="6105718"/>
            <a:ext cx="3117450" cy="286264"/>
          </a:xfrm>
          <a:prstGeom prst="rect">
            <a:avLst/>
          </a:prstGeom>
        </p:spPr>
        <p:txBody>
          <a:bodyPr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200" b="0" i="0" kern="1200" cap="all" baseline="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dirty="0"/>
              <a:t>NETUK3, London, </a:t>
            </a:r>
            <a:r>
              <a:rPr lang="en-GB" sz="1200" dirty="0" err="1"/>
              <a:t>july</a:t>
            </a:r>
            <a:r>
              <a:rPr lang="en-GB" sz="1200" dirty="0"/>
              <a:t> 2026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5ADF9039-8A63-0BE5-960B-1F092DE388F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/>
          <a:srcRect l="30346" t="40649" r="30311" b="39833"/>
          <a:stretch>
            <a:fillRect/>
          </a:stretch>
        </p:blipFill>
        <p:spPr bwMode="auto">
          <a:xfrm>
            <a:off x="3654108" y="456201"/>
            <a:ext cx="3048001" cy="794414"/>
          </a:xfrm>
          <a:prstGeom prst="rect">
            <a:avLst/>
          </a:prstGeom>
          <a:noFill/>
          <a:effectLst>
            <a:outerShdw blurRad="50800" dist="38100" dir="2700000" algn="tl" rotWithShape="0">
              <a:schemeClr val="accent1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915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0" descr="preencoded.png">
            <a:extLst>
              <a:ext uri="{FF2B5EF4-FFF2-40B4-BE49-F238E27FC236}">
                <a16:creationId xmlns:a16="http://schemas.microsoft.com/office/drawing/2014/main" id="{D6728D2F-0980-DE90-DAF0-1032B3B331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5933" y="854251"/>
            <a:ext cx="9704934" cy="5454299"/>
          </a:xfrm>
          <a:prstGeom prst="rect">
            <a:avLst/>
          </a:prstGeom>
        </p:spPr>
      </p:pic>
      <p:pic>
        <p:nvPicPr>
          <p:cNvPr id="10" name="Image 0" descr="preencoded.png">
            <a:extLst>
              <a:ext uri="{FF2B5EF4-FFF2-40B4-BE49-F238E27FC236}">
                <a16:creationId xmlns:a16="http://schemas.microsoft.com/office/drawing/2014/main" id="{737EE332-199D-8B9A-BBEA-7EDDFFDD42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95933" y="854251"/>
            <a:ext cx="9704934" cy="5454299"/>
          </a:xfrm>
          <a:prstGeom prst="rect">
            <a:avLst/>
          </a:prstGeom>
        </p:spPr>
      </p:pic>
      <p:pic>
        <p:nvPicPr>
          <p:cNvPr id="9" name="Image 0" descr="preencoded.png">
            <a:extLst>
              <a:ext uri="{FF2B5EF4-FFF2-40B4-BE49-F238E27FC236}">
                <a16:creationId xmlns:a16="http://schemas.microsoft.com/office/drawing/2014/main" id="{03205F77-720B-001B-53B6-9B7FDF11B20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95933" y="854251"/>
            <a:ext cx="9704934" cy="5454299"/>
          </a:xfrm>
          <a:prstGeom prst="rect">
            <a:avLst/>
          </a:prstGeom>
        </p:spPr>
      </p:pic>
      <p:pic>
        <p:nvPicPr>
          <p:cNvPr id="8" name="Image 0" descr="preencoded.png">
            <a:extLst>
              <a:ext uri="{FF2B5EF4-FFF2-40B4-BE49-F238E27FC236}">
                <a16:creationId xmlns:a16="http://schemas.microsoft.com/office/drawing/2014/main" id="{4E32D88F-92E8-4B49-4571-068BA2597A4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95933" y="854251"/>
            <a:ext cx="9704934" cy="5454299"/>
          </a:xfrm>
          <a:prstGeom prst="rect">
            <a:avLst/>
          </a:prstGeom>
        </p:spPr>
      </p:pic>
      <p:pic>
        <p:nvPicPr>
          <p:cNvPr id="7" name="Image 0" descr="preencoded.png">
            <a:extLst>
              <a:ext uri="{FF2B5EF4-FFF2-40B4-BE49-F238E27FC236}">
                <a16:creationId xmlns:a16="http://schemas.microsoft.com/office/drawing/2014/main" id="{361D0A92-3364-F39F-21BE-3B5A3686FD1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95933" y="854251"/>
            <a:ext cx="9704934" cy="5454299"/>
          </a:xfrm>
          <a:prstGeom prst="rect">
            <a:avLst/>
          </a:prstGeom>
        </p:spPr>
      </p:pic>
      <p:pic>
        <p:nvPicPr>
          <p:cNvPr id="5" name="Image 0" descr="preencoded.png">
            <a:extLst>
              <a:ext uri="{FF2B5EF4-FFF2-40B4-BE49-F238E27FC236}">
                <a16:creationId xmlns:a16="http://schemas.microsoft.com/office/drawing/2014/main" id="{4C478E86-FF16-2252-E4B4-630E998BFA7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95933" y="854251"/>
            <a:ext cx="9704934" cy="5454299"/>
          </a:xfrm>
          <a:prstGeom prst="rect">
            <a:avLst/>
          </a:prstGeom>
        </p:spPr>
      </p:pic>
      <p:pic>
        <p:nvPicPr>
          <p:cNvPr id="4" name="Image 0" descr="preencoded.png">
            <a:extLst>
              <a:ext uri="{FF2B5EF4-FFF2-40B4-BE49-F238E27FC236}">
                <a16:creationId xmlns:a16="http://schemas.microsoft.com/office/drawing/2014/main" id="{257C450A-3896-EB7D-A692-17185694414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95933" y="854251"/>
            <a:ext cx="9704934" cy="5454299"/>
          </a:xfrm>
          <a:prstGeom prst="rect">
            <a:avLst/>
          </a:prstGeom>
        </p:spPr>
      </p:pic>
      <p:pic>
        <p:nvPicPr>
          <p:cNvPr id="3" name="Image 0" descr="preencoded.png">
            <a:extLst>
              <a:ext uri="{FF2B5EF4-FFF2-40B4-BE49-F238E27FC236}">
                <a16:creationId xmlns:a16="http://schemas.microsoft.com/office/drawing/2014/main" id="{4D14A430-4EC8-B3E0-B32B-70B6EB75E77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243533" y="701851"/>
            <a:ext cx="9704934" cy="5454299"/>
          </a:xfrm>
          <a:prstGeom prst="rect">
            <a:avLst/>
          </a:prstGeom>
        </p:spPr>
      </p:pic>
      <p:sp>
        <p:nvSpPr>
          <p:cNvPr id="6" name="lbl200">
            <a:extLst>
              <a:ext uri="{FF2B5EF4-FFF2-40B4-BE49-F238E27FC236}">
                <a16:creationId xmlns:a16="http://schemas.microsoft.com/office/drawing/2014/main" id="{A20089F6-9B3E-6222-E9E7-E9EEBFF65135}"/>
              </a:ext>
            </a:extLst>
          </p:cNvPr>
          <p:cNvSpPr txBox="1"/>
          <p:nvPr/>
        </p:nvSpPr>
        <p:spPr>
          <a:xfrm>
            <a:off x="698500" y="203200"/>
            <a:ext cx="3175000" cy="609600"/>
          </a:xfrm>
          <a:prstGeom prst="rect">
            <a:avLst/>
          </a:prstGeom>
          <a:noFill/>
          <a:ln>
            <a:noFill/>
          </a:ln>
        </p:spPr>
        <p:txBody>
          <a:bodyPr wrap="square" lIns="18000" tIns="9000" rIns="18000" bIns="9000" rtlCol="0" anchor="t">
            <a:noAutofit/>
          </a:bodyPr>
          <a:lstStyle/>
          <a:p>
            <a:pPr algn="ctr"/>
            <a:r>
              <a:rPr lang="en-US" sz="3400" b="1" dirty="0">
                <a:solidFill>
                  <a:srgbClr val="1E1E1E"/>
                </a:solidFill>
                <a:latin typeface="Ink Free"/>
                <a:cs typeface="Ink Free"/>
              </a:rPr>
              <a:t>Today / Before</a:t>
            </a:r>
          </a:p>
        </p:txBody>
      </p:sp>
    </p:spTree>
    <p:extLst>
      <p:ext uri="{BB962C8B-B14F-4D97-AF65-F5344CB8AC3E}">
        <p14:creationId xmlns:p14="http://schemas.microsoft.com/office/powerpoint/2010/main" val="2746692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6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4CA1A99F-01E6-62D9-D388-176E310B8AD1}"/>
              </a:ext>
            </a:extLst>
          </p:cNvPr>
          <p:cNvSpPr txBox="1"/>
          <p:nvPr/>
        </p:nvSpPr>
        <p:spPr>
          <a:xfrm>
            <a:off x="-9127020" y="2459504"/>
            <a:ext cx="5777835" cy="1938992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l"/>
            <a:r>
              <a:rPr lang="en-US" sz="4000" b="1" i="1" dirty="0">
                <a:latin typeface="Ink Free" panose="03080402000500000000" pitchFamily="66" charset="0"/>
              </a:rPr>
              <a:t>What if you could deliver protocols as a service, like NTP, DNS and/or DHCP?</a:t>
            </a:r>
          </a:p>
        </p:txBody>
      </p:sp>
    </p:spTree>
    <p:extLst>
      <p:ext uri="{BB962C8B-B14F-4D97-AF65-F5344CB8AC3E}">
        <p14:creationId xmlns:p14="http://schemas.microsoft.com/office/powerpoint/2010/main" val="290964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26055 0 L 1.01159 0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755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lbl200"/>
          <p:cNvSpPr txBox="1"/>
          <p:nvPr/>
        </p:nvSpPr>
        <p:spPr>
          <a:xfrm>
            <a:off x="698500" y="203200"/>
            <a:ext cx="3175000" cy="609600"/>
          </a:xfrm>
          <a:prstGeom prst="rect">
            <a:avLst/>
          </a:prstGeom>
          <a:noFill/>
          <a:ln>
            <a:noFill/>
          </a:ln>
        </p:spPr>
        <p:txBody>
          <a:bodyPr wrap="square" lIns="18000" tIns="9000" rIns="18000" bIns="9000" rtlCol="0" anchor="t">
            <a:noAutofit/>
          </a:bodyPr>
          <a:lstStyle/>
          <a:p>
            <a:pPr algn="ctr"/>
            <a:r>
              <a:rPr lang="en-US" sz="3400" b="1" dirty="0">
                <a:solidFill>
                  <a:srgbClr val="1E1E1E"/>
                </a:solidFill>
                <a:latin typeface="Ink Free"/>
                <a:cs typeface="Ink Free"/>
              </a:rPr>
              <a:t>After</a:t>
            </a:r>
          </a:p>
        </p:txBody>
      </p:sp>
      <p:sp>
        <p:nvSpPr>
          <p:cNvPr id="201" name="lbl201"/>
          <p:cNvSpPr txBox="1"/>
          <p:nvPr/>
        </p:nvSpPr>
        <p:spPr>
          <a:xfrm>
            <a:off x="4451350" y="457868"/>
            <a:ext cx="3048000" cy="330200"/>
          </a:xfrm>
          <a:prstGeom prst="rect">
            <a:avLst/>
          </a:prstGeom>
          <a:noFill/>
          <a:ln>
            <a:noFill/>
          </a:ln>
        </p:spPr>
        <p:txBody>
          <a:bodyPr wrap="square" lIns="18000" tIns="9000" rIns="18000" bIns="9000" rtlCol="0" anchor="ctr">
            <a:noAutofit/>
          </a:bodyPr>
          <a:lstStyle/>
          <a:p>
            <a:pPr algn="ctr"/>
            <a:r>
              <a:rPr lang="en-US" sz="1700" b="1" dirty="0">
                <a:solidFill>
                  <a:srgbClr val="1E1E1E"/>
                </a:solidFill>
                <a:latin typeface="Ink Free"/>
                <a:cs typeface="Ink Free"/>
              </a:rPr>
              <a:t>Infoblox Portal</a:t>
            </a:r>
          </a:p>
        </p:txBody>
      </p:sp>
      <p:sp>
        <p:nvSpPr>
          <p:cNvPr id="202" name="sk202"/>
          <p:cNvSpPr/>
          <p:nvPr/>
        </p:nvSpPr>
        <p:spPr>
          <a:xfrm>
            <a:off x="5568950" y="864268"/>
            <a:ext cx="812800" cy="635000"/>
          </a:xfrm>
          <a:custGeom>
            <a:avLst/>
            <a:gdLst/>
            <a:ahLst/>
            <a:cxnLst/>
            <a:rect l="0" t="0" r="812800" b="635000"/>
            <a:pathLst>
              <a:path w="812800" h="635000">
                <a:moveTo>
                  <a:pt x="4907" y="9247"/>
                </a:moveTo>
                <a:lnTo>
                  <a:pt x="420696" y="0"/>
                </a:lnTo>
                <a:lnTo>
                  <a:pt x="798916" y="0"/>
                </a:lnTo>
                <a:lnTo>
                  <a:pt x="806541" y="309178"/>
                </a:lnTo>
                <a:lnTo>
                  <a:pt x="804039" y="635000"/>
                </a:lnTo>
                <a:lnTo>
                  <a:pt x="421168" y="635000"/>
                </a:lnTo>
                <a:lnTo>
                  <a:pt x="6758" y="635000"/>
                </a:lnTo>
                <a:lnTo>
                  <a:pt x="1927" y="330958"/>
                </a:lnTo>
                <a:close/>
              </a:path>
            </a:pathLst>
          </a:custGeom>
          <a:solidFill>
            <a:srgbClr val="FFFFFF"/>
          </a:solidFill>
          <a:ln w="25400" cap="rnd">
            <a:solidFill>
              <a:srgbClr val="2F9E44"/>
            </a:solidFill>
            <a:round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5" name="sk205"/>
          <p:cNvSpPr/>
          <p:nvPr/>
        </p:nvSpPr>
        <p:spPr>
          <a:xfrm>
            <a:off x="1905000" y="1625600"/>
            <a:ext cx="8382000" cy="4724400"/>
          </a:xfrm>
          <a:custGeom>
            <a:avLst/>
            <a:gdLst/>
            <a:ahLst/>
            <a:cxnLst/>
            <a:rect l="0" t="0" r="8382000" b="4724400"/>
            <a:pathLst>
              <a:path w="8382000" h="4724400">
                <a:moveTo>
                  <a:pt x="8996" y="2861"/>
                </a:moveTo>
                <a:lnTo>
                  <a:pt x="4186194" y="0"/>
                </a:lnTo>
                <a:lnTo>
                  <a:pt x="8377794" y="23136"/>
                </a:lnTo>
                <a:lnTo>
                  <a:pt x="8382000" y="2387352"/>
                </a:lnTo>
                <a:lnTo>
                  <a:pt x="8357748" y="4724400"/>
                </a:lnTo>
                <a:lnTo>
                  <a:pt x="4195903" y="4698692"/>
                </a:lnTo>
                <a:lnTo>
                  <a:pt x="25688" y="4724400"/>
                </a:lnTo>
                <a:lnTo>
                  <a:pt x="0" y="2346083"/>
                </a:lnTo>
                <a:close/>
              </a:path>
            </a:pathLst>
          </a:custGeom>
          <a:noFill/>
          <a:ln w="34925" cap="rnd">
            <a:solidFill>
              <a:srgbClr val="2F9E44"/>
            </a:solidFill>
            <a:round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6" name="ar206"/>
          <p:cNvSpPr/>
          <p:nvPr/>
        </p:nvSpPr>
        <p:spPr>
          <a:xfrm>
            <a:off x="4451350" y="1140326"/>
            <a:ext cx="969211" cy="355600"/>
          </a:xfrm>
          <a:custGeom>
            <a:avLst/>
            <a:gdLst>
              <a:gd name="csX0" fmla="*/ 969210 w 969211"/>
              <a:gd name="csY0" fmla="*/ 0 h 355600"/>
              <a:gd name="csX1" fmla="*/ 466012 w 969211"/>
              <a:gd name="csY1" fmla="*/ 181700 h 355600"/>
              <a:gd name="csX2" fmla="*/ 0 w 969211"/>
              <a:gd name="csY2" fmla="*/ 355600 h 3556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969211" h="355600" fill="none" extrusionOk="0">
                <a:moveTo>
                  <a:pt x="969210" y="0"/>
                </a:moveTo>
                <a:cubicBezTo>
                  <a:pt x="806906" y="63795"/>
                  <a:pt x="663687" y="43170"/>
                  <a:pt x="466012" y="181700"/>
                </a:cubicBezTo>
                <a:cubicBezTo>
                  <a:pt x="381878" y="267040"/>
                  <a:pt x="105378" y="298697"/>
                  <a:pt x="0" y="355600"/>
                </a:cubicBezTo>
              </a:path>
            </a:pathLst>
          </a:custGeom>
          <a:noFill/>
          <a:ln w="22225" cap="rnd">
            <a:solidFill>
              <a:schemeClr val="accent1"/>
            </a:solidFill>
            <a:round/>
            <a:headEnd type="triangle" w="med" len="med"/>
            <a:tailEnd type="triangle" w="med" len="med"/>
            <a:extLst>
              <a:ext uri="{C807C97D-BFC1-408E-A445-0C87EB9F89A2}">
                <ask:lineSketchStyleProps xmlns:ask="http://schemas.microsoft.com/office/drawing/2018/sketchyshapes" sd="3394960421">
                  <a:custGeom>
                    <a:avLst/>
                    <a:gdLst/>
                    <a:ahLst/>
                    <a:cxnLst/>
                    <a:rect l="0" t="0" r="482600" b="355600"/>
                    <a:pathLst>
                      <a:path w="482600" h="355600" fill="none">
                        <a:moveTo>
                          <a:pt x="482600" y="0"/>
                        </a:moveTo>
                        <a:lnTo>
                          <a:pt x="232042" y="181700"/>
                        </a:lnTo>
                        <a:lnTo>
                          <a:pt x="0" y="355600"/>
                        </a:lnTo>
                      </a:path>
                    </a:pathLst>
                  </a:custGeom>
                  <ask:type>
                    <ask:lineSketchScribble/>
                  </ask:type>
                </ask:lineSketchStyleProps>
              </a:ext>
            </a:extLst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7" name="ar207"/>
          <p:cNvSpPr/>
          <p:nvPr/>
        </p:nvSpPr>
        <p:spPr>
          <a:xfrm>
            <a:off x="6513762" y="1140326"/>
            <a:ext cx="1030037" cy="345574"/>
          </a:xfrm>
          <a:custGeom>
            <a:avLst/>
            <a:gdLst>
              <a:gd name="csX0" fmla="*/ 0 w 1030037"/>
              <a:gd name="csY0" fmla="*/ 0 h 345574"/>
              <a:gd name="csX1" fmla="*/ 547328 w 1030037"/>
              <a:gd name="csY1" fmla="*/ 186745 h 345574"/>
              <a:gd name="csX2" fmla="*/ 1030037 w 1030037"/>
              <a:gd name="csY2" fmla="*/ 345574 h 34557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030037" h="345574" fill="none" extrusionOk="0">
                <a:moveTo>
                  <a:pt x="0" y="0"/>
                </a:moveTo>
                <a:cubicBezTo>
                  <a:pt x="273021" y="37443"/>
                  <a:pt x="430242" y="159246"/>
                  <a:pt x="547328" y="186745"/>
                </a:cubicBezTo>
                <a:cubicBezTo>
                  <a:pt x="784997" y="259714"/>
                  <a:pt x="915009" y="363163"/>
                  <a:pt x="1030037" y="345574"/>
                </a:cubicBezTo>
              </a:path>
            </a:pathLst>
          </a:custGeom>
          <a:noFill/>
          <a:ln w="22225" cap="rnd">
            <a:solidFill>
              <a:schemeClr val="accent1"/>
            </a:solidFill>
            <a:round/>
            <a:headEnd type="triangle" w="med" len="med"/>
            <a:tailEnd type="triangle" w="med" len="med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/>
                    <a:ahLst/>
                    <a:cxnLst/>
                    <a:rect l="0" t="0" r="482600" b="355600"/>
                    <a:pathLst>
                      <a:path w="482600" h="355600" fill="none">
                        <a:moveTo>
                          <a:pt x="0" y="0"/>
                        </a:moveTo>
                        <a:lnTo>
                          <a:pt x="256438" y="192163"/>
                        </a:lnTo>
                        <a:lnTo>
                          <a:pt x="482600" y="355600"/>
                        </a:lnTo>
                      </a:path>
                    </a:pathLst>
                  </a:custGeom>
                  <ask:type>
                    <ask:lineSketchScribble/>
                  </ask:type>
                </ask:lineSketchStyleProps>
              </a:ext>
            </a:extLst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9" name="sk209"/>
          <p:cNvSpPr/>
          <p:nvPr/>
        </p:nvSpPr>
        <p:spPr>
          <a:xfrm>
            <a:off x="2286000" y="2681707"/>
            <a:ext cx="863600" cy="939800"/>
          </a:xfrm>
          <a:custGeom>
            <a:avLst/>
            <a:gdLst/>
            <a:ahLst/>
            <a:cxnLst/>
            <a:rect l="0" t="0" r="863600" b="939800"/>
            <a:pathLst>
              <a:path w="863600" h="939800">
                <a:moveTo>
                  <a:pt x="13786" y="8472"/>
                </a:moveTo>
                <a:lnTo>
                  <a:pt x="428249" y="0"/>
                </a:lnTo>
                <a:lnTo>
                  <a:pt x="849813" y="0"/>
                </a:lnTo>
                <a:lnTo>
                  <a:pt x="863600" y="475613"/>
                </a:lnTo>
                <a:lnTo>
                  <a:pt x="863600" y="939800"/>
                </a:lnTo>
                <a:lnTo>
                  <a:pt x="447629" y="939800"/>
                </a:lnTo>
                <a:lnTo>
                  <a:pt x="0" y="928294"/>
                </a:lnTo>
                <a:lnTo>
                  <a:pt x="0" y="452964"/>
                </a:lnTo>
                <a:close/>
              </a:path>
            </a:pathLst>
          </a:custGeom>
          <a:solidFill>
            <a:srgbClr val="B2F2BB"/>
          </a:solidFill>
          <a:ln w="25400" cap="rnd">
            <a:solidFill>
              <a:srgbClr val="2F9E44"/>
            </a:solidFill>
            <a:round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0" name="sk210"/>
          <p:cNvSpPr/>
          <p:nvPr/>
        </p:nvSpPr>
        <p:spPr>
          <a:xfrm>
            <a:off x="2514600" y="2910307"/>
            <a:ext cx="406400" cy="431800"/>
          </a:xfrm>
          <a:prstGeom prst="diamond">
            <a:avLst/>
          </a:prstGeom>
          <a:solidFill>
            <a:srgbClr val="2F9E44"/>
          </a:solidFill>
          <a:ln w="19050" cap="rnd">
            <a:solidFill>
              <a:srgbClr val="2F9E44"/>
            </a:solidFill>
            <a:round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1" name="lbl211"/>
          <p:cNvSpPr txBox="1"/>
          <p:nvPr/>
        </p:nvSpPr>
        <p:spPr>
          <a:xfrm>
            <a:off x="2032000" y="3697707"/>
            <a:ext cx="1371600" cy="558800"/>
          </a:xfrm>
          <a:prstGeom prst="rect">
            <a:avLst/>
          </a:prstGeom>
          <a:noFill/>
          <a:ln>
            <a:noFill/>
          </a:ln>
        </p:spPr>
        <p:txBody>
          <a:bodyPr wrap="square" lIns="18000" tIns="9000" rIns="18000" bIns="9000" rtlCol="0" anchor="t">
            <a:noAutofit/>
          </a:bodyPr>
          <a:lstStyle/>
          <a:p>
            <a:pPr algn="ctr"/>
            <a:r>
              <a:rPr lang="en-US" sz="1400" b="1" dirty="0">
                <a:solidFill>
                  <a:srgbClr val="1E1E1E"/>
                </a:solidFill>
                <a:latin typeface="Ink Free"/>
                <a:cs typeface="Ink Free"/>
              </a:rPr>
              <a:t>Infoblox</a:t>
            </a:r>
          </a:p>
          <a:p>
            <a:pPr algn="ctr"/>
            <a:r>
              <a:rPr lang="en-US" sz="1400" b="1" dirty="0">
                <a:solidFill>
                  <a:srgbClr val="1E1E1E"/>
                </a:solidFill>
                <a:latin typeface="Ink Free"/>
                <a:cs typeface="Ink Free"/>
              </a:rPr>
              <a:t>Security</a:t>
            </a:r>
          </a:p>
        </p:txBody>
      </p:sp>
      <p:sp>
        <p:nvSpPr>
          <p:cNvPr id="212" name="sk212"/>
          <p:cNvSpPr/>
          <p:nvPr/>
        </p:nvSpPr>
        <p:spPr>
          <a:xfrm>
            <a:off x="3683000" y="2349500"/>
            <a:ext cx="4445000" cy="2413000"/>
          </a:xfrm>
          <a:custGeom>
            <a:avLst/>
            <a:gdLst/>
            <a:ahLst/>
            <a:cxnLst/>
            <a:rect l="0" t="0" r="4445000" b="2413000"/>
            <a:pathLst>
              <a:path w="4445000" h="2413000">
                <a:moveTo>
                  <a:pt x="24652" y="18303"/>
                </a:moveTo>
                <a:lnTo>
                  <a:pt x="2218774" y="2287"/>
                </a:lnTo>
                <a:lnTo>
                  <a:pt x="4445000" y="0"/>
                </a:lnTo>
                <a:lnTo>
                  <a:pt x="4421071" y="1228937"/>
                </a:lnTo>
                <a:lnTo>
                  <a:pt x="4439286" y="2394961"/>
                </a:lnTo>
                <a:lnTo>
                  <a:pt x="2238968" y="2399959"/>
                </a:lnTo>
                <a:lnTo>
                  <a:pt x="0" y="2389370"/>
                </a:lnTo>
                <a:lnTo>
                  <a:pt x="2001" y="1212022"/>
                </a:lnTo>
                <a:close/>
              </a:path>
            </a:pathLst>
          </a:custGeom>
          <a:solidFill>
            <a:srgbClr val="F1F3F5"/>
          </a:solidFill>
          <a:ln w="25400" cap="rnd">
            <a:solidFill>
              <a:srgbClr val="1E1E1E"/>
            </a:solidFill>
            <a:round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3" name="lbl213"/>
          <p:cNvSpPr txBox="1"/>
          <p:nvPr/>
        </p:nvSpPr>
        <p:spPr>
          <a:xfrm>
            <a:off x="3784600" y="2413000"/>
            <a:ext cx="4241800" cy="482600"/>
          </a:xfrm>
          <a:prstGeom prst="rect">
            <a:avLst/>
          </a:prstGeom>
          <a:noFill/>
          <a:ln>
            <a:noFill/>
          </a:ln>
        </p:spPr>
        <p:txBody>
          <a:bodyPr wrap="square" lIns="18000" tIns="9000" rIns="18000" bIns="9000" rtlCol="0" anchor="ctr">
            <a:noAutofit/>
          </a:bodyPr>
          <a:lstStyle/>
          <a:p>
            <a:pPr algn="ctr"/>
            <a:r>
              <a:rPr lang="en-US" sz="1400" b="1" dirty="0">
                <a:solidFill>
                  <a:srgbClr val="1E1E1E"/>
                </a:solidFill>
                <a:latin typeface="Ink Free"/>
                <a:cs typeface="Ink Free"/>
              </a:rPr>
              <a:t>Other Cloud Providers and SD-WAN/SASE Vendors</a:t>
            </a:r>
          </a:p>
        </p:txBody>
      </p:sp>
      <p:sp>
        <p:nvSpPr>
          <p:cNvPr id="214" name="sk214"/>
          <p:cNvSpPr/>
          <p:nvPr/>
        </p:nvSpPr>
        <p:spPr>
          <a:xfrm>
            <a:off x="3835400" y="2997200"/>
            <a:ext cx="1320800" cy="635000"/>
          </a:xfrm>
          <a:custGeom>
            <a:avLst/>
            <a:gdLst/>
            <a:ahLst/>
            <a:cxnLst/>
            <a:rect l="0" t="0" r="1320800" b="635000"/>
            <a:pathLst>
              <a:path w="1320800" h="635000">
                <a:moveTo>
                  <a:pt x="7731" y="7479"/>
                </a:moveTo>
                <a:lnTo>
                  <a:pt x="647066" y="0"/>
                </a:lnTo>
                <a:lnTo>
                  <a:pt x="1320800" y="6246"/>
                </a:lnTo>
                <a:lnTo>
                  <a:pt x="1320800" y="303314"/>
                </a:lnTo>
                <a:lnTo>
                  <a:pt x="1320800" y="622790"/>
                </a:lnTo>
                <a:lnTo>
                  <a:pt x="662951" y="623297"/>
                </a:lnTo>
                <a:lnTo>
                  <a:pt x="5717" y="619346"/>
                </a:lnTo>
                <a:lnTo>
                  <a:pt x="5791" y="307341"/>
                </a:lnTo>
                <a:close/>
              </a:path>
            </a:pathLst>
          </a:custGeom>
          <a:solidFill>
            <a:srgbClr val="FFFFFF"/>
          </a:solidFill>
          <a:ln w="19050" cap="rnd">
            <a:solidFill>
              <a:srgbClr val="1E1E1E"/>
            </a:solidFill>
            <a:round/>
          </a:ln>
        </p:spPr>
        <p:txBody>
          <a:bodyPr wrap="square" lIns="18000" tIns="9000" rIns="18000" bIns="9000" rtlCol="0" anchor="ctr">
            <a:noAutofit/>
          </a:bodyPr>
          <a:lstStyle/>
          <a:p>
            <a:pPr algn="ctr"/>
            <a:r>
              <a:rPr lang="en-US" sz="1400" b="0" dirty="0">
                <a:solidFill>
                  <a:srgbClr val="1E1E1E"/>
                </a:solidFill>
                <a:latin typeface="Ink Free"/>
                <a:cs typeface="Ink Free"/>
              </a:rPr>
              <a:t>SD-WAN/SASE</a:t>
            </a:r>
          </a:p>
          <a:p>
            <a:pPr algn="ctr"/>
            <a:r>
              <a:rPr lang="en-US" sz="1400" b="0" dirty="0">
                <a:solidFill>
                  <a:srgbClr val="1E1E1E"/>
                </a:solidFill>
                <a:latin typeface="Ink Free"/>
                <a:cs typeface="Ink Free"/>
              </a:rPr>
              <a:t>Vendor A</a:t>
            </a:r>
          </a:p>
        </p:txBody>
      </p:sp>
      <p:sp>
        <p:nvSpPr>
          <p:cNvPr id="215" name="sk215"/>
          <p:cNvSpPr/>
          <p:nvPr/>
        </p:nvSpPr>
        <p:spPr>
          <a:xfrm>
            <a:off x="5232400" y="2997200"/>
            <a:ext cx="1320800" cy="635000"/>
          </a:xfrm>
          <a:custGeom>
            <a:avLst/>
            <a:gdLst/>
            <a:ahLst/>
            <a:cxnLst/>
            <a:rect l="0" t="0" r="1320800" b="635000"/>
            <a:pathLst>
              <a:path w="1320800" h="635000">
                <a:moveTo>
                  <a:pt x="2429" y="0"/>
                </a:moveTo>
                <a:lnTo>
                  <a:pt x="671463" y="0"/>
                </a:lnTo>
                <a:lnTo>
                  <a:pt x="1320800" y="0"/>
                </a:lnTo>
                <a:lnTo>
                  <a:pt x="1320800" y="311923"/>
                </a:lnTo>
                <a:lnTo>
                  <a:pt x="1320800" y="635000"/>
                </a:lnTo>
                <a:lnTo>
                  <a:pt x="652891" y="627717"/>
                </a:lnTo>
                <a:lnTo>
                  <a:pt x="0" y="631329"/>
                </a:lnTo>
                <a:lnTo>
                  <a:pt x="11842" y="306659"/>
                </a:lnTo>
                <a:close/>
              </a:path>
            </a:pathLst>
          </a:custGeom>
          <a:solidFill>
            <a:srgbClr val="FFFFFF"/>
          </a:solidFill>
          <a:ln w="19050" cap="rnd">
            <a:solidFill>
              <a:srgbClr val="1E1E1E"/>
            </a:solidFill>
            <a:round/>
          </a:ln>
        </p:spPr>
        <p:txBody>
          <a:bodyPr wrap="square" lIns="18000" tIns="9000" rIns="18000" bIns="9000" rtlCol="0" anchor="ctr">
            <a:noAutofit/>
          </a:bodyPr>
          <a:lstStyle/>
          <a:p>
            <a:pPr algn="ctr"/>
            <a:r>
              <a:rPr lang="en-US" sz="1400" b="0" dirty="0">
                <a:solidFill>
                  <a:srgbClr val="1E1E1E"/>
                </a:solidFill>
                <a:latin typeface="Ink Free"/>
                <a:cs typeface="Ink Free"/>
              </a:rPr>
              <a:t>SD-WAN/SASE</a:t>
            </a:r>
          </a:p>
          <a:p>
            <a:pPr algn="ctr"/>
            <a:r>
              <a:rPr lang="en-US" sz="1400" b="0" dirty="0">
                <a:solidFill>
                  <a:srgbClr val="1E1E1E"/>
                </a:solidFill>
                <a:latin typeface="Ink Free"/>
                <a:cs typeface="Ink Free"/>
              </a:rPr>
              <a:t>Vendor B</a:t>
            </a:r>
          </a:p>
        </p:txBody>
      </p:sp>
      <p:sp>
        <p:nvSpPr>
          <p:cNvPr id="216" name="sk216"/>
          <p:cNvSpPr/>
          <p:nvPr/>
        </p:nvSpPr>
        <p:spPr>
          <a:xfrm>
            <a:off x="6629400" y="2997200"/>
            <a:ext cx="1320800" cy="635000"/>
          </a:xfrm>
          <a:custGeom>
            <a:avLst/>
            <a:gdLst/>
            <a:ahLst/>
            <a:cxnLst/>
            <a:rect l="0" t="0" r="1320800" b="635000"/>
            <a:pathLst>
              <a:path w="1320800" h="635000">
                <a:moveTo>
                  <a:pt x="0" y="0"/>
                </a:moveTo>
                <a:lnTo>
                  <a:pt x="671979" y="12532"/>
                </a:lnTo>
                <a:lnTo>
                  <a:pt x="1320800" y="0"/>
                </a:lnTo>
                <a:lnTo>
                  <a:pt x="1320375" y="310480"/>
                </a:lnTo>
                <a:lnTo>
                  <a:pt x="1316725" y="627858"/>
                </a:lnTo>
                <a:lnTo>
                  <a:pt x="663194" y="635000"/>
                </a:lnTo>
                <a:lnTo>
                  <a:pt x="3757" y="635000"/>
                </a:lnTo>
                <a:lnTo>
                  <a:pt x="0" y="301374"/>
                </a:lnTo>
                <a:close/>
              </a:path>
            </a:pathLst>
          </a:custGeom>
          <a:solidFill>
            <a:srgbClr val="FFFFFF"/>
          </a:solidFill>
          <a:ln w="19050" cap="rnd">
            <a:solidFill>
              <a:srgbClr val="1E1E1E"/>
            </a:solidFill>
            <a:round/>
          </a:ln>
        </p:spPr>
        <p:txBody>
          <a:bodyPr wrap="square" lIns="18000" tIns="9000" rIns="18000" bIns="9000" rtlCol="0" anchor="ctr">
            <a:noAutofit/>
          </a:bodyPr>
          <a:lstStyle/>
          <a:p>
            <a:pPr algn="ctr"/>
            <a:r>
              <a:rPr lang="en-US" sz="1400" b="0" dirty="0">
                <a:solidFill>
                  <a:srgbClr val="1E1E1E"/>
                </a:solidFill>
                <a:latin typeface="Ink Free"/>
                <a:cs typeface="Ink Free"/>
              </a:rPr>
              <a:t>SD-WAN/SASE</a:t>
            </a:r>
          </a:p>
          <a:p>
            <a:pPr algn="ctr"/>
            <a:r>
              <a:rPr lang="en-US" sz="1400" b="0" dirty="0">
                <a:solidFill>
                  <a:srgbClr val="1E1E1E"/>
                </a:solidFill>
                <a:latin typeface="Ink Free"/>
                <a:cs typeface="Ink Free"/>
              </a:rPr>
              <a:t>Vendor X</a:t>
            </a:r>
          </a:p>
        </p:txBody>
      </p:sp>
      <p:sp>
        <p:nvSpPr>
          <p:cNvPr id="217" name="sk217"/>
          <p:cNvSpPr/>
          <p:nvPr/>
        </p:nvSpPr>
        <p:spPr>
          <a:xfrm>
            <a:off x="3911600" y="3810000"/>
            <a:ext cx="660400" cy="406400"/>
          </a:xfrm>
          <a:prstGeom prst="cloud">
            <a:avLst/>
          </a:prstGeom>
          <a:solidFill>
            <a:srgbClr val="B2F2BB"/>
          </a:solidFill>
          <a:ln w="19050" cap="rnd">
            <a:solidFill>
              <a:srgbClr val="2F9E44"/>
            </a:solidFill>
            <a:round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8" name="lbl218"/>
          <p:cNvSpPr txBox="1"/>
          <p:nvPr/>
        </p:nvSpPr>
        <p:spPr>
          <a:xfrm>
            <a:off x="3581400" y="4229100"/>
            <a:ext cx="1346200" cy="482600"/>
          </a:xfrm>
          <a:prstGeom prst="rect">
            <a:avLst/>
          </a:prstGeom>
          <a:noFill/>
          <a:ln>
            <a:noFill/>
          </a:ln>
        </p:spPr>
        <p:txBody>
          <a:bodyPr wrap="square" lIns="18000" tIns="9000" rIns="18000" bIns="9000" rtlCol="0" anchor="t">
            <a:noAutofit/>
          </a:bodyPr>
          <a:lstStyle/>
          <a:p>
            <a:pPr algn="ctr"/>
            <a:r>
              <a:rPr lang="en-US" sz="1400" b="0" dirty="0">
                <a:solidFill>
                  <a:srgbClr val="1E1E1E"/>
                </a:solidFill>
                <a:latin typeface="Ink Free"/>
                <a:cs typeface="Ink Free"/>
              </a:rPr>
              <a:t>NIOS-X</a:t>
            </a:r>
          </a:p>
          <a:p>
            <a:pPr algn="ctr"/>
            <a:r>
              <a:rPr lang="en-US" sz="1400" b="0" dirty="0">
                <a:solidFill>
                  <a:srgbClr val="1E1E1E"/>
                </a:solidFill>
                <a:latin typeface="Ink Free"/>
                <a:cs typeface="Ink Free"/>
              </a:rPr>
              <a:t>as a Service</a:t>
            </a:r>
          </a:p>
        </p:txBody>
      </p:sp>
      <p:sp>
        <p:nvSpPr>
          <p:cNvPr id="219" name="sk219"/>
          <p:cNvSpPr/>
          <p:nvPr/>
        </p:nvSpPr>
        <p:spPr>
          <a:xfrm>
            <a:off x="5486400" y="3810000"/>
            <a:ext cx="736600" cy="431800"/>
          </a:xfrm>
          <a:prstGeom prst="cloud">
            <a:avLst/>
          </a:prstGeom>
          <a:solidFill>
            <a:srgbClr val="FFFFFF"/>
          </a:solidFill>
          <a:ln w="19050" cap="rnd">
            <a:solidFill>
              <a:srgbClr val="1E1E1E"/>
            </a:solidFill>
            <a:round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0" name="sk220"/>
          <p:cNvSpPr/>
          <p:nvPr/>
        </p:nvSpPr>
        <p:spPr>
          <a:xfrm>
            <a:off x="6883400" y="3810000"/>
            <a:ext cx="660400" cy="406400"/>
          </a:xfrm>
          <a:prstGeom prst="cloud">
            <a:avLst/>
          </a:prstGeom>
          <a:solidFill>
            <a:srgbClr val="FFFFFF"/>
          </a:solidFill>
          <a:ln w="19050" cap="rnd">
            <a:solidFill>
              <a:srgbClr val="1E1E1E"/>
            </a:solidFill>
            <a:round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1" name="lbl221"/>
          <p:cNvSpPr txBox="1"/>
          <p:nvPr/>
        </p:nvSpPr>
        <p:spPr>
          <a:xfrm>
            <a:off x="6604000" y="4229100"/>
            <a:ext cx="1219200" cy="482600"/>
          </a:xfrm>
          <a:prstGeom prst="rect">
            <a:avLst/>
          </a:prstGeom>
          <a:noFill/>
          <a:ln>
            <a:noFill/>
          </a:ln>
        </p:spPr>
        <p:txBody>
          <a:bodyPr wrap="square" lIns="18000" tIns="9000" rIns="18000" bIns="9000" rtlCol="0" anchor="t">
            <a:noAutofit/>
          </a:bodyPr>
          <a:lstStyle/>
          <a:p>
            <a:pPr algn="ctr"/>
            <a:r>
              <a:rPr lang="en-US" sz="1400" b="0" dirty="0">
                <a:solidFill>
                  <a:srgbClr val="1E1E1E"/>
                </a:solidFill>
                <a:latin typeface="Ink Free"/>
                <a:cs typeface="Ink Free"/>
              </a:rPr>
              <a:t>Google's</a:t>
            </a:r>
          </a:p>
          <a:p>
            <a:pPr algn="ctr"/>
            <a:r>
              <a:rPr lang="en-US" sz="1400" b="0" dirty="0">
                <a:solidFill>
                  <a:srgbClr val="1E1E1E"/>
                </a:solidFill>
                <a:latin typeface="Ink Free"/>
                <a:cs typeface="Ink Free"/>
              </a:rPr>
              <a:t>Cloud WAN</a:t>
            </a:r>
          </a:p>
        </p:txBody>
      </p:sp>
      <p:sp>
        <p:nvSpPr>
          <p:cNvPr id="222" name="sk222"/>
          <p:cNvSpPr/>
          <p:nvPr/>
        </p:nvSpPr>
        <p:spPr>
          <a:xfrm>
            <a:off x="8763000" y="2540000"/>
            <a:ext cx="889000" cy="558800"/>
          </a:xfrm>
          <a:prstGeom prst="cloud">
            <a:avLst/>
          </a:prstGeom>
          <a:solidFill>
            <a:srgbClr val="FFFFFF"/>
          </a:solidFill>
          <a:ln w="22225" cap="rnd">
            <a:solidFill>
              <a:srgbClr val="1E1E1E"/>
            </a:solidFill>
            <a:round/>
          </a:ln>
        </p:spPr>
        <p:txBody>
          <a:bodyPr wrap="square" lIns="18000" tIns="9000" rIns="18000" bIns="9000" rtlCol="0" anchor="ctr">
            <a:noAutofit/>
          </a:bodyPr>
          <a:lstStyle/>
          <a:p>
            <a:pPr algn="ctr"/>
            <a:r>
              <a:rPr lang="en-US" sz="1400" b="0" dirty="0">
                <a:solidFill>
                  <a:srgbClr val="1E1E1E"/>
                </a:solidFill>
                <a:latin typeface="Ink Free"/>
                <a:cs typeface="Ink Free"/>
              </a:rPr>
              <a:t>AWS</a:t>
            </a:r>
          </a:p>
        </p:txBody>
      </p:sp>
      <p:sp>
        <p:nvSpPr>
          <p:cNvPr id="223" name="ar223"/>
          <p:cNvSpPr/>
          <p:nvPr/>
        </p:nvSpPr>
        <p:spPr>
          <a:xfrm>
            <a:off x="8153400" y="2819400"/>
            <a:ext cx="584200" cy="6350"/>
          </a:xfrm>
          <a:custGeom>
            <a:avLst/>
            <a:gdLst/>
            <a:ahLst/>
            <a:cxnLst/>
            <a:rect l="0" t="0" r="584200" b="6350"/>
            <a:pathLst>
              <a:path w="584200" h="6350" fill="none">
                <a:moveTo>
                  <a:pt x="0" y="0"/>
                </a:moveTo>
                <a:lnTo>
                  <a:pt x="283866" y="0"/>
                </a:lnTo>
                <a:lnTo>
                  <a:pt x="584200" y="6350"/>
                </a:lnTo>
              </a:path>
            </a:pathLst>
          </a:custGeom>
          <a:noFill/>
          <a:ln w="22225" cap="rnd">
            <a:solidFill>
              <a:srgbClr val="1E1E1E"/>
            </a:solidFill>
            <a:round/>
            <a:headEnd type="triangle" w="med" len="med"/>
            <a:tailEnd type="triangle" w="med" len="med"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4" name="sk224"/>
          <p:cNvSpPr/>
          <p:nvPr/>
        </p:nvSpPr>
        <p:spPr>
          <a:xfrm>
            <a:off x="8763000" y="3403600"/>
            <a:ext cx="889000" cy="558800"/>
          </a:xfrm>
          <a:prstGeom prst="cloud">
            <a:avLst/>
          </a:prstGeom>
          <a:solidFill>
            <a:srgbClr val="FFFFFF"/>
          </a:solidFill>
          <a:ln w="22225" cap="rnd">
            <a:solidFill>
              <a:srgbClr val="1E1E1E"/>
            </a:solidFill>
            <a:round/>
          </a:ln>
        </p:spPr>
        <p:txBody>
          <a:bodyPr wrap="square" lIns="18000" tIns="9000" rIns="18000" bIns="9000" rtlCol="0" anchor="ctr">
            <a:noAutofit/>
          </a:bodyPr>
          <a:lstStyle/>
          <a:p>
            <a:pPr algn="ctr"/>
            <a:r>
              <a:rPr lang="en-US" sz="1400" b="0" dirty="0">
                <a:solidFill>
                  <a:srgbClr val="1E1E1E"/>
                </a:solidFill>
                <a:latin typeface="Ink Free"/>
                <a:cs typeface="Ink Free"/>
              </a:rPr>
              <a:t>Azure</a:t>
            </a:r>
          </a:p>
        </p:txBody>
      </p:sp>
      <p:sp>
        <p:nvSpPr>
          <p:cNvPr id="225" name="ar225"/>
          <p:cNvSpPr/>
          <p:nvPr/>
        </p:nvSpPr>
        <p:spPr>
          <a:xfrm>
            <a:off x="8153400" y="3683000"/>
            <a:ext cx="584200" cy="6350"/>
          </a:xfrm>
          <a:custGeom>
            <a:avLst/>
            <a:gdLst/>
            <a:ahLst/>
            <a:cxnLst/>
            <a:rect l="0" t="0" r="584200" b="6350"/>
            <a:pathLst>
              <a:path w="584200" h="6350" fill="none">
                <a:moveTo>
                  <a:pt x="0" y="0"/>
                </a:moveTo>
                <a:lnTo>
                  <a:pt x="276715" y="0"/>
                </a:lnTo>
                <a:lnTo>
                  <a:pt x="584200" y="6350"/>
                </a:lnTo>
              </a:path>
            </a:pathLst>
          </a:custGeom>
          <a:noFill/>
          <a:ln w="22225" cap="rnd">
            <a:solidFill>
              <a:srgbClr val="1E1E1E"/>
            </a:solidFill>
            <a:round/>
            <a:headEnd type="triangle" w="med" len="med"/>
            <a:tailEnd type="triangle" w="med" len="med"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6" name="sk226"/>
          <p:cNvSpPr/>
          <p:nvPr/>
        </p:nvSpPr>
        <p:spPr>
          <a:xfrm>
            <a:off x="8763000" y="4267200"/>
            <a:ext cx="889000" cy="558800"/>
          </a:xfrm>
          <a:prstGeom prst="cloud">
            <a:avLst/>
          </a:prstGeom>
          <a:solidFill>
            <a:srgbClr val="FFFFFF"/>
          </a:solidFill>
          <a:ln w="22225" cap="rnd">
            <a:solidFill>
              <a:srgbClr val="1E1E1E"/>
            </a:solidFill>
            <a:round/>
          </a:ln>
        </p:spPr>
        <p:txBody>
          <a:bodyPr wrap="square" lIns="18000" tIns="9000" rIns="18000" bIns="9000" rtlCol="0" anchor="ctr">
            <a:noAutofit/>
          </a:bodyPr>
          <a:lstStyle/>
          <a:p>
            <a:pPr algn="ctr"/>
            <a:r>
              <a:rPr lang="en-US" sz="1400" b="0" dirty="0">
                <a:solidFill>
                  <a:srgbClr val="1E1E1E"/>
                </a:solidFill>
                <a:latin typeface="Ink Free"/>
                <a:cs typeface="Ink Free"/>
              </a:rPr>
              <a:t>Google</a:t>
            </a:r>
          </a:p>
          <a:p>
            <a:pPr algn="ctr"/>
            <a:r>
              <a:rPr lang="en-US" sz="1400" b="0" dirty="0">
                <a:solidFill>
                  <a:srgbClr val="1E1E1E"/>
                </a:solidFill>
                <a:latin typeface="Ink Free"/>
                <a:cs typeface="Ink Free"/>
              </a:rPr>
              <a:t>Cloud</a:t>
            </a:r>
          </a:p>
        </p:txBody>
      </p:sp>
      <p:sp>
        <p:nvSpPr>
          <p:cNvPr id="227" name="ar227"/>
          <p:cNvSpPr/>
          <p:nvPr/>
        </p:nvSpPr>
        <p:spPr>
          <a:xfrm>
            <a:off x="8153400" y="4546600"/>
            <a:ext cx="584200" cy="6350"/>
          </a:xfrm>
          <a:custGeom>
            <a:avLst/>
            <a:gdLst/>
            <a:ahLst/>
            <a:cxnLst/>
            <a:rect l="0" t="0" r="584200" b="6350"/>
            <a:pathLst>
              <a:path w="584200" h="6350" fill="none">
                <a:moveTo>
                  <a:pt x="0" y="0"/>
                </a:moveTo>
                <a:lnTo>
                  <a:pt x="286792" y="6350"/>
                </a:lnTo>
                <a:lnTo>
                  <a:pt x="584200" y="6350"/>
                </a:lnTo>
              </a:path>
            </a:pathLst>
          </a:custGeom>
          <a:noFill/>
          <a:ln w="22225" cap="rnd">
            <a:solidFill>
              <a:srgbClr val="1E1E1E"/>
            </a:solidFill>
            <a:round/>
            <a:headEnd type="triangle" w="med" len="med"/>
            <a:tailEnd type="triangle" w="med" len="med"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8" name="ar228"/>
          <p:cNvSpPr/>
          <p:nvPr/>
        </p:nvSpPr>
        <p:spPr>
          <a:xfrm>
            <a:off x="3975100" y="4762500"/>
            <a:ext cx="6350" cy="292100"/>
          </a:xfrm>
          <a:custGeom>
            <a:avLst/>
            <a:gdLst/>
            <a:ahLst/>
            <a:cxnLst/>
            <a:rect l="0" t="0" r="6350" b="292100"/>
            <a:pathLst>
              <a:path w="6350" h="292100" fill="none">
                <a:moveTo>
                  <a:pt x="0" y="0"/>
                </a:moveTo>
                <a:lnTo>
                  <a:pt x="6350" y="136777"/>
                </a:lnTo>
                <a:lnTo>
                  <a:pt x="6350" y="292100"/>
                </a:lnTo>
              </a:path>
            </a:pathLst>
          </a:custGeom>
          <a:noFill/>
          <a:ln w="22225" cap="rnd">
            <a:solidFill>
              <a:srgbClr val="1E1E1E"/>
            </a:solidFill>
            <a:round/>
            <a:headEnd type="triangle" w="med" len="med"/>
            <a:tailEnd type="triangle" w="med" len="med"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9" name="ar229"/>
          <p:cNvSpPr/>
          <p:nvPr/>
        </p:nvSpPr>
        <p:spPr>
          <a:xfrm>
            <a:off x="5969000" y="4762500"/>
            <a:ext cx="6350" cy="228600"/>
          </a:xfrm>
          <a:custGeom>
            <a:avLst/>
            <a:gdLst/>
            <a:ahLst/>
            <a:cxnLst/>
            <a:rect l="0" t="0" r="6350" b="228600"/>
            <a:pathLst>
              <a:path w="6350" h="228600" fill="none">
                <a:moveTo>
                  <a:pt x="0" y="0"/>
                </a:moveTo>
                <a:lnTo>
                  <a:pt x="0" y="104016"/>
                </a:lnTo>
                <a:lnTo>
                  <a:pt x="6350" y="228600"/>
                </a:lnTo>
              </a:path>
            </a:pathLst>
          </a:custGeom>
          <a:noFill/>
          <a:ln w="22225" cap="rnd">
            <a:solidFill>
              <a:srgbClr val="1E1E1E"/>
            </a:solidFill>
            <a:round/>
            <a:headEnd type="triangle" w="med" len="med"/>
            <a:tailEnd type="triangle" w="med" len="med"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0" name="ar230"/>
          <p:cNvSpPr/>
          <p:nvPr/>
        </p:nvSpPr>
        <p:spPr>
          <a:xfrm>
            <a:off x="7620000" y="4762500"/>
            <a:ext cx="6350" cy="317500"/>
          </a:xfrm>
          <a:custGeom>
            <a:avLst/>
            <a:gdLst/>
            <a:ahLst/>
            <a:cxnLst/>
            <a:rect l="0" t="0" r="6350" b="317500"/>
            <a:pathLst>
              <a:path w="6350" h="317500" fill="none">
                <a:moveTo>
                  <a:pt x="0" y="0"/>
                </a:moveTo>
                <a:lnTo>
                  <a:pt x="0" y="149267"/>
                </a:lnTo>
                <a:lnTo>
                  <a:pt x="6350" y="317500"/>
                </a:lnTo>
              </a:path>
            </a:pathLst>
          </a:custGeom>
          <a:noFill/>
          <a:ln w="22225" cap="rnd">
            <a:solidFill>
              <a:srgbClr val="1E1E1E"/>
            </a:solidFill>
            <a:round/>
            <a:headEnd type="triangle" w="med" len="med"/>
            <a:tailEnd type="triangle" w="med" len="med"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1" name="sk231"/>
          <p:cNvSpPr/>
          <p:nvPr/>
        </p:nvSpPr>
        <p:spPr>
          <a:xfrm>
            <a:off x="3810000" y="5054600"/>
            <a:ext cx="330200" cy="330200"/>
          </a:xfrm>
          <a:prstGeom prst="ellipse">
            <a:avLst/>
          </a:prstGeom>
          <a:solidFill>
            <a:srgbClr val="B2F2BB"/>
          </a:solidFill>
          <a:ln w="22225" cap="rnd">
            <a:solidFill>
              <a:srgbClr val="2F9E44"/>
            </a:solidFill>
            <a:round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2" name="sk232"/>
          <p:cNvSpPr/>
          <p:nvPr/>
        </p:nvSpPr>
        <p:spPr>
          <a:xfrm>
            <a:off x="3708400" y="5384800"/>
            <a:ext cx="533400" cy="406400"/>
          </a:xfrm>
          <a:prstGeom prst="trapezoid">
            <a:avLst/>
          </a:prstGeom>
          <a:solidFill>
            <a:srgbClr val="B2F2BB"/>
          </a:solidFill>
          <a:ln w="22225" cap="rnd">
            <a:solidFill>
              <a:srgbClr val="2F9E44"/>
            </a:solidFill>
            <a:round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3" name="lbl233"/>
          <p:cNvSpPr txBox="1"/>
          <p:nvPr/>
        </p:nvSpPr>
        <p:spPr>
          <a:xfrm>
            <a:off x="3530600" y="5816600"/>
            <a:ext cx="889000" cy="279400"/>
          </a:xfrm>
          <a:prstGeom prst="rect">
            <a:avLst/>
          </a:prstGeom>
          <a:noFill/>
          <a:ln>
            <a:noFill/>
          </a:ln>
        </p:spPr>
        <p:txBody>
          <a:bodyPr wrap="square" lIns="18000" tIns="9000" rIns="18000" bIns="9000" rtlCol="0" anchor="ctr">
            <a:noAutofit/>
          </a:bodyPr>
          <a:lstStyle/>
          <a:p>
            <a:pPr algn="ctr"/>
            <a:r>
              <a:rPr lang="en-US" sz="1400" b="1" dirty="0">
                <a:solidFill>
                  <a:srgbClr val="1E1E1E"/>
                </a:solidFill>
                <a:latin typeface="Ink Free"/>
                <a:cs typeface="Ink Free"/>
              </a:rPr>
              <a:t>Users</a:t>
            </a:r>
          </a:p>
        </p:txBody>
      </p:sp>
      <p:sp>
        <p:nvSpPr>
          <p:cNvPr id="234" name="sk234"/>
          <p:cNvSpPr/>
          <p:nvPr/>
        </p:nvSpPr>
        <p:spPr>
          <a:xfrm>
            <a:off x="5461000" y="5207000"/>
            <a:ext cx="508000" cy="685800"/>
          </a:xfrm>
          <a:custGeom>
            <a:avLst/>
            <a:gdLst/>
            <a:ahLst/>
            <a:cxnLst/>
            <a:rect l="0" t="0" r="508000" b="685800"/>
            <a:pathLst>
              <a:path w="508000" h="685800">
                <a:moveTo>
                  <a:pt x="0" y="7847"/>
                </a:moveTo>
                <a:lnTo>
                  <a:pt x="260594" y="5856"/>
                </a:lnTo>
                <a:lnTo>
                  <a:pt x="508000" y="0"/>
                </a:lnTo>
                <a:lnTo>
                  <a:pt x="500626" y="333167"/>
                </a:lnTo>
                <a:lnTo>
                  <a:pt x="493861" y="685800"/>
                </a:lnTo>
                <a:lnTo>
                  <a:pt x="243436" y="685800"/>
                </a:lnTo>
                <a:lnTo>
                  <a:pt x="4907" y="685800"/>
                </a:lnTo>
                <a:lnTo>
                  <a:pt x="0" y="343267"/>
                </a:lnTo>
                <a:close/>
              </a:path>
            </a:pathLst>
          </a:custGeom>
          <a:solidFill>
            <a:srgbClr val="FFFFFF"/>
          </a:solidFill>
          <a:ln w="22225" cap="rnd">
            <a:solidFill>
              <a:srgbClr val="1E1E1E"/>
            </a:solidFill>
            <a:round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5" name="sk235"/>
          <p:cNvSpPr/>
          <p:nvPr/>
        </p:nvSpPr>
        <p:spPr>
          <a:xfrm>
            <a:off x="6019800" y="5029200"/>
            <a:ext cx="508000" cy="863600"/>
          </a:xfrm>
          <a:custGeom>
            <a:avLst/>
            <a:gdLst/>
            <a:ahLst/>
            <a:cxnLst/>
            <a:rect l="0" t="0" r="508000" b="863600"/>
            <a:pathLst>
              <a:path w="508000" h="863600">
                <a:moveTo>
                  <a:pt x="3199" y="0"/>
                </a:moveTo>
                <a:lnTo>
                  <a:pt x="258664" y="0"/>
                </a:lnTo>
                <a:lnTo>
                  <a:pt x="499198" y="0"/>
                </a:lnTo>
                <a:lnTo>
                  <a:pt x="508000" y="418374"/>
                </a:lnTo>
                <a:lnTo>
                  <a:pt x="495428" y="856247"/>
                </a:lnTo>
                <a:lnTo>
                  <a:pt x="244764" y="860059"/>
                </a:lnTo>
                <a:lnTo>
                  <a:pt x="7593" y="853345"/>
                </a:lnTo>
                <a:lnTo>
                  <a:pt x="9593" y="421190"/>
                </a:lnTo>
                <a:close/>
              </a:path>
            </a:pathLst>
          </a:custGeom>
          <a:solidFill>
            <a:srgbClr val="FFFFFF"/>
          </a:solidFill>
          <a:ln w="22225" cap="rnd">
            <a:solidFill>
              <a:srgbClr val="1E1E1E"/>
            </a:solidFill>
            <a:round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6" name="ar236"/>
          <p:cNvSpPr/>
          <p:nvPr/>
        </p:nvSpPr>
        <p:spPr>
          <a:xfrm>
            <a:off x="5511800" y="5435600"/>
            <a:ext cx="406400" cy="6350"/>
          </a:xfrm>
          <a:custGeom>
            <a:avLst/>
            <a:gdLst/>
            <a:ahLst/>
            <a:cxnLst/>
            <a:rect l="0" t="0" r="406400" b="6350"/>
            <a:pathLst>
              <a:path w="406400" h="6350" fill="none">
                <a:moveTo>
                  <a:pt x="0" y="0"/>
                </a:moveTo>
                <a:lnTo>
                  <a:pt x="205950" y="6350"/>
                </a:lnTo>
                <a:lnTo>
                  <a:pt x="406400" y="6350"/>
                </a:lnTo>
              </a:path>
            </a:pathLst>
          </a:custGeom>
          <a:noFill/>
          <a:ln w="22225" cap="rnd">
            <a:solidFill>
              <a:srgbClr val="1E1E1E"/>
            </a:solidFill>
            <a:round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7" name="ar237"/>
          <p:cNvSpPr/>
          <p:nvPr/>
        </p:nvSpPr>
        <p:spPr>
          <a:xfrm>
            <a:off x="5511800" y="5664200"/>
            <a:ext cx="406400" cy="6350"/>
          </a:xfrm>
          <a:custGeom>
            <a:avLst/>
            <a:gdLst/>
            <a:ahLst/>
            <a:cxnLst/>
            <a:rect l="0" t="0" r="406400" b="6350"/>
            <a:pathLst>
              <a:path w="406400" h="6350" fill="none">
                <a:moveTo>
                  <a:pt x="0" y="0"/>
                </a:moveTo>
                <a:lnTo>
                  <a:pt x="210956" y="1325"/>
                </a:lnTo>
                <a:lnTo>
                  <a:pt x="406400" y="6350"/>
                </a:lnTo>
              </a:path>
            </a:pathLst>
          </a:custGeom>
          <a:noFill/>
          <a:ln w="22225" cap="rnd">
            <a:solidFill>
              <a:srgbClr val="1E1E1E"/>
            </a:solidFill>
            <a:round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8" name="ar238"/>
          <p:cNvSpPr/>
          <p:nvPr/>
        </p:nvSpPr>
        <p:spPr>
          <a:xfrm>
            <a:off x="6070600" y="5308600"/>
            <a:ext cx="406400" cy="6350"/>
          </a:xfrm>
          <a:custGeom>
            <a:avLst/>
            <a:gdLst/>
            <a:ahLst/>
            <a:cxnLst/>
            <a:rect l="0" t="0" r="406400" b="6350"/>
            <a:pathLst>
              <a:path w="406400" h="6350" fill="none">
                <a:moveTo>
                  <a:pt x="0" y="0"/>
                </a:moveTo>
                <a:lnTo>
                  <a:pt x="202108" y="0"/>
                </a:lnTo>
                <a:lnTo>
                  <a:pt x="406400" y="6350"/>
                </a:lnTo>
              </a:path>
            </a:pathLst>
          </a:custGeom>
          <a:noFill/>
          <a:ln w="22225" cap="rnd">
            <a:solidFill>
              <a:srgbClr val="1E1E1E"/>
            </a:solidFill>
            <a:round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9" name="ar239"/>
          <p:cNvSpPr/>
          <p:nvPr/>
        </p:nvSpPr>
        <p:spPr>
          <a:xfrm>
            <a:off x="6070600" y="5588000"/>
            <a:ext cx="406400" cy="6350"/>
          </a:xfrm>
          <a:custGeom>
            <a:avLst/>
            <a:gdLst/>
            <a:ahLst/>
            <a:cxnLst/>
            <a:rect l="0" t="0" r="406400" b="6350"/>
            <a:pathLst>
              <a:path w="406400" h="6350" fill="none">
                <a:moveTo>
                  <a:pt x="0" y="0"/>
                </a:moveTo>
                <a:lnTo>
                  <a:pt x="200789" y="6350"/>
                </a:lnTo>
                <a:lnTo>
                  <a:pt x="406400" y="6350"/>
                </a:lnTo>
              </a:path>
            </a:pathLst>
          </a:custGeom>
          <a:noFill/>
          <a:ln w="22225" cap="rnd">
            <a:solidFill>
              <a:srgbClr val="1E1E1E"/>
            </a:solidFill>
            <a:round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0" name="lbl240"/>
          <p:cNvSpPr txBox="1"/>
          <p:nvPr/>
        </p:nvSpPr>
        <p:spPr>
          <a:xfrm>
            <a:off x="4927600" y="5918200"/>
            <a:ext cx="2032000" cy="279400"/>
          </a:xfrm>
          <a:prstGeom prst="rect">
            <a:avLst/>
          </a:prstGeom>
          <a:noFill/>
          <a:ln>
            <a:noFill/>
          </a:ln>
        </p:spPr>
        <p:txBody>
          <a:bodyPr wrap="square" lIns="18000" tIns="9000" rIns="18000" bIns="9000" rtlCol="0" anchor="ctr">
            <a:noAutofit/>
          </a:bodyPr>
          <a:lstStyle/>
          <a:p>
            <a:pPr algn="ctr"/>
            <a:r>
              <a:rPr lang="en-US" sz="1400" b="1" dirty="0">
                <a:solidFill>
                  <a:srgbClr val="1E1E1E"/>
                </a:solidFill>
                <a:latin typeface="Ink Free"/>
                <a:cs typeface="Ink Free"/>
              </a:rPr>
              <a:t>Branches and Campus</a:t>
            </a:r>
          </a:p>
        </p:txBody>
      </p:sp>
      <p:sp>
        <p:nvSpPr>
          <p:cNvPr id="241" name="sk241"/>
          <p:cNvSpPr/>
          <p:nvPr/>
        </p:nvSpPr>
        <p:spPr>
          <a:xfrm>
            <a:off x="7429500" y="5143500"/>
            <a:ext cx="660400" cy="736600"/>
          </a:xfrm>
          <a:custGeom>
            <a:avLst/>
            <a:gdLst/>
            <a:ahLst/>
            <a:cxnLst/>
            <a:rect l="0" t="0" r="660400" b="736600"/>
            <a:pathLst>
              <a:path w="660400" h="736600">
                <a:moveTo>
                  <a:pt x="12415" y="0"/>
                </a:moveTo>
                <a:lnTo>
                  <a:pt x="340404" y="2102"/>
                </a:lnTo>
                <a:lnTo>
                  <a:pt x="660400" y="13442"/>
                </a:lnTo>
                <a:lnTo>
                  <a:pt x="650948" y="358291"/>
                </a:lnTo>
                <a:lnTo>
                  <a:pt x="659858" y="727306"/>
                </a:lnTo>
                <a:lnTo>
                  <a:pt x="341172" y="735916"/>
                </a:lnTo>
                <a:lnTo>
                  <a:pt x="0" y="736600"/>
                </a:lnTo>
                <a:lnTo>
                  <a:pt x="3379" y="364071"/>
                </a:lnTo>
                <a:close/>
              </a:path>
            </a:pathLst>
          </a:custGeom>
          <a:solidFill>
            <a:srgbClr val="FFFFFF"/>
          </a:solidFill>
          <a:ln w="22225" cap="rnd">
            <a:solidFill>
              <a:srgbClr val="1E1E1E"/>
            </a:solidFill>
            <a:round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2" name="ar242"/>
          <p:cNvSpPr/>
          <p:nvPr/>
        </p:nvSpPr>
        <p:spPr>
          <a:xfrm>
            <a:off x="7493000" y="5384800"/>
            <a:ext cx="533400" cy="6350"/>
          </a:xfrm>
          <a:custGeom>
            <a:avLst/>
            <a:gdLst/>
            <a:ahLst/>
            <a:cxnLst/>
            <a:rect l="0" t="0" r="533400" b="6350"/>
            <a:pathLst>
              <a:path w="533400" h="6350" fill="none">
                <a:moveTo>
                  <a:pt x="0" y="0"/>
                </a:moveTo>
                <a:lnTo>
                  <a:pt x="262398" y="2379"/>
                </a:lnTo>
                <a:lnTo>
                  <a:pt x="533400" y="6350"/>
                </a:lnTo>
              </a:path>
            </a:pathLst>
          </a:custGeom>
          <a:noFill/>
          <a:ln w="22225" cap="rnd">
            <a:solidFill>
              <a:srgbClr val="1E1E1E"/>
            </a:solidFill>
            <a:round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3" name="ar243"/>
          <p:cNvSpPr/>
          <p:nvPr/>
        </p:nvSpPr>
        <p:spPr>
          <a:xfrm>
            <a:off x="7493000" y="5626100"/>
            <a:ext cx="533400" cy="6350"/>
          </a:xfrm>
          <a:custGeom>
            <a:avLst/>
            <a:gdLst/>
            <a:ahLst/>
            <a:cxnLst/>
            <a:rect l="0" t="0" r="533400" b="6350"/>
            <a:pathLst>
              <a:path w="533400" h="6350" fill="none">
                <a:moveTo>
                  <a:pt x="0" y="0"/>
                </a:moveTo>
                <a:lnTo>
                  <a:pt x="260121" y="540"/>
                </a:lnTo>
                <a:lnTo>
                  <a:pt x="533400" y="6350"/>
                </a:lnTo>
              </a:path>
            </a:pathLst>
          </a:custGeom>
          <a:noFill/>
          <a:ln w="22225" cap="rnd">
            <a:solidFill>
              <a:srgbClr val="1E1E1E"/>
            </a:solidFill>
            <a:round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4" name="lbl244"/>
          <p:cNvSpPr txBox="1"/>
          <p:nvPr/>
        </p:nvSpPr>
        <p:spPr>
          <a:xfrm>
            <a:off x="7175500" y="5918200"/>
            <a:ext cx="1168400" cy="279400"/>
          </a:xfrm>
          <a:prstGeom prst="rect">
            <a:avLst/>
          </a:prstGeom>
          <a:noFill/>
          <a:ln>
            <a:noFill/>
          </a:ln>
        </p:spPr>
        <p:txBody>
          <a:bodyPr wrap="square" lIns="18000" tIns="9000" rIns="18000" bIns="9000" rtlCol="0" anchor="ctr">
            <a:noAutofit/>
          </a:bodyPr>
          <a:lstStyle/>
          <a:p>
            <a:pPr algn="ctr"/>
            <a:r>
              <a:rPr lang="en-US" sz="1400" b="1" dirty="0">
                <a:solidFill>
                  <a:srgbClr val="1E1E1E"/>
                </a:solidFill>
                <a:latin typeface="Ink Free"/>
                <a:cs typeface="Ink Free"/>
              </a:rPr>
              <a:t>Data Center</a:t>
            </a:r>
          </a:p>
        </p:txBody>
      </p:sp>
      <p:sp>
        <p:nvSpPr>
          <p:cNvPr id="208" name="sk208"/>
          <p:cNvSpPr/>
          <p:nvPr/>
        </p:nvSpPr>
        <p:spPr>
          <a:xfrm rot="10980624">
            <a:off x="5359400" y="1885950"/>
            <a:ext cx="1168400" cy="609600"/>
          </a:xfrm>
          <a:prstGeom prst="cloud">
            <a:avLst/>
          </a:prstGeom>
          <a:solidFill>
            <a:srgbClr val="FFFFFF"/>
          </a:solidFill>
          <a:ln w="22225" cap="rnd">
            <a:solidFill>
              <a:srgbClr val="1E1E1E"/>
            </a:solidFill>
            <a:round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ar227">
            <a:extLst>
              <a:ext uri="{FF2B5EF4-FFF2-40B4-BE49-F238E27FC236}">
                <a16:creationId xmlns:a16="http://schemas.microsoft.com/office/drawing/2014/main" id="{667F3B6D-D205-DD6A-44D0-A9AD3F2CC955}"/>
              </a:ext>
            </a:extLst>
          </p:cNvPr>
          <p:cNvSpPr/>
          <p:nvPr/>
        </p:nvSpPr>
        <p:spPr>
          <a:xfrm>
            <a:off x="2711116" y="4154908"/>
            <a:ext cx="1124284" cy="92506"/>
          </a:xfrm>
          <a:custGeom>
            <a:avLst/>
            <a:gdLst>
              <a:gd name="csX0" fmla="*/ 0 w 1124284"/>
              <a:gd name="csY0" fmla="*/ 0 h 92506"/>
              <a:gd name="csX1" fmla="*/ 551926 w 1124284"/>
              <a:gd name="csY1" fmla="*/ 92506 h 92506"/>
              <a:gd name="csX2" fmla="*/ 1124284 w 1124284"/>
              <a:gd name="csY2" fmla="*/ 92506 h 9250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124284" h="92506" fill="none" extrusionOk="0">
                <a:moveTo>
                  <a:pt x="0" y="0"/>
                </a:moveTo>
                <a:cubicBezTo>
                  <a:pt x="116359" y="-3521"/>
                  <a:pt x="343233" y="68232"/>
                  <a:pt x="551926" y="92506"/>
                </a:cubicBezTo>
                <a:cubicBezTo>
                  <a:pt x="713656" y="95664"/>
                  <a:pt x="993116" y="65053"/>
                  <a:pt x="1124284" y="92506"/>
                </a:cubicBezTo>
              </a:path>
            </a:pathLst>
          </a:custGeom>
          <a:noFill/>
          <a:ln w="22225" cap="rnd">
            <a:solidFill>
              <a:schemeClr val="accent1"/>
            </a:solidFill>
            <a:prstDash val="sysDash"/>
            <a:round/>
            <a:headEnd type="triangle" w="med" len="med"/>
            <a:tailEnd type="triangle" w="med" len="med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/>
                    <a:ahLst/>
                    <a:cxnLst/>
                    <a:rect l="0" t="0" r="584200" b="6350"/>
                    <a:pathLst>
                      <a:path w="584200" h="6350" fill="none">
                        <a:moveTo>
                          <a:pt x="0" y="0"/>
                        </a:moveTo>
                        <a:lnTo>
                          <a:pt x="286792" y="6350"/>
                        </a:lnTo>
                        <a:lnTo>
                          <a:pt x="584200" y="6350"/>
                        </a:lnTo>
                      </a:path>
                    </a:pathLst>
                  </a:custGeom>
                  <ask:type>
                    <ask:lineSketchFreehand/>
                  </ask:type>
                </ask:lineSketchStyleProps>
              </a:ext>
            </a:extLst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0" name="dash250"/>
          <p:cNvSpPr/>
          <p:nvPr/>
        </p:nvSpPr>
        <p:spPr>
          <a:xfrm>
            <a:off x="6096000" y="939800"/>
            <a:ext cx="190500" cy="190500"/>
          </a:xfrm>
          <a:prstGeom prst="ellipse">
            <a:avLst/>
          </a:prstGeom>
          <a:solidFill>
            <a:srgbClr val="FFFFFF"/>
          </a:solidFill>
          <a:ln w="19050" cap="rnd">
            <a:solidFill>
              <a:srgbClr val="2F9E44"/>
            </a:solidFill>
            <a:round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1" name="dash251"/>
          <p:cNvSpPr/>
          <p:nvPr/>
        </p:nvSpPr>
        <p:spPr>
          <a:xfrm>
            <a:off x="6102350" y="946150"/>
            <a:ext cx="177800" cy="177800"/>
          </a:xfrm>
          <a:prstGeom prst="pie">
            <a:avLst>
              <a:gd name="adj1" fmla="val 0"/>
              <a:gd name="adj2" fmla="val 16200000"/>
            </a:avLst>
          </a:prstGeom>
          <a:solidFill>
            <a:srgbClr val="2F9E44"/>
          </a:solidFill>
          <a:ln>
            <a:noFill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2" name="bar252"/>
          <p:cNvSpPr/>
          <p:nvPr/>
        </p:nvSpPr>
        <p:spPr>
          <a:xfrm>
            <a:off x="5676900" y="1193800"/>
            <a:ext cx="457200" cy="25400"/>
          </a:xfrm>
          <a:custGeom>
            <a:avLst/>
            <a:gdLst/>
            <a:ahLst/>
            <a:cxnLst/>
            <a:rect l="0" t="0" r="457200" b="25400"/>
            <a:pathLst>
              <a:path w="457200" h="25400" fill="none">
                <a:moveTo>
                  <a:pt x="0" y="16496"/>
                </a:moveTo>
                <a:lnTo>
                  <a:pt x="238937" y="14118"/>
                </a:lnTo>
                <a:lnTo>
                  <a:pt x="457200" y="8626"/>
                </a:lnTo>
              </a:path>
            </a:pathLst>
          </a:custGeom>
          <a:noFill/>
          <a:ln w="20320" cap="rnd">
            <a:solidFill>
              <a:srgbClr val="2F9E44"/>
            </a:solidFill>
            <a:round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3" name="bar253"/>
          <p:cNvSpPr/>
          <p:nvPr/>
        </p:nvSpPr>
        <p:spPr>
          <a:xfrm>
            <a:off x="5676900" y="1282700"/>
            <a:ext cx="330200" cy="25400"/>
          </a:xfrm>
          <a:custGeom>
            <a:avLst/>
            <a:gdLst/>
            <a:ahLst/>
            <a:cxnLst/>
            <a:rect l="0" t="0" r="330200" b="25400"/>
            <a:pathLst>
              <a:path w="330200" h="25400" fill="none">
                <a:moveTo>
                  <a:pt x="0" y="13114"/>
                </a:moveTo>
                <a:lnTo>
                  <a:pt x="153615" y="17295"/>
                </a:lnTo>
                <a:lnTo>
                  <a:pt x="330200" y="13511"/>
                </a:lnTo>
              </a:path>
            </a:pathLst>
          </a:custGeom>
          <a:noFill/>
          <a:ln w="20320" cap="rnd">
            <a:solidFill>
              <a:srgbClr val="2F9E44"/>
            </a:solidFill>
            <a:round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4" name="bar254"/>
          <p:cNvSpPr/>
          <p:nvPr/>
        </p:nvSpPr>
        <p:spPr>
          <a:xfrm>
            <a:off x="5676900" y="1371600"/>
            <a:ext cx="457200" cy="25400"/>
          </a:xfrm>
          <a:custGeom>
            <a:avLst/>
            <a:gdLst/>
            <a:ahLst/>
            <a:cxnLst/>
            <a:rect l="0" t="0" r="457200" b="25400"/>
            <a:pathLst>
              <a:path w="457200" h="25400" fill="none">
                <a:moveTo>
                  <a:pt x="0" y="14657"/>
                </a:moveTo>
                <a:lnTo>
                  <a:pt x="227418" y="8847"/>
                </a:lnTo>
                <a:lnTo>
                  <a:pt x="457200" y="17411"/>
                </a:lnTo>
              </a:path>
            </a:pathLst>
          </a:custGeom>
          <a:noFill/>
          <a:ln w="20320" cap="rnd">
            <a:solidFill>
              <a:srgbClr val="2F9E44"/>
            </a:solidFill>
            <a:round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5" name="dashbox"/>
          <p:cNvSpPr/>
          <p:nvPr/>
        </p:nvSpPr>
        <p:spPr>
          <a:xfrm>
            <a:off x="5676900" y="965200"/>
            <a:ext cx="203200" cy="165100"/>
          </a:xfrm>
          <a:custGeom>
            <a:avLst/>
            <a:gdLst/>
            <a:ahLst/>
            <a:cxnLst/>
            <a:rect l="0" t="0" r="203200" b="165100"/>
            <a:pathLst>
              <a:path w="203200" h="165100">
                <a:moveTo>
                  <a:pt x="864" y="4873"/>
                </a:moveTo>
                <a:lnTo>
                  <a:pt x="99035" y="0"/>
                </a:lnTo>
                <a:lnTo>
                  <a:pt x="200358" y="0"/>
                </a:lnTo>
                <a:lnTo>
                  <a:pt x="203200" y="79729"/>
                </a:lnTo>
                <a:lnTo>
                  <a:pt x="203200" y="156239"/>
                </a:lnTo>
                <a:lnTo>
                  <a:pt x="104493" y="159241"/>
                </a:lnTo>
                <a:lnTo>
                  <a:pt x="0" y="159937"/>
                </a:lnTo>
                <a:lnTo>
                  <a:pt x="0" y="87358"/>
                </a:lnTo>
                <a:close/>
              </a:path>
            </a:pathLst>
          </a:custGeom>
          <a:solidFill>
            <a:srgbClr val="FFFFFF"/>
          </a:solidFill>
          <a:ln w="19050" cap="rnd">
            <a:solidFill>
              <a:srgbClr val="2F9E44"/>
            </a:solidFill>
            <a:round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k219">
            <a:extLst>
              <a:ext uri="{FF2B5EF4-FFF2-40B4-BE49-F238E27FC236}">
                <a16:creationId xmlns:a16="http://schemas.microsoft.com/office/drawing/2014/main" id="{FA017794-1762-580E-42B3-7F9353706F67}"/>
              </a:ext>
            </a:extLst>
          </p:cNvPr>
          <p:cNvSpPr/>
          <p:nvPr/>
        </p:nvSpPr>
        <p:spPr>
          <a:xfrm>
            <a:off x="5299075" y="3956050"/>
            <a:ext cx="736600" cy="431800"/>
          </a:xfrm>
          <a:prstGeom prst="cloud">
            <a:avLst/>
          </a:prstGeom>
          <a:solidFill>
            <a:srgbClr val="FFFFFF"/>
          </a:solidFill>
          <a:ln w="19050" cap="rnd">
            <a:solidFill>
              <a:srgbClr val="1E1E1E"/>
            </a:solidFill>
            <a:round/>
          </a:ln>
        </p:spPr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393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ght Theme">
  <a:themeElements>
    <a:clrScheme name="Custom 22">
      <a:dk1>
        <a:srgbClr val="101820"/>
      </a:dk1>
      <a:lt1>
        <a:srgbClr val="FFFFFF"/>
      </a:lt1>
      <a:dk2>
        <a:srgbClr val="7D97F8"/>
      </a:dk2>
      <a:lt2>
        <a:srgbClr val="F0EFE9"/>
      </a:lt2>
      <a:accent1>
        <a:srgbClr val="00BD4D"/>
      </a:accent1>
      <a:accent2>
        <a:srgbClr val="D9E1E2"/>
      </a:accent2>
      <a:accent3>
        <a:srgbClr val="00E2EC"/>
      </a:accent3>
      <a:accent4>
        <a:srgbClr val="FEDD00"/>
      </a:accent4>
      <a:accent5>
        <a:srgbClr val="00594C"/>
      </a:accent5>
      <a:accent6>
        <a:srgbClr val="FF585D"/>
      </a:accent6>
      <a:hlink>
        <a:srgbClr val="7D97F8"/>
      </a:hlink>
      <a:folHlink>
        <a:srgbClr val="101820"/>
      </a:folHlink>
    </a:clrScheme>
    <a:fontScheme name="Custom 10">
      <a:majorFont>
        <a:latin typeface="Lato Black"/>
        <a:ea typeface=""/>
        <a:cs typeface=""/>
      </a:majorFont>
      <a:minorFont>
        <a:latin typeface="La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D9E1E2"/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rgbClr val="10182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wrap="square" rtlCol="0">
        <a:spAutoFit/>
      </a:bodyPr>
      <a:lstStyle>
        <a:defPPr algn="l">
          <a:defRPr sz="1600" dirty="0" err="1" smtClean="0">
            <a:latin typeface="Lato" panose="020F0502020204030203" pitchFamily="34" charset="7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3" id="{DF3559D9-143C-E94B-AF3B-1FBC24CFEC8F}" vid="{413AE890-120E-E54F-BB2E-1EAEB42779F4}"/>
    </a:ext>
  </a:extLst>
</a:theme>
</file>

<file path=ppt/theme/theme2.xml><?xml version="1.0" encoding="utf-8"?>
<a:theme xmlns:a="http://schemas.openxmlformats.org/drawingml/2006/main" name="Dark Theme">
  <a:themeElements>
    <a:clrScheme name="Custom 22">
      <a:dk1>
        <a:srgbClr val="101820"/>
      </a:dk1>
      <a:lt1>
        <a:srgbClr val="FFFFFF"/>
      </a:lt1>
      <a:dk2>
        <a:srgbClr val="7D97F8"/>
      </a:dk2>
      <a:lt2>
        <a:srgbClr val="F0EFE9"/>
      </a:lt2>
      <a:accent1>
        <a:srgbClr val="00BD4D"/>
      </a:accent1>
      <a:accent2>
        <a:srgbClr val="D9E1E2"/>
      </a:accent2>
      <a:accent3>
        <a:srgbClr val="00E2EC"/>
      </a:accent3>
      <a:accent4>
        <a:srgbClr val="FEDD00"/>
      </a:accent4>
      <a:accent5>
        <a:srgbClr val="00594C"/>
      </a:accent5>
      <a:accent6>
        <a:srgbClr val="FF585D"/>
      </a:accent6>
      <a:hlink>
        <a:srgbClr val="7D97F8"/>
      </a:hlink>
      <a:folHlink>
        <a:srgbClr val="101820"/>
      </a:folHlink>
    </a:clrScheme>
    <a:fontScheme name="Custom 10">
      <a:majorFont>
        <a:latin typeface="Lato Black"/>
        <a:ea typeface=""/>
        <a:cs typeface=""/>
      </a:majorFont>
      <a:minorFont>
        <a:latin typeface="La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D9E1E2"/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rgbClr val="10182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dirty="0" err="1" smtClean="0">
            <a:solidFill>
              <a:schemeClr val="bg1"/>
            </a:solidFill>
            <a:latin typeface="Lato" panose="020F0502020204030203" pitchFamily="34" charset="7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nfoblox-Corporate-template-Dark-slim-version" id="{5663C741-A9C9-8146-971E-11E32C4916CC}" vid="{A930C96F-717C-A341-BD2F-E8A150BE4975}"/>
    </a:ext>
  </a:extLst>
</a:theme>
</file>

<file path=ppt/theme/theme3.xml><?xml version="1.0" encoding="utf-8"?>
<a:theme xmlns:a="http://schemas.openxmlformats.org/drawingml/2006/main" name="1_Dark Theme">
  <a:themeElements>
    <a:clrScheme name="Custom 22">
      <a:dk1>
        <a:srgbClr val="101820"/>
      </a:dk1>
      <a:lt1>
        <a:srgbClr val="FFFFFF"/>
      </a:lt1>
      <a:dk2>
        <a:srgbClr val="7D97F8"/>
      </a:dk2>
      <a:lt2>
        <a:srgbClr val="F0EFE9"/>
      </a:lt2>
      <a:accent1>
        <a:srgbClr val="00BD4D"/>
      </a:accent1>
      <a:accent2>
        <a:srgbClr val="D9E1E2"/>
      </a:accent2>
      <a:accent3>
        <a:srgbClr val="00E2EC"/>
      </a:accent3>
      <a:accent4>
        <a:srgbClr val="FEDD00"/>
      </a:accent4>
      <a:accent5>
        <a:srgbClr val="00594C"/>
      </a:accent5>
      <a:accent6>
        <a:srgbClr val="FF585D"/>
      </a:accent6>
      <a:hlink>
        <a:srgbClr val="7D97F8"/>
      </a:hlink>
      <a:folHlink>
        <a:srgbClr val="10182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802F3C7A-12BD-EA40-9BE1-25BFD37F9458}">
  <we:reference id="f5f369e5-aa35-49d7-ad7b-638152ddb008" version="1.0.0.1" store="EXCatalog" storeType="EXCatalog"/>
  <we:alternateReferences>
    <we:reference id="WA200010001" version="1.0.0.1" store="en-GB" storeType="OMEX"/>
  </we:alternateReferences>
  <we:properties>
    <we:property name="claude.fileId" value="&quot;12aa3037-5ebc-409f-a970-b39d1b319217&quot;"/>
  </we:properties>
  <we:bindings/>
  <we:snapshot xmlns:r="http://schemas.openxmlformats.org/officeDocument/2006/relationships"/>
</we:webextension>
</file>

<file path=docMetadata/LabelInfo.xml><?xml version="1.0" encoding="utf-8"?>
<clbl:labelList xmlns:clbl="http://schemas.microsoft.com/office/2020/mipLabelMetadata">
  <clbl:label id="{a7c8e135-586f-42d6-8c21-47cdac4a7ae0}" enabled="1" method="Standard" siteId="{ccf6dc4a-9fe9-4c20-85a6-46d2709e8435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614</TotalTime>
  <Words>534</Words>
  <Application>Microsoft Macintosh PowerPoint</Application>
  <PresentationFormat>Widescreen</PresentationFormat>
  <Paragraphs>114</Paragraphs>
  <Slides>12</Slides>
  <Notes>6</Notes>
  <HiddenSlides>1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4" baseType="lpstr">
      <vt:lpstr>Aptos</vt:lpstr>
      <vt:lpstr>Arial</vt:lpstr>
      <vt:lpstr>Calibri</vt:lpstr>
      <vt:lpstr>Ink Free</vt:lpstr>
      <vt:lpstr>Lato</vt:lpstr>
      <vt:lpstr>Lato Black</vt:lpstr>
      <vt:lpstr>Lato Light</vt:lpstr>
      <vt:lpstr>Roboto Slab</vt:lpstr>
      <vt:lpstr>Light Theme</vt:lpstr>
      <vt:lpstr>Dark Theme</vt:lpstr>
      <vt:lpstr>1_Dark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e great escape from on-prem</vt:lpstr>
      <vt:lpstr>PowerPoint Presentation</vt:lpstr>
      <vt:lpstr>PowerPoint Presentation</vt:lpstr>
      <vt:lpstr>PowerPoint Presentation</vt:lpstr>
      <vt:lpstr>Walnut-sourced NETUK3 version demo</vt:lpstr>
      <vt:lpstr>Q&amp;A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Ed Daniel</dc:creator>
  <cp:lastModifiedBy>Ed Daniel</cp:lastModifiedBy>
  <cp:revision>8</cp:revision>
  <dcterms:created xsi:type="dcterms:W3CDTF">2026-06-05T13:55:46Z</dcterms:created>
  <dcterms:modified xsi:type="dcterms:W3CDTF">2026-07-07T12:09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FooterLocations">
    <vt:lpwstr>Office Theme:8</vt:lpwstr>
  </property>
  <property fmtid="{D5CDD505-2E9C-101B-9397-08002B2CF9AE}" pid="3" name="ClassificationContentMarkingFooterText">
    <vt:lpwstr>Internal</vt:lpwstr>
  </property>
</Properties>
</file>